
<file path=[Content_Types].xml><?xml version="1.0" encoding="utf-8"?>
<Types xmlns="http://schemas.openxmlformats.org/package/2006/content-types">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diagrams/layout1.xml" ContentType="application/vnd.openxmlformats-officedocument.drawingml.diagramLayout+xml"/>
  <Default Extension="xlsx" ContentType="application/vnd.openxmlformats-officedocument.spreadsheetml.sheet"/>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tags/tag68.xml" ContentType="application/vnd.openxmlformats-officedocument.presentationml.tags+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diagrams/colors1.xml" ContentType="application/vnd.openxmlformats-officedocument.drawingml.diagramColor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Default Extension="wmf" ContentType="image/x-wmf"/>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notesSlides/notesSlide10.xml" ContentType="application/vnd.openxmlformats-officedocument.presentationml.notesSlide+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190.xml" ContentType="application/vnd.openxmlformats-officedocument.presentationml.tags+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211.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Override PartName="/ppt/tags/tag141.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Default Extension="gif" ContentType="image/gif"/>
  <Override PartName="/ppt/notesSlides/notesSlide8.xml" ContentType="application/vnd.openxmlformats-officedocument.presentationml.notesSlide+xml"/>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ags/tag102.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8"/>
  </p:notesMasterIdLst>
  <p:sldIdLst>
    <p:sldId id="728" r:id="rId2"/>
    <p:sldId id="765" r:id="rId3"/>
    <p:sldId id="648" r:id="rId4"/>
    <p:sldId id="727" r:id="rId5"/>
    <p:sldId id="632" r:id="rId6"/>
    <p:sldId id="631" r:id="rId7"/>
    <p:sldId id="572" r:id="rId8"/>
    <p:sldId id="473" r:id="rId9"/>
    <p:sldId id="725" r:id="rId10"/>
    <p:sldId id="649" r:id="rId11"/>
    <p:sldId id="653" r:id="rId12"/>
    <p:sldId id="676" r:id="rId13"/>
    <p:sldId id="713" r:id="rId14"/>
    <p:sldId id="679" r:id="rId15"/>
    <p:sldId id="655" r:id="rId16"/>
    <p:sldId id="658" r:id="rId17"/>
    <p:sldId id="659" r:id="rId18"/>
    <p:sldId id="680" r:id="rId19"/>
    <p:sldId id="722" r:id="rId20"/>
    <p:sldId id="718" r:id="rId21"/>
    <p:sldId id="719" r:id="rId22"/>
    <p:sldId id="720" r:id="rId23"/>
    <p:sldId id="721" r:id="rId24"/>
    <p:sldId id="729" r:id="rId25"/>
    <p:sldId id="730" r:id="rId26"/>
    <p:sldId id="731" r:id="rId27"/>
    <p:sldId id="732" r:id="rId28"/>
    <p:sldId id="733" r:id="rId29"/>
    <p:sldId id="734" r:id="rId30"/>
    <p:sldId id="767" r:id="rId31"/>
    <p:sldId id="736" r:id="rId32"/>
    <p:sldId id="737" r:id="rId33"/>
    <p:sldId id="738" r:id="rId34"/>
    <p:sldId id="739" r:id="rId35"/>
    <p:sldId id="740" r:id="rId36"/>
    <p:sldId id="741" r:id="rId37"/>
    <p:sldId id="742" r:id="rId38"/>
    <p:sldId id="743" r:id="rId39"/>
    <p:sldId id="744" r:id="rId40"/>
    <p:sldId id="745" r:id="rId41"/>
    <p:sldId id="746" r:id="rId42"/>
    <p:sldId id="747" r:id="rId43"/>
    <p:sldId id="748" r:id="rId44"/>
    <p:sldId id="749" r:id="rId45"/>
    <p:sldId id="750" r:id="rId46"/>
    <p:sldId id="751" r:id="rId47"/>
    <p:sldId id="752" r:id="rId48"/>
    <p:sldId id="753" r:id="rId49"/>
    <p:sldId id="754" r:id="rId50"/>
    <p:sldId id="755" r:id="rId51"/>
    <p:sldId id="756" r:id="rId52"/>
    <p:sldId id="758" r:id="rId53"/>
    <p:sldId id="759" r:id="rId54"/>
    <p:sldId id="761" r:id="rId55"/>
    <p:sldId id="762" r:id="rId56"/>
    <p:sldId id="768" r:id="rId5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AB0000"/>
    <a:srgbClr val="0033CC"/>
    <a:srgbClr val="FFFFFF"/>
    <a:srgbClr val="FFFF00"/>
    <a:srgbClr val="99FF99"/>
    <a:srgbClr val="66CCFF"/>
    <a:srgbClr val="9999FF"/>
    <a:srgbClr val="EAEAE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88" autoAdjust="0"/>
    <p:restoredTop sz="89606" autoAdjust="0"/>
  </p:normalViewPr>
  <p:slideViewPr>
    <p:cSldViewPr snapToGrid="0" snapToObjects="1">
      <p:cViewPr>
        <p:scale>
          <a:sx n="60" d="100"/>
          <a:sy n="60" d="100"/>
        </p:scale>
        <p:origin x="-702" y="-114"/>
      </p:cViewPr>
      <p:guideLst>
        <p:guide orient="horz" pos="2160"/>
        <p:guide pos="2880"/>
      </p:guideLst>
    </p:cSldViewPr>
  </p:slideViewPr>
  <p:outlineViewPr>
    <p:cViewPr>
      <p:scale>
        <a:sx n="33" d="100"/>
        <a:sy n="33" d="100"/>
      </p:scale>
      <p:origin x="0" y="1482"/>
    </p:cViewPr>
  </p:outlineViewPr>
  <p:notesTextViewPr>
    <p:cViewPr>
      <p:scale>
        <a:sx n="100" d="100"/>
        <a:sy n="100" d="100"/>
      </p:scale>
      <p:origin x="0" y="0"/>
    </p:cViewPr>
  </p:notesTextViewPr>
  <p:sorterViewPr>
    <p:cViewPr>
      <p:scale>
        <a:sx n="50" d="100"/>
        <a:sy n="5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hart>
    <c:title>
      <c:tx>
        <c:rich>
          <a:bodyPr rot="0"/>
          <a:lstStyle/>
          <a:p>
            <a:pPr lvl="0"/>
            <a:endParaRPr lang="fr-FR"/>
          </a:p>
        </c:rich>
      </c:tx>
      <c:layout/>
      <c:overlay val="1"/>
    </c:title>
    <c:autoTitleDeleted val="1"/>
    <c:plotArea>
      <c:layout>
        <c:manualLayout>
          <c:layoutTarget val="inner"/>
          <c:xMode val="edge"/>
          <c:yMode val="edge"/>
          <c:x val="1.6989200000000003E-2"/>
          <c:y val="6.2432600000000053E-2"/>
          <c:w val="0.98301099999999975"/>
          <c:h val="0.9011950000000003"/>
        </c:manualLayout>
      </c:layout>
      <c:barChart>
        <c:barDir val="col"/>
        <c:grouping val="stacked"/>
        <c:ser>
          <c:idx val="0"/>
          <c:order val="0"/>
          <c:tx>
            <c:strRef>
              <c:f>Sheet1!$A$2</c:f>
              <c:strCache>
                <c:ptCount val="1"/>
                <c:pt idx="0">
                  <c:v>Column 1</c:v>
                </c:pt>
              </c:strCache>
            </c:strRef>
          </c:tx>
          <c:spPr>
            <a:solidFill>
              <a:srgbClr val="256885"/>
            </a:solidFill>
            <a:ln w="12700" cap="flat">
              <a:solidFill>
                <a:srgbClr val="000000"/>
              </a:solidFill>
              <a:prstDash val="solid"/>
              <a:bevel/>
            </a:ln>
            <a:effectLst/>
          </c:spPr>
          <c:dLbls>
            <c:numFmt formatCode="&quot;&quot;#,##0;&quot;-&quot;#,##0&quot;&quot;" sourceLinked="0"/>
            <c:txPr>
              <a:bodyPr/>
              <a:lstStyle/>
              <a:p>
                <a:pPr lvl="0">
                  <a:defRPr sz="1300" b="1" i="0" u="none" strike="noStrike">
                    <a:solidFill>
                      <a:srgbClr val="000000"/>
                    </a:solidFill>
                    <a:effectLst/>
                    <a:latin typeface="Arial"/>
                  </a:defRPr>
                </a:pPr>
                <a:endParaRPr lang="fr-FR"/>
              </a:p>
            </c:txPr>
            <c:dLblPos val="ctr"/>
            <c:showVal val="1"/>
          </c:dLbls>
          <c:cat>
            <c:strRef>
              <c:f>Sheet1!$B$1:$N$1</c:f>
              <c:strCache>
                <c:ptCount val="13"/>
                <c:pt idx="0">
                  <c:v>1</c:v>
                </c:pt>
                <c:pt idx="1">
                  <c:v>2</c:v>
                </c:pt>
                <c:pt idx="2">
                  <c:v>3</c:v>
                </c:pt>
                <c:pt idx="3">
                  <c:v>4</c:v>
                </c:pt>
                <c:pt idx="4">
                  <c:v>5</c:v>
                </c:pt>
                <c:pt idx="5">
                  <c:v>6</c:v>
                </c:pt>
                <c:pt idx="6">
                  <c:v>7</c:v>
                </c:pt>
                <c:pt idx="7">
                  <c:v>8</c:v>
                </c:pt>
                <c:pt idx="8">
                  <c:v>9</c:v>
                </c:pt>
                <c:pt idx="9">
                  <c:v>10</c:v>
                </c:pt>
                <c:pt idx="10">
                  <c:v>11</c:v>
                </c:pt>
                <c:pt idx="11">
                  <c:v>12</c:v>
                </c:pt>
                <c:pt idx="12">
                  <c:v>13</c:v>
                </c:pt>
              </c:strCache>
            </c:strRef>
          </c:cat>
          <c:val>
            <c:numRef>
              <c:f>Sheet1!$B$2:$N$2</c:f>
              <c:numCache>
                <c:formatCode>General</c:formatCode>
                <c:ptCount val="12"/>
                <c:pt idx="0">
                  <c:v>392.77</c:v>
                </c:pt>
                <c:pt idx="1">
                  <c:v>335.00299999999999</c:v>
                </c:pt>
                <c:pt idx="2">
                  <c:v>283.81599999999986</c:v>
                </c:pt>
                <c:pt idx="3">
                  <c:v>271.05799999999999</c:v>
                </c:pt>
                <c:pt idx="4">
                  <c:v>227.72399999999999</c:v>
                </c:pt>
                <c:pt idx="5">
                  <c:v>146.43300000000002</c:v>
                </c:pt>
                <c:pt idx="6">
                  <c:v>139.78100000000001</c:v>
                </c:pt>
                <c:pt idx="7">
                  <c:v>129.60999999999999</c:v>
                </c:pt>
                <c:pt idx="8">
                  <c:v>78.218000000000004</c:v>
                </c:pt>
                <c:pt idx="9">
                  <c:v>77.319000000000003</c:v>
                </c:pt>
                <c:pt idx="10">
                  <c:v>72.695999999999998</c:v>
                </c:pt>
                <c:pt idx="11">
                  <c:v>3.383</c:v>
                </c:pt>
              </c:numCache>
            </c:numRef>
          </c:val>
        </c:ser>
        <c:gapWidth val="70"/>
        <c:overlap val="100"/>
        <c:axId val="225939840"/>
        <c:axId val="225941376"/>
      </c:barChart>
      <c:catAx>
        <c:axId val="225939840"/>
        <c:scaling>
          <c:orientation val="minMax"/>
        </c:scaling>
        <c:axPos val="b"/>
        <c:numFmt formatCode="General" sourceLinked="1"/>
        <c:majorTickMark val="none"/>
        <c:tickLblPos val="none"/>
        <c:spPr>
          <a:ln w="12700" cap="flat">
            <a:solidFill>
              <a:srgbClr val="000000"/>
            </a:solidFill>
            <a:prstDash val="solid"/>
            <a:miter lim="400000"/>
          </a:ln>
        </c:spPr>
        <c:txPr>
          <a:bodyPr rot="0"/>
          <a:lstStyle/>
          <a:p>
            <a:pPr lvl="0">
              <a:defRPr sz="1200" b="1" i="0" u="none" strike="noStrike">
                <a:solidFill>
                  <a:srgbClr val="000000"/>
                </a:solidFill>
                <a:effectLst/>
                <a:latin typeface="Arial"/>
              </a:defRPr>
            </a:pPr>
            <a:endParaRPr lang="fr-FR"/>
          </a:p>
        </c:txPr>
        <c:crossAx val="225941376"/>
        <c:crosses val="autoZero"/>
        <c:auto val="1"/>
        <c:lblAlgn val="ctr"/>
        <c:lblOffset val="100"/>
        <c:noMultiLvlLbl val="1"/>
      </c:catAx>
      <c:valAx>
        <c:axId val="225941376"/>
        <c:scaling>
          <c:orientation val="minMax"/>
          <c:max val="392.77"/>
          <c:min val="0"/>
        </c:scaling>
        <c:axPos val="l"/>
        <c:numFmt formatCode="&quot;&quot;#,##0;&quot;-&quot;#,##0&quot;&quot;" sourceLinked="0"/>
        <c:majorTickMark val="none"/>
        <c:tickLblPos val="none"/>
        <c:spPr>
          <a:ln w="12700" cap="flat">
            <a:noFill/>
            <a:prstDash val="solid"/>
            <a:miter lim="400000"/>
          </a:ln>
        </c:spPr>
        <c:txPr>
          <a:bodyPr rot="0"/>
          <a:lstStyle/>
          <a:p>
            <a:pPr lvl="0">
              <a:defRPr sz="1200" b="1" i="0" u="none" strike="noStrike">
                <a:solidFill>
                  <a:srgbClr val="000000"/>
                </a:solidFill>
                <a:effectLst/>
                <a:latin typeface="Arial"/>
              </a:defRPr>
            </a:pPr>
            <a:endParaRPr lang="fr-FR"/>
          </a:p>
        </c:txPr>
        <c:crossAx val="225939840"/>
        <c:crosses val="autoZero"/>
        <c:crossBetween val="between"/>
        <c:majorUnit val="98.192499999999981"/>
        <c:minorUnit val="49.096200000000003"/>
      </c:valAx>
      <c:spPr>
        <a:noFill/>
        <a:ln w="12700" cap="flat">
          <a:noFill/>
          <a:miter lim="400000"/>
        </a:ln>
        <a:effectLst/>
      </c:spPr>
    </c:plotArea>
    <c:dispBlanksAs val="gap"/>
  </c:chart>
  <c:spPr>
    <a:noFill/>
    <a:ln>
      <a:noFill/>
    </a:ln>
    <a:effectLst/>
  </c:sp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67FCBF1-225A-4CC4-9410-47DEC0CBE409}"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fr-FR"/>
        </a:p>
      </dgm:t>
    </dgm:pt>
    <dgm:pt modelId="{114C9846-21B2-4F4F-A0EB-3151C64F9999}">
      <dgm:prSet phldrT="[Texte]" custT="1"/>
      <dgm:spPr>
        <a:solidFill>
          <a:schemeClr val="bg1"/>
        </a:solidFill>
      </dgm:spPr>
      <dgm:t>
        <a:bodyPr/>
        <a:lstStyle/>
        <a:p>
          <a:r>
            <a:rPr lang="en-US" sz="1500" b="1" noProof="0" dirty="0" smtClean="0">
              <a:solidFill>
                <a:schemeClr val="tx2"/>
              </a:solidFill>
            </a:rPr>
            <a:t>DEVELOPMENT of SENEGAL EXPORTATIONS under AGOA</a:t>
          </a:r>
          <a:endParaRPr lang="en-US" sz="1500" b="1" noProof="0" dirty="0">
            <a:solidFill>
              <a:schemeClr val="tx2"/>
            </a:solidFill>
          </a:endParaRPr>
        </a:p>
      </dgm:t>
    </dgm:pt>
    <dgm:pt modelId="{B7565F65-4FA2-4F50-9BC4-FE49E4C0E795}" type="parTrans" cxnId="{3F255611-807A-49B3-848A-C89B7F2CB0CB}">
      <dgm:prSet/>
      <dgm:spPr/>
      <dgm:t>
        <a:bodyPr/>
        <a:lstStyle/>
        <a:p>
          <a:endParaRPr lang="en-US" noProof="0"/>
        </a:p>
      </dgm:t>
    </dgm:pt>
    <dgm:pt modelId="{1D5A534C-0513-4C1A-B663-198FB788AC84}" type="sibTrans" cxnId="{3F255611-807A-49B3-848A-C89B7F2CB0CB}">
      <dgm:prSet/>
      <dgm:spPr/>
      <dgm:t>
        <a:bodyPr/>
        <a:lstStyle/>
        <a:p>
          <a:endParaRPr lang="en-US" noProof="0"/>
        </a:p>
      </dgm:t>
    </dgm:pt>
    <dgm:pt modelId="{85304B2F-0350-40C3-8459-E34DD2C29608}">
      <dgm:prSet phldrT="[Texte]" custT="1"/>
      <dgm:spPr/>
      <dgm:t>
        <a:bodyPr/>
        <a:lstStyle/>
        <a:p>
          <a:r>
            <a:rPr lang="en-US" sz="1600" b="1" noProof="0" dirty="0" smtClean="0"/>
            <a:t>Enhancement of exportation capacity in US market</a:t>
          </a:r>
          <a:endParaRPr lang="en-US" sz="1400" b="1" noProof="0" dirty="0"/>
        </a:p>
      </dgm:t>
    </dgm:pt>
    <dgm:pt modelId="{36C171FF-50FD-4335-8CD3-0E6954723E2E}" type="parTrans" cxnId="{2A0E10C6-441B-4428-AD33-A546DC9DA6F7}">
      <dgm:prSet/>
      <dgm:spPr/>
      <dgm:t>
        <a:bodyPr/>
        <a:lstStyle/>
        <a:p>
          <a:endParaRPr lang="en-US" noProof="0"/>
        </a:p>
      </dgm:t>
    </dgm:pt>
    <dgm:pt modelId="{F99F9A53-6114-4327-8135-B717A4031BC5}" type="sibTrans" cxnId="{2A0E10C6-441B-4428-AD33-A546DC9DA6F7}">
      <dgm:prSet/>
      <dgm:spPr/>
      <dgm:t>
        <a:bodyPr/>
        <a:lstStyle/>
        <a:p>
          <a:endParaRPr lang="en-US" noProof="0"/>
        </a:p>
      </dgm:t>
    </dgm:pt>
    <dgm:pt modelId="{F22A6989-CC7C-4FFF-A28F-9B6D29D0ED66}">
      <dgm:prSet phldrT="[Texte]" custT="1"/>
      <dgm:spPr/>
      <dgm:t>
        <a:bodyPr/>
        <a:lstStyle/>
        <a:p>
          <a:r>
            <a:rPr lang="en-US" sz="1600" b="1" noProof="0" dirty="0" err="1" smtClean="0"/>
            <a:t>Sensibilisation</a:t>
          </a:r>
          <a:r>
            <a:rPr lang="en-US" sz="1600" b="1" noProof="0" dirty="0" smtClean="0"/>
            <a:t> about AGOA and information about opportunities in US market</a:t>
          </a:r>
          <a:endParaRPr lang="en-US" sz="1600" b="1" noProof="0" dirty="0"/>
        </a:p>
      </dgm:t>
    </dgm:pt>
    <dgm:pt modelId="{8660222C-14A1-4543-A576-4A8FE7B6F20D}" type="parTrans" cxnId="{13FCB234-4AAD-4D08-9227-B033A53C285C}">
      <dgm:prSet/>
      <dgm:spPr/>
      <dgm:t>
        <a:bodyPr/>
        <a:lstStyle/>
        <a:p>
          <a:endParaRPr lang="en-US" noProof="0"/>
        </a:p>
      </dgm:t>
    </dgm:pt>
    <dgm:pt modelId="{6FCCA6A3-609D-44EA-ADE4-4B65B157E6DD}" type="sibTrans" cxnId="{13FCB234-4AAD-4D08-9227-B033A53C285C}">
      <dgm:prSet/>
      <dgm:spPr/>
      <dgm:t>
        <a:bodyPr/>
        <a:lstStyle/>
        <a:p>
          <a:endParaRPr lang="en-US" noProof="0"/>
        </a:p>
      </dgm:t>
    </dgm:pt>
    <dgm:pt modelId="{34B446CA-681A-4CAF-8696-3B17C7E62BC5}">
      <dgm:prSet phldrT="[Texte]" custT="1"/>
      <dgm:spPr/>
      <dgm:t>
        <a:bodyPr/>
        <a:lstStyle/>
        <a:p>
          <a:r>
            <a:rPr lang="en-US" sz="1600" b="1" noProof="0" dirty="0" smtClean="0"/>
            <a:t>Promotion of  «From Senegal» in US market</a:t>
          </a:r>
          <a:endParaRPr lang="en-US" sz="1600" b="1" noProof="0" dirty="0"/>
        </a:p>
      </dgm:t>
    </dgm:pt>
    <dgm:pt modelId="{D17E4A92-3102-41A4-A70B-30F64378C712}" type="parTrans" cxnId="{4FCB235E-51FE-490B-8D91-102F7AD1D465}">
      <dgm:prSet/>
      <dgm:spPr/>
      <dgm:t>
        <a:bodyPr/>
        <a:lstStyle/>
        <a:p>
          <a:endParaRPr lang="en-US" noProof="0"/>
        </a:p>
      </dgm:t>
    </dgm:pt>
    <dgm:pt modelId="{A8EB7483-2B95-481F-A5BC-373659076A64}" type="sibTrans" cxnId="{4FCB235E-51FE-490B-8D91-102F7AD1D465}">
      <dgm:prSet/>
      <dgm:spPr/>
      <dgm:t>
        <a:bodyPr/>
        <a:lstStyle/>
        <a:p>
          <a:endParaRPr lang="en-US" noProof="0"/>
        </a:p>
      </dgm:t>
    </dgm:pt>
    <dgm:pt modelId="{E8D29004-87F2-4806-86D1-37515F684B4C}">
      <dgm:prSet phldrT="[Texte]" custT="1"/>
      <dgm:spPr/>
      <dgm:t>
        <a:bodyPr/>
        <a:lstStyle/>
        <a:p>
          <a:r>
            <a:rPr lang="en-US" sz="1600" b="1" noProof="0" dirty="0" smtClean="0"/>
            <a:t>Facilitation of trade exchange</a:t>
          </a:r>
          <a:endParaRPr lang="en-US" sz="1600" b="1" noProof="0" dirty="0"/>
        </a:p>
      </dgm:t>
    </dgm:pt>
    <dgm:pt modelId="{FB6A6BFF-ED87-4C6A-9D6A-8B6031CA6EA8}" type="parTrans" cxnId="{D36BA94D-217E-42F4-A94D-B10DF2DF57FC}">
      <dgm:prSet/>
      <dgm:spPr/>
      <dgm:t>
        <a:bodyPr/>
        <a:lstStyle/>
        <a:p>
          <a:endParaRPr lang="en-US" noProof="0"/>
        </a:p>
      </dgm:t>
    </dgm:pt>
    <dgm:pt modelId="{20686381-47AA-4EB8-B219-6F454059EF69}" type="sibTrans" cxnId="{D36BA94D-217E-42F4-A94D-B10DF2DF57FC}">
      <dgm:prSet/>
      <dgm:spPr/>
      <dgm:t>
        <a:bodyPr/>
        <a:lstStyle/>
        <a:p>
          <a:endParaRPr lang="en-US" noProof="0"/>
        </a:p>
      </dgm:t>
    </dgm:pt>
    <dgm:pt modelId="{59BADD3A-83D2-4E54-800D-9DA3D4954D1D}" type="pres">
      <dgm:prSet presAssocID="{167FCBF1-225A-4CC4-9410-47DEC0CBE409}" presName="cycle" presStyleCnt="0">
        <dgm:presLayoutVars>
          <dgm:chMax val="1"/>
          <dgm:dir/>
          <dgm:animLvl val="ctr"/>
          <dgm:resizeHandles val="exact"/>
        </dgm:presLayoutVars>
      </dgm:prSet>
      <dgm:spPr/>
      <dgm:t>
        <a:bodyPr/>
        <a:lstStyle/>
        <a:p>
          <a:endParaRPr lang="fr-FR"/>
        </a:p>
      </dgm:t>
    </dgm:pt>
    <dgm:pt modelId="{C80D7FFD-24C9-4125-B29A-CACED19630FA}" type="pres">
      <dgm:prSet presAssocID="{114C9846-21B2-4F4F-A0EB-3151C64F9999}" presName="centerShape" presStyleLbl="node0" presStyleIdx="0" presStyleCnt="1" custScaleX="154863" custScaleY="106523" custLinFactNeighborX="-2712" custLinFactNeighborY="-1205"/>
      <dgm:spPr/>
      <dgm:t>
        <a:bodyPr/>
        <a:lstStyle/>
        <a:p>
          <a:endParaRPr lang="fr-FR"/>
        </a:p>
      </dgm:t>
    </dgm:pt>
    <dgm:pt modelId="{7CF5A862-22FA-436C-A183-932DCD32FB06}" type="pres">
      <dgm:prSet presAssocID="{36C171FF-50FD-4335-8CD3-0E6954723E2E}" presName="Name9" presStyleLbl="parChTrans1D2" presStyleIdx="0" presStyleCnt="4"/>
      <dgm:spPr/>
      <dgm:t>
        <a:bodyPr/>
        <a:lstStyle/>
        <a:p>
          <a:endParaRPr lang="fr-FR"/>
        </a:p>
      </dgm:t>
    </dgm:pt>
    <dgm:pt modelId="{4AA40983-E682-4F79-878D-62676DCD7C90}" type="pres">
      <dgm:prSet presAssocID="{36C171FF-50FD-4335-8CD3-0E6954723E2E}" presName="connTx" presStyleLbl="parChTrans1D2" presStyleIdx="0" presStyleCnt="4"/>
      <dgm:spPr/>
      <dgm:t>
        <a:bodyPr/>
        <a:lstStyle/>
        <a:p>
          <a:endParaRPr lang="fr-FR"/>
        </a:p>
      </dgm:t>
    </dgm:pt>
    <dgm:pt modelId="{0C1AC2AE-F998-46A0-A9FD-2F8732A63928}" type="pres">
      <dgm:prSet presAssocID="{85304B2F-0350-40C3-8459-E34DD2C29608}" presName="node" presStyleLbl="node1" presStyleIdx="0" presStyleCnt="4" custScaleX="150551" custScaleY="137070" custRadScaleRad="102239" custRadScaleInc="2318">
        <dgm:presLayoutVars>
          <dgm:bulletEnabled val="1"/>
        </dgm:presLayoutVars>
      </dgm:prSet>
      <dgm:spPr/>
      <dgm:t>
        <a:bodyPr/>
        <a:lstStyle/>
        <a:p>
          <a:endParaRPr lang="fr-FR"/>
        </a:p>
      </dgm:t>
    </dgm:pt>
    <dgm:pt modelId="{CADFF119-65DD-493A-9994-1F31BC721F89}" type="pres">
      <dgm:prSet presAssocID="{8660222C-14A1-4543-A576-4A8FE7B6F20D}" presName="Name9" presStyleLbl="parChTrans1D2" presStyleIdx="1" presStyleCnt="4"/>
      <dgm:spPr/>
      <dgm:t>
        <a:bodyPr/>
        <a:lstStyle/>
        <a:p>
          <a:endParaRPr lang="fr-FR"/>
        </a:p>
      </dgm:t>
    </dgm:pt>
    <dgm:pt modelId="{945ECB31-F2A1-4252-9B09-10EA44AEE84E}" type="pres">
      <dgm:prSet presAssocID="{8660222C-14A1-4543-A576-4A8FE7B6F20D}" presName="connTx" presStyleLbl="parChTrans1D2" presStyleIdx="1" presStyleCnt="4"/>
      <dgm:spPr/>
      <dgm:t>
        <a:bodyPr/>
        <a:lstStyle/>
        <a:p>
          <a:endParaRPr lang="fr-FR"/>
        </a:p>
      </dgm:t>
    </dgm:pt>
    <dgm:pt modelId="{9C04D37B-633B-4DCA-8E2E-B1C46E295CB3}" type="pres">
      <dgm:prSet presAssocID="{F22A6989-CC7C-4FFF-A28F-9B6D29D0ED66}" presName="node" presStyleLbl="node1" presStyleIdx="1" presStyleCnt="4" custScaleX="160284" custScaleY="140979" custRadScaleRad="188806" custRadScaleInc="3284">
        <dgm:presLayoutVars>
          <dgm:bulletEnabled val="1"/>
        </dgm:presLayoutVars>
      </dgm:prSet>
      <dgm:spPr/>
      <dgm:t>
        <a:bodyPr/>
        <a:lstStyle/>
        <a:p>
          <a:endParaRPr lang="fr-FR"/>
        </a:p>
      </dgm:t>
    </dgm:pt>
    <dgm:pt modelId="{19FA44F9-E639-46AF-89AD-0D522A4BBA93}" type="pres">
      <dgm:prSet presAssocID="{D17E4A92-3102-41A4-A70B-30F64378C712}" presName="Name9" presStyleLbl="parChTrans1D2" presStyleIdx="2" presStyleCnt="4"/>
      <dgm:spPr/>
      <dgm:t>
        <a:bodyPr/>
        <a:lstStyle/>
        <a:p>
          <a:endParaRPr lang="fr-FR"/>
        </a:p>
      </dgm:t>
    </dgm:pt>
    <dgm:pt modelId="{44A198FD-FED7-45DB-8113-55FF62893249}" type="pres">
      <dgm:prSet presAssocID="{D17E4A92-3102-41A4-A70B-30F64378C712}" presName="connTx" presStyleLbl="parChTrans1D2" presStyleIdx="2" presStyleCnt="4"/>
      <dgm:spPr/>
      <dgm:t>
        <a:bodyPr/>
        <a:lstStyle/>
        <a:p>
          <a:endParaRPr lang="fr-FR"/>
        </a:p>
      </dgm:t>
    </dgm:pt>
    <dgm:pt modelId="{F3902607-CC6C-452D-89D6-984E744FE61D}" type="pres">
      <dgm:prSet presAssocID="{34B446CA-681A-4CAF-8696-3B17C7E62BC5}" presName="node" presStyleLbl="node1" presStyleIdx="2" presStyleCnt="4" custScaleX="153573" custScaleY="113304" custRadScaleRad="108743" custRadScaleInc="-3653">
        <dgm:presLayoutVars>
          <dgm:bulletEnabled val="1"/>
        </dgm:presLayoutVars>
      </dgm:prSet>
      <dgm:spPr/>
      <dgm:t>
        <a:bodyPr/>
        <a:lstStyle/>
        <a:p>
          <a:endParaRPr lang="fr-FR"/>
        </a:p>
      </dgm:t>
    </dgm:pt>
    <dgm:pt modelId="{8A68A6BC-7C5F-40BC-84DB-372B7FEDF2A5}" type="pres">
      <dgm:prSet presAssocID="{FB6A6BFF-ED87-4C6A-9D6A-8B6031CA6EA8}" presName="Name9" presStyleLbl="parChTrans1D2" presStyleIdx="3" presStyleCnt="4"/>
      <dgm:spPr/>
      <dgm:t>
        <a:bodyPr/>
        <a:lstStyle/>
        <a:p>
          <a:endParaRPr lang="fr-FR"/>
        </a:p>
      </dgm:t>
    </dgm:pt>
    <dgm:pt modelId="{26A61203-8851-422B-AAD2-2BD11D48B80E}" type="pres">
      <dgm:prSet presAssocID="{FB6A6BFF-ED87-4C6A-9D6A-8B6031CA6EA8}" presName="connTx" presStyleLbl="parChTrans1D2" presStyleIdx="3" presStyleCnt="4"/>
      <dgm:spPr/>
      <dgm:t>
        <a:bodyPr/>
        <a:lstStyle/>
        <a:p>
          <a:endParaRPr lang="fr-FR"/>
        </a:p>
      </dgm:t>
    </dgm:pt>
    <dgm:pt modelId="{55EBC381-BED0-4C3D-A55C-A9A7C2C625DD}" type="pres">
      <dgm:prSet presAssocID="{E8D29004-87F2-4806-86D1-37515F684B4C}" presName="node" presStyleLbl="node1" presStyleIdx="3" presStyleCnt="4" custScaleX="136219" custScaleY="140979" custRadScaleRad="172264" custRadScaleInc="-566">
        <dgm:presLayoutVars>
          <dgm:bulletEnabled val="1"/>
        </dgm:presLayoutVars>
      </dgm:prSet>
      <dgm:spPr/>
      <dgm:t>
        <a:bodyPr/>
        <a:lstStyle/>
        <a:p>
          <a:endParaRPr lang="fr-FR"/>
        </a:p>
      </dgm:t>
    </dgm:pt>
  </dgm:ptLst>
  <dgm:cxnLst>
    <dgm:cxn modelId="{57AF0D2E-443D-41A6-BED4-26A09A419691}" type="presOf" srcId="{8660222C-14A1-4543-A576-4A8FE7B6F20D}" destId="{CADFF119-65DD-493A-9994-1F31BC721F89}" srcOrd="0" destOrd="0" presId="urn:microsoft.com/office/officeart/2005/8/layout/radial1"/>
    <dgm:cxn modelId="{2895ACD2-0688-4355-A77D-7D8CA4AAFCE7}" type="presOf" srcId="{114C9846-21B2-4F4F-A0EB-3151C64F9999}" destId="{C80D7FFD-24C9-4125-B29A-CACED19630FA}" srcOrd="0" destOrd="0" presId="urn:microsoft.com/office/officeart/2005/8/layout/radial1"/>
    <dgm:cxn modelId="{3F255611-807A-49B3-848A-C89B7F2CB0CB}" srcId="{167FCBF1-225A-4CC4-9410-47DEC0CBE409}" destId="{114C9846-21B2-4F4F-A0EB-3151C64F9999}" srcOrd="0" destOrd="0" parTransId="{B7565F65-4FA2-4F50-9BC4-FE49E4C0E795}" sibTransId="{1D5A534C-0513-4C1A-B663-198FB788AC84}"/>
    <dgm:cxn modelId="{21F62AA8-D6BC-478D-BF84-7CF941D6FA98}" type="presOf" srcId="{85304B2F-0350-40C3-8459-E34DD2C29608}" destId="{0C1AC2AE-F998-46A0-A9FD-2F8732A63928}" srcOrd="0" destOrd="0" presId="urn:microsoft.com/office/officeart/2005/8/layout/radial1"/>
    <dgm:cxn modelId="{34358398-324B-42CC-8E66-F9582B0661A8}" type="presOf" srcId="{167FCBF1-225A-4CC4-9410-47DEC0CBE409}" destId="{59BADD3A-83D2-4E54-800D-9DA3D4954D1D}" srcOrd="0" destOrd="0" presId="urn:microsoft.com/office/officeart/2005/8/layout/radial1"/>
    <dgm:cxn modelId="{2A0E10C6-441B-4428-AD33-A546DC9DA6F7}" srcId="{114C9846-21B2-4F4F-A0EB-3151C64F9999}" destId="{85304B2F-0350-40C3-8459-E34DD2C29608}" srcOrd="0" destOrd="0" parTransId="{36C171FF-50FD-4335-8CD3-0E6954723E2E}" sibTransId="{F99F9A53-6114-4327-8135-B717A4031BC5}"/>
    <dgm:cxn modelId="{01D8DD5B-DA94-4743-94D1-4DB0421C53EE}" type="presOf" srcId="{D17E4A92-3102-41A4-A70B-30F64378C712}" destId="{19FA44F9-E639-46AF-89AD-0D522A4BBA93}" srcOrd="0" destOrd="0" presId="urn:microsoft.com/office/officeart/2005/8/layout/radial1"/>
    <dgm:cxn modelId="{D36BA94D-217E-42F4-A94D-B10DF2DF57FC}" srcId="{114C9846-21B2-4F4F-A0EB-3151C64F9999}" destId="{E8D29004-87F2-4806-86D1-37515F684B4C}" srcOrd="3" destOrd="0" parTransId="{FB6A6BFF-ED87-4C6A-9D6A-8B6031CA6EA8}" sibTransId="{20686381-47AA-4EB8-B219-6F454059EF69}"/>
    <dgm:cxn modelId="{67FADB7F-801C-403C-A047-E72263A2C7B3}" type="presOf" srcId="{FB6A6BFF-ED87-4C6A-9D6A-8B6031CA6EA8}" destId="{26A61203-8851-422B-AAD2-2BD11D48B80E}" srcOrd="1" destOrd="0" presId="urn:microsoft.com/office/officeart/2005/8/layout/radial1"/>
    <dgm:cxn modelId="{841D11AC-356A-4A0F-AD7B-8A5ACC53EBB2}" type="presOf" srcId="{36C171FF-50FD-4335-8CD3-0E6954723E2E}" destId="{7CF5A862-22FA-436C-A183-932DCD32FB06}" srcOrd="0" destOrd="0" presId="urn:microsoft.com/office/officeart/2005/8/layout/radial1"/>
    <dgm:cxn modelId="{E0ACF926-8D36-4A3A-870F-8D3CE32D8D3E}" type="presOf" srcId="{34B446CA-681A-4CAF-8696-3B17C7E62BC5}" destId="{F3902607-CC6C-452D-89D6-984E744FE61D}" srcOrd="0" destOrd="0" presId="urn:microsoft.com/office/officeart/2005/8/layout/radial1"/>
    <dgm:cxn modelId="{85F872D1-8431-40C8-BF15-DCA1771ABE72}" type="presOf" srcId="{FB6A6BFF-ED87-4C6A-9D6A-8B6031CA6EA8}" destId="{8A68A6BC-7C5F-40BC-84DB-372B7FEDF2A5}" srcOrd="0" destOrd="0" presId="urn:microsoft.com/office/officeart/2005/8/layout/radial1"/>
    <dgm:cxn modelId="{13FCB234-4AAD-4D08-9227-B033A53C285C}" srcId="{114C9846-21B2-4F4F-A0EB-3151C64F9999}" destId="{F22A6989-CC7C-4FFF-A28F-9B6D29D0ED66}" srcOrd="1" destOrd="0" parTransId="{8660222C-14A1-4543-A576-4A8FE7B6F20D}" sibTransId="{6FCCA6A3-609D-44EA-ADE4-4B65B157E6DD}"/>
    <dgm:cxn modelId="{09E4C104-A231-4A73-BDC7-14F80D16C8F4}" type="presOf" srcId="{36C171FF-50FD-4335-8CD3-0E6954723E2E}" destId="{4AA40983-E682-4F79-878D-62676DCD7C90}" srcOrd="1" destOrd="0" presId="urn:microsoft.com/office/officeart/2005/8/layout/radial1"/>
    <dgm:cxn modelId="{4FCB235E-51FE-490B-8D91-102F7AD1D465}" srcId="{114C9846-21B2-4F4F-A0EB-3151C64F9999}" destId="{34B446CA-681A-4CAF-8696-3B17C7E62BC5}" srcOrd="2" destOrd="0" parTransId="{D17E4A92-3102-41A4-A70B-30F64378C712}" sibTransId="{A8EB7483-2B95-481F-A5BC-373659076A64}"/>
    <dgm:cxn modelId="{20910DB8-5AB6-4028-BF93-345E61424A08}" type="presOf" srcId="{8660222C-14A1-4543-A576-4A8FE7B6F20D}" destId="{945ECB31-F2A1-4252-9B09-10EA44AEE84E}" srcOrd="1" destOrd="0" presId="urn:microsoft.com/office/officeart/2005/8/layout/radial1"/>
    <dgm:cxn modelId="{A107B02A-398E-48C6-B11B-D6FD0B9926EC}" type="presOf" srcId="{E8D29004-87F2-4806-86D1-37515F684B4C}" destId="{55EBC381-BED0-4C3D-A55C-A9A7C2C625DD}" srcOrd="0" destOrd="0" presId="urn:microsoft.com/office/officeart/2005/8/layout/radial1"/>
    <dgm:cxn modelId="{3BDFD0FF-CDB6-44EB-9F42-58F59B3E674C}" type="presOf" srcId="{F22A6989-CC7C-4FFF-A28F-9B6D29D0ED66}" destId="{9C04D37B-633B-4DCA-8E2E-B1C46E295CB3}" srcOrd="0" destOrd="0" presId="urn:microsoft.com/office/officeart/2005/8/layout/radial1"/>
    <dgm:cxn modelId="{198F5FAC-BCB5-4DC3-BED4-98B210C1E205}" type="presOf" srcId="{D17E4A92-3102-41A4-A70B-30F64378C712}" destId="{44A198FD-FED7-45DB-8113-55FF62893249}" srcOrd="1" destOrd="0" presId="urn:microsoft.com/office/officeart/2005/8/layout/radial1"/>
    <dgm:cxn modelId="{2CE9F203-941F-4F08-9A15-660F66EBA732}" type="presParOf" srcId="{59BADD3A-83D2-4E54-800D-9DA3D4954D1D}" destId="{C80D7FFD-24C9-4125-B29A-CACED19630FA}" srcOrd="0" destOrd="0" presId="urn:microsoft.com/office/officeart/2005/8/layout/radial1"/>
    <dgm:cxn modelId="{924DA8CA-D407-4108-ADE7-BDB44FF400CF}" type="presParOf" srcId="{59BADD3A-83D2-4E54-800D-9DA3D4954D1D}" destId="{7CF5A862-22FA-436C-A183-932DCD32FB06}" srcOrd="1" destOrd="0" presId="urn:microsoft.com/office/officeart/2005/8/layout/radial1"/>
    <dgm:cxn modelId="{6360DD17-72DE-45CE-AEB2-B054E3DB7CEE}" type="presParOf" srcId="{7CF5A862-22FA-436C-A183-932DCD32FB06}" destId="{4AA40983-E682-4F79-878D-62676DCD7C90}" srcOrd="0" destOrd="0" presId="urn:microsoft.com/office/officeart/2005/8/layout/radial1"/>
    <dgm:cxn modelId="{502D98E2-51FD-4728-8586-8E1E8227A02E}" type="presParOf" srcId="{59BADD3A-83D2-4E54-800D-9DA3D4954D1D}" destId="{0C1AC2AE-F998-46A0-A9FD-2F8732A63928}" srcOrd="2" destOrd="0" presId="urn:microsoft.com/office/officeart/2005/8/layout/radial1"/>
    <dgm:cxn modelId="{96FC535E-D2C5-4C0D-9378-B12D108289F9}" type="presParOf" srcId="{59BADD3A-83D2-4E54-800D-9DA3D4954D1D}" destId="{CADFF119-65DD-493A-9994-1F31BC721F89}" srcOrd="3" destOrd="0" presId="urn:microsoft.com/office/officeart/2005/8/layout/radial1"/>
    <dgm:cxn modelId="{EACDA4F4-F2E9-454F-8982-FF718CCA35C8}" type="presParOf" srcId="{CADFF119-65DD-493A-9994-1F31BC721F89}" destId="{945ECB31-F2A1-4252-9B09-10EA44AEE84E}" srcOrd="0" destOrd="0" presId="urn:microsoft.com/office/officeart/2005/8/layout/radial1"/>
    <dgm:cxn modelId="{6EE49559-D4FC-4B54-B9F8-60FE5616E3E7}" type="presParOf" srcId="{59BADD3A-83D2-4E54-800D-9DA3D4954D1D}" destId="{9C04D37B-633B-4DCA-8E2E-B1C46E295CB3}" srcOrd="4" destOrd="0" presId="urn:microsoft.com/office/officeart/2005/8/layout/radial1"/>
    <dgm:cxn modelId="{E190977E-BE4E-4044-A634-26737F65F2AA}" type="presParOf" srcId="{59BADD3A-83D2-4E54-800D-9DA3D4954D1D}" destId="{19FA44F9-E639-46AF-89AD-0D522A4BBA93}" srcOrd="5" destOrd="0" presId="urn:microsoft.com/office/officeart/2005/8/layout/radial1"/>
    <dgm:cxn modelId="{2A044092-4927-49ED-87ED-0513FB903B5D}" type="presParOf" srcId="{19FA44F9-E639-46AF-89AD-0D522A4BBA93}" destId="{44A198FD-FED7-45DB-8113-55FF62893249}" srcOrd="0" destOrd="0" presId="urn:microsoft.com/office/officeart/2005/8/layout/radial1"/>
    <dgm:cxn modelId="{A3612B92-528C-48FF-A962-4BD8C8E27939}" type="presParOf" srcId="{59BADD3A-83D2-4E54-800D-9DA3D4954D1D}" destId="{F3902607-CC6C-452D-89D6-984E744FE61D}" srcOrd="6" destOrd="0" presId="urn:microsoft.com/office/officeart/2005/8/layout/radial1"/>
    <dgm:cxn modelId="{B9A2521C-7E3B-4561-8F7F-A950577ADAF0}" type="presParOf" srcId="{59BADD3A-83D2-4E54-800D-9DA3D4954D1D}" destId="{8A68A6BC-7C5F-40BC-84DB-372B7FEDF2A5}" srcOrd="7" destOrd="0" presId="urn:microsoft.com/office/officeart/2005/8/layout/radial1"/>
    <dgm:cxn modelId="{40506B0F-9974-4D60-831A-D23F19E7F481}" type="presParOf" srcId="{8A68A6BC-7C5F-40BC-84DB-372B7FEDF2A5}" destId="{26A61203-8851-422B-AAD2-2BD11D48B80E}" srcOrd="0" destOrd="0" presId="urn:microsoft.com/office/officeart/2005/8/layout/radial1"/>
    <dgm:cxn modelId="{B5BD8FFF-62E1-43C8-B58E-289F5BCD6E42}" type="presParOf" srcId="{59BADD3A-83D2-4E54-800D-9DA3D4954D1D}" destId="{55EBC381-BED0-4C3D-A55C-A9A7C2C625DD}" srcOrd="8" destOrd="0" presId="urn:microsoft.com/office/officeart/2005/8/layout/radial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80D7FFD-24C9-4125-B29A-CACED19630FA}">
      <dsp:nvSpPr>
        <dsp:cNvPr id="0" name=""/>
        <dsp:cNvSpPr/>
      </dsp:nvSpPr>
      <dsp:spPr>
        <a:xfrm>
          <a:off x="3046566" y="1872209"/>
          <a:ext cx="2210006" cy="1520160"/>
        </a:xfrm>
        <a:prstGeom prst="ellipse">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b="1" kern="1200" noProof="0" dirty="0" smtClean="0">
              <a:solidFill>
                <a:schemeClr val="tx2"/>
              </a:solidFill>
            </a:rPr>
            <a:t>DEVELOPMENT of SENEGAL EXPORTATIONS under AGOA</a:t>
          </a:r>
          <a:endParaRPr lang="en-US" sz="1500" b="1" kern="1200" noProof="0" dirty="0">
            <a:solidFill>
              <a:schemeClr val="tx2"/>
            </a:solidFill>
          </a:endParaRPr>
        </a:p>
      </dsp:txBody>
      <dsp:txXfrm>
        <a:off x="3046566" y="1872209"/>
        <a:ext cx="2210006" cy="1520160"/>
      </dsp:txXfrm>
    </dsp:sp>
    <dsp:sp modelId="{7CF5A862-22FA-436C-A183-932DCD32FB06}">
      <dsp:nvSpPr>
        <dsp:cNvPr id="0" name=""/>
        <dsp:cNvSpPr/>
      </dsp:nvSpPr>
      <dsp:spPr>
        <a:xfrm rot="16456157">
          <a:off x="4171677" y="1819016"/>
          <a:ext cx="78998" cy="29605"/>
        </a:xfrm>
        <a:custGeom>
          <a:avLst/>
          <a:gdLst/>
          <a:ahLst/>
          <a:cxnLst/>
          <a:rect l="0" t="0" r="0" b="0"/>
          <a:pathLst>
            <a:path>
              <a:moveTo>
                <a:pt x="0" y="14802"/>
              </a:moveTo>
              <a:lnTo>
                <a:pt x="78998"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a:p>
      </dsp:txBody>
      <dsp:txXfrm rot="16456157">
        <a:off x="4209201" y="1831844"/>
        <a:ext cx="3949" cy="3949"/>
      </dsp:txXfrm>
    </dsp:sp>
    <dsp:sp modelId="{0C1AC2AE-F998-46A0-A9FD-2F8732A63928}">
      <dsp:nvSpPr>
        <dsp:cNvPr id="0" name=""/>
        <dsp:cNvSpPr/>
      </dsp:nvSpPr>
      <dsp:spPr>
        <a:xfrm>
          <a:off x="3212725" y="-159407"/>
          <a:ext cx="2148471" cy="195608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noProof="0" dirty="0" smtClean="0"/>
            <a:t>Enhancement of exportation capacity in US market</a:t>
          </a:r>
          <a:endParaRPr lang="en-US" sz="1400" b="1" kern="1200" noProof="0" dirty="0"/>
        </a:p>
      </dsp:txBody>
      <dsp:txXfrm>
        <a:off x="3212725" y="-159407"/>
        <a:ext cx="2148471" cy="1956087"/>
      </dsp:txXfrm>
    </dsp:sp>
    <dsp:sp modelId="{CADFF119-65DD-493A-9994-1F31BC721F89}">
      <dsp:nvSpPr>
        <dsp:cNvPr id="0" name=""/>
        <dsp:cNvSpPr/>
      </dsp:nvSpPr>
      <dsp:spPr>
        <a:xfrm rot="137469">
          <a:off x="5254254" y="2684338"/>
          <a:ext cx="1136468" cy="29605"/>
        </a:xfrm>
        <a:custGeom>
          <a:avLst/>
          <a:gdLst/>
          <a:ahLst/>
          <a:cxnLst/>
          <a:rect l="0" t="0" r="0" b="0"/>
          <a:pathLst>
            <a:path>
              <a:moveTo>
                <a:pt x="0" y="14802"/>
              </a:moveTo>
              <a:lnTo>
                <a:pt x="1136468"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a:p>
      </dsp:txBody>
      <dsp:txXfrm rot="137469">
        <a:off x="5794077" y="2670730"/>
        <a:ext cx="56823" cy="56823"/>
      </dsp:txXfrm>
    </dsp:sp>
    <dsp:sp modelId="{9C04D37B-633B-4DCA-8E2E-B1C46E295CB3}">
      <dsp:nvSpPr>
        <dsp:cNvPr id="0" name=""/>
        <dsp:cNvSpPr/>
      </dsp:nvSpPr>
      <dsp:spPr>
        <a:xfrm>
          <a:off x="6389087" y="1761633"/>
          <a:ext cx="2287368" cy="20118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noProof="0" dirty="0" err="1" smtClean="0"/>
            <a:t>Sensibilisation</a:t>
          </a:r>
          <a:r>
            <a:rPr lang="en-US" sz="1600" b="1" kern="1200" noProof="0" dirty="0" smtClean="0"/>
            <a:t> about AGOA and information about opportunities in US market</a:t>
          </a:r>
          <a:endParaRPr lang="en-US" sz="1600" b="1" kern="1200" noProof="0" dirty="0"/>
        </a:p>
      </dsp:txBody>
      <dsp:txXfrm>
        <a:off x="6389087" y="1761633"/>
        <a:ext cx="2287368" cy="2011872"/>
      </dsp:txXfrm>
    </dsp:sp>
    <dsp:sp modelId="{19FA44F9-E639-46AF-89AD-0D522A4BBA93}">
      <dsp:nvSpPr>
        <dsp:cNvPr id="0" name=""/>
        <dsp:cNvSpPr/>
      </dsp:nvSpPr>
      <dsp:spPr>
        <a:xfrm rot="5113871">
          <a:off x="4059635" y="3545047"/>
          <a:ext cx="338631" cy="29605"/>
        </a:xfrm>
        <a:custGeom>
          <a:avLst/>
          <a:gdLst/>
          <a:ahLst/>
          <a:cxnLst/>
          <a:rect l="0" t="0" r="0" b="0"/>
          <a:pathLst>
            <a:path>
              <a:moveTo>
                <a:pt x="0" y="14802"/>
              </a:moveTo>
              <a:lnTo>
                <a:pt x="338631"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a:p>
      </dsp:txBody>
      <dsp:txXfrm rot="5113871">
        <a:off x="4220485" y="3551384"/>
        <a:ext cx="16931" cy="16931"/>
      </dsp:txXfrm>
    </dsp:sp>
    <dsp:sp modelId="{F3902607-CC6C-452D-89D6-984E744FE61D}">
      <dsp:nvSpPr>
        <dsp:cNvPr id="0" name=""/>
        <dsp:cNvSpPr/>
      </dsp:nvSpPr>
      <dsp:spPr>
        <a:xfrm>
          <a:off x="3214546" y="3727053"/>
          <a:ext cx="2191597" cy="161692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noProof="0" dirty="0" smtClean="0"/>
            <a:t>Promotion of  «From Senegal» in US market</a:t>
          </a:r>
          <a:endParaRPr lang="en-US" sz="1600" b="1" kern="1200" noProof="0" dirty="0"/>
        </a:p>
      </dsp:txBody>
      <dsp:txXfrm>
        <a:off x="3214546" y="3727053"/>
        <a:ext cx="2191597" cy="1616929"/>
      </dsp:txXfrm>
    </dsp:sp>
    <dsp:sp modelId="{8A68A6BC-7C5F-40BC-84DB-372B7FEDF2A5}">
      <dsp:nvSpPr>
        <dsp:cNvPr id="0" name=""/>
        <dsp:cNvSpPr/>
      </dsp:nvSpPr>
      <dsp:spPr>
        <a:xfrm rot="10734570">
          <a:off x="2022693" y="2648259"/>
          <a:ext cx="1024388" cy="29605"/>
        </a:xfrm>
        <a:custGeom>
          <a:avLst/>
          <a:gdLst/>
          <a:ahLst/>
          <a:cxnLst/>
          <a:rect l="0" t="0" r="0" b="0"/>
          <a:pathLst>
            <a:path>
              <a:moveTo>
                <a:pt x="0" y="14802"/>
              </a:moveTo>
              <a:lnTo>
                <a:pt x="1024388" y="1480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noProof="0"/>
        </a:p>
      </dsp:txBody>
      <dsp:txXfrm rot="10734570">
        <a:off x="2509278" y="2637452"/>
        <a:ext cx="51219" cy="51219"/>
      </dsp:txXfrm>
    </dsp:sp>
    <dsp:sp modelId="{55EBC381-BED0-4C3D-A55C-A9A7C2C625DD}">
      <dsp:nvSpPr>
        <dsp:cNvPr id="0" name=""/>
        <dsp:cNvSpPr/>
      </dsp:nvSpPr>
      <dsp:spPr>
        <a:xfrm>
          <a:off x="79007" y="1685372"/>
          <a:ext cx="1943943" cy="201187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noProof="0" dirty="0" smtClean="0"/>
            <a:t>Facilitation of trade exchange</a:t>
          </a:r>
          <a:endParaRPr lang="en-US" sz="1600" b="1" kern="1200" noProof="0" dirty="0"/>
        </a:p>
      </dsp:txBody>
      <dsp:txXfrm>
        <a:off x="79007" y="1685372"/>
        <a:ext cx="1943943" cy="2011872"/>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F069B8D-9F5E-ED48-ACCB-D2242E2340D7}" type="datetimeFigureOut">
              <a:rPr lang="en-US" smtClean="0"/>
              <a:pPr/>
              <a:t>2/5/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33CBBDE-9B43-7946-8820-8B408CF3608A}" type="slidenum">
              <a:rPr lang="en-US" smtClean="0"/>
              <a:pPr/>
              <a:t>‹N°›</a:t>
            </a:fld>
            <a:endParaRPr lang="en-US"/>
          </a:p>
        </p:txBody>
      </p:sp>
    </p:spTree>
    <p:extLst>
      <p:ext uri="{BB962C8B-B14F-4D97-AF65-F5344CB8AC3E}">
        <p14:creationId xmlns="" xmlns:p14="http://schemas.microsoft.com/office/powerpoint/2010/main" val="761458242"/>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59.gif"/><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9" name="Rectangle 2"/>
          <p:cNvSpPr>
            <a:spLocks noGrp="1" noRot="1" noChangeAspect="1" noChangeArrowheads="1" noTextEdit="1"/>
          </p:cNvSpPr>
          <p:nvPr>
            <p:ph type="sldImg"/>
          </p:nvPr>
        </p:nvSpPr>
        <p:spPr bwMode="auto">
          <a:xfrm>
            <a:off x="1146175" y="685800"/>
            <a:ext cx="4572000" cy="3429000"/>
          </a:xfrm>
          <a:noFill/>
          <a:ln>
            <a:solidFill>
              <a:srgbClr val="000000"/>
            </a:solidFill>
            <a:miter lim="800000"/>
            <a:headEnd/>
            <a:tailEnd/>
          </a:ln>
        </p:spPr>
      </p:sp>
      <p:sp>
        <p:nvSpPr>
          <p:cNvPr id="45060" name="Rectangle 3"/>
          <p:cNvSpPr>
            <a:spLocks noGrp="1" noChangeArrowheads="1"/>
          </p:cNvSpPr>
          <p:nvPr>
            <p:ph type="body" idx="1"/>
          </p:nvPr>
        </p:nvSpPr>
        <p:spPr bwMode="auto">
          <a:xfrm>
            <a:off x="912906" y="4344135"/>
            <a:ext cx="5032190" cy="4114800"/>
          </a:xfrm>
          <a:noFill/>
        </p:spPr>
        <p:txBody>
          <a:bodyPr wrap="square" numCol="1" anchor="t" anchorCtr="0" compatLnSpc="1">
            <a:prstTxWarp prst="textNoShape">
              <a:avLst/>
            </a:prstTxWarp>
          </a:bodyPr>
          <a:lstStyle/>
          <a:p>
            <a:pPr eaLnBrk="1" hangingPunct="1">
              <a:spcBef>
                <a:spcPct val="0"/>
              </a:spcBef>
            </a:pPr>
            <a:endParaRPr lang="pt-BR" dirty="0" smtClean="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Grp="1" noRot="1" noChangeAspect="1" noChangeArrowheads="1" noTextEdit="1"/>
          </p:cNvSpPr>
          <p:nvPr>
            <p:ph type="sldImg"/>
          </p:nvPr>
        </p:nvSpPr>
        <p:spPr bwMode="auto">
          <a:xfrm>
            <a:off x="1143000" y="685800"/>
            <a:ext cx="4573588" cy="3430588"/>
          </a:xfrm>
          <a:noFill/>
          <a:ln>
            <a:solidFill>
              <a:srgbClr val="000000"/>
            </a:solidFill>
            <a:miter lim="800000"/>
            <a:headEnd/>
            <a:tailEnd/>
          </a:ln>
        </p:spPr>
      </p:sp>
      <p:sp>
        <p:nvSpPr>
          <p:cNvPr id="4813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200" b="1" kern="1200" dirty="0" err="1" smtClean="0">
                <a:solidFill>
                  <a:srgbClr val="000090"/>
                </a:solidFill>
                <a:latin typeface="Cambria" pitchFamily="18" charset="0"/>
                <a:ea typeface="+mn-ea"/>
                <a:cs typeface="+mn-cs"/>
              </a:rPr>
              <a:t>Railways</a:t>
            </a:r>
            <a:endParaRPr lang="fr-FR" sz="1200" b="1" kern="1200" dirty="0" smtClean="0">
              <a:solidFill>
                <a:srgbClr val="000090"/>
              </a:solidFill>
              <a:latin typeface="Cambria" pitchFamily="18" charset="0"/>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fr-FR" sz="1200" b="1" dirty="0" smtClean="0">
                <a:solidFill>
                  <a:srgbClr val="FF0000"/>
                </a:solidFill>
                <a:latin typeface="Cambria" pitchFamily="18" charset="0"/>
              </a:rPr>
              <a:t>750 km </a:t>
            </a:r>
            <a:r>
              <a:rPr lang="fr-FR" sz="1200" dirty="0" smtClean="0">
                <a:latin typeface="Cambria" pitchFamily="18" charset="0"/>
              </a:rPr>
              <a:t>Dakar – Bamako</a:t>
            </a:r>
          </a:p>
          <a:p>
            <a:pPr marL="0" marR="0" indent="0" algn="l" defTabSz="457200" rtl="0" eaLnBrk="1" fontAlgn="auto" latinLnBrk="0" hangingPunct="1">
              <a:lnSpc>
                <a:spcPct val="100000"/>
              </a:lnSpc>
              <a:spcBef>
                <a:spcPts val="0"/>
              </a:spcBef>
              <a:spcAft>
                <a:spcPts val="0"/>
              </a:spcAft>
              <a:buClrTx/>
              <a:buSzTx/>
              <a:buFontTx/>
              <a:buNone/>
              <a:tabLst/>
              <a:defRPr/>
            </a:pPr>
            <a:r>
              <a:rPr lang="fr-FR" sz="1200" b="1" dirty="0" smtClean="0">
                <a:solidFill>
                  <a:srgbClr val="FF0000"/>
                </a:solidFill>
                <a:latin typeface="Cambria" pitchFamily="18" charset="0"/>
              </a:rPr>
              <a:t>50 km </a:t>
            </a:r>
            <a:r>
              <a:rPr lang="fr-FR" sz="1200" dirty="0" err="1" smtClean="0">
                <a:latin typeface="Cambria" pitchFamily="18" charset="0"/>
              </a:rPr>
              <a:t>interurban</a:t>
            </a:r>
            <a:r>
              <a:rPr lang="fr-FR" sz="1200" dirty="0" smtClean="0">
                <a:latin typeface="Cambria" pitchFamily="18" charset="0"/>
              </a:rPr>
              <a:t> line Dakar – </a:t>
            </a:r>
            <a:r>
              <a:rPr lang="fr-FR" sz="1200" dirty="0" err="1" smtClean="0">
                <a:latin typeface="Cambria" pitchFamily="18" charset="0"/>
              </a:rPr>
              <a:t>Airport</a:t>
            </a:r>
            <a:r>
              <a:rPr lang="fr-FR" sz="1200" dirty="0" smtClean="0">
                <a:latin typeface="Cambria" pitchFamily="18" charset="0"/>
              </a:rPr>
              <a:t> AIBD</a:t>
            </a:r>
          </a:p>
          <a:p>
            <a:pPr marL="0" marR="0" indent="0" algn="l" defTabSz="457200" rtl="0" eaLnBrk="1" fontAlgn="auto" latinLnBrk="0" hangingPunct="1">
              <a:lnSpc>
                <a:spcPct val="100000"/>
              </a:lnSpc>
              <a:spcBef>
                <a:spcPts val="0"/>
              </a:spcBef>
              <a:spcAft>
                <a:spcPts val="0"/>
              </a:spcAft>
              <a:buClrTx/>
              <a:buSzTx/>
              <a:buFontTx/>
              <a:buNone/>
              <a:tabLst/>
              <a:defRPr/>
            </a:pPr>
            <a:endParaRPr lang="fr-FR" sz="1200" dirty="0" smtClean="0">
              <a:latin typeface="Cambria"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fr-FR" sz="1200" b="1" kern="1200" dirty="0" err="1" smtClean="0">
                <a:solidFill>
                  <a:srgbClr val="000090"/>
                </a:solidFill>
                <a:latin typeface="Cambria" pitchFamily="18" charset="0"/>
                <a:ea typeface="+mn-ea"/>
                <a:cs typeface="+mn-cs"/>
              </a:rPr>
              <a:t>Highways</a:t>
            </a:r>
            <a:endParaRPr lang="fr-FR" sz="1200" b="1" kern="1200" dirty="0" smtClean="0">
              <a:solidFill>
                <a:srgbClr val="000090"/>
              </a:solidFill>
              <a:latin typeface="Cambria" pitchFamily="18" charset="0"/>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solidFill>
                  <a:srgbClr val="FF0000"/>
                </a:solidFill>
                <a:latin typeface="Cambria" pitchFamily="18" charset="0"/>
              </a:rPr>
              <a:t>247 km </a:t>
            </a:r>
            <a:r>
              <a:rPr lang="en-GB" sz="1200" dirty="0" smtClean="0">
                <a:latin typeface="Cambria" pitchFamily="18" charset="0"/>
              </a:rPr>
              <a:t>of toll highway to connect the </a:t>
            </a:r>
            <a:r>
              <a:rPr lang="en-GB" sz="1200" dirty="0" err="1" smtClean="0">
                <a:latin typeface="Cambria" pitchFamily="18" charset="0"/>
              </a:rPr>
              <a:t>center</a:t>
            </a:r>
            <a:endParaRPr lang="en-GB" sz="1200" dirty="0" smtClean="0">
              <a:latin typeface="Cambria"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solidFill>
                  <a:srgbClr val="FF0000"/>
                </a:solidFill>
                <a:latin typeface="Cambria" pitchFamily="18" charset="0"/>
              </a:rPr>
              <a:t>200 km </a:t>
            </a:r>
            <a:r>
              <a:rPr lang="en-GB" sz="1200" dirty="0" smtClean="0">
                <a:latin typeface="Cambria" pitchFamily="18" charset="0"/>
              </a:rPr>
              <a:t>of toll highway to connect the North </a:t>
            </a:r>
          </a:p>
          <a:p>
            <a:pPr marL="0" marR="0" indent="0" algn="l" defTabSz="457200" rtl="0" eaLnBrk="1" fontAlgn="auto" latinLnBrk="0" hangingPunct="1">
              <a:lnSpc>
                <a:spcPct val="100000"/>
              </a:lnSpc>
              <a:spcBef>
                <a:spcPts val="0"/>
              </a:spcBef>
              <a:spcAft>
                <a:spcPts val="0"/>
              </a:spcAft>
              <a:buClrTx/>
              <a:buSzTx/>
              <a:buFontTx/>
              <a:buNone/>
              <a:tabLst/>
              <a:defRPr/>
            </a:pPr>
            <a:r>
              <a:rPr lang="en-GB" sz="1200" b="1" dirty="0" smtClean="0">
                <a:solidFill>
                  <a:srgbClr val="FF0000"/>
                </a:solidFill>
                <a:latin typeface="Cambria" pitchFamily="18" charset="0"/>
              </a:rPr>
              <a:t>120 km </a:t>
            </a:r>
            <a:r>
              <a:rPr lang="en-GB" sz="1200" dirty="0" smtClean="0">
                <a:latin typeface="Cambria" pitchFamily="18" charset="0"/>
              </a:rPr>
              <a:t>of toll highway to connect the east </a:t>
            </a:r>
            <a:endParaRPr lang="fr-FR" sz="1200" dirty="0" smtClean="0">
              <a:solidFill>
                <a:srgbClr val="C00000"/>
              </a:solidFill>
              <a:latin typeface="Cambria"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GB" sz="1200" dirty="0" smtClean="0">
              <a:solidFill>
                <a:schemeClr val="accent6">
                  <a:lumMod val="50000"/>
                </a:schemeClr>
              </a:solidFill>
              <a:latin typeface="Cambria"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fr-FR" sz="1200" dirty="0" smtClean="0">
              <a:latin typeface="Cambria" pitchFamily="18"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fr-FR" sz="1200" dirty="0" smtClean="0">
              <a:latin typeface="Cambria" pitchFamily="18" charset="0"/>
            </a:endParaRPr>
          </a:p>
          <a:p>
            <a:pPr eaLnBrk="1" hangingPunct="1"/>
            <a:endParaRPr lang="fr-FR" dirty="0" smtClean="0">
              <a:latin typeface="Arial" charset="0"/>
            </a:endParaRPr>
          </a:p>
        </p:txBody>
      </p:sp>
    </p:spTree>
    <p:extLst>
      <p:ext uri="{BB962C8B-B14F-4D97-AF65-F5344CB8AC3E}">
        <p14:creationId xmlns="" xmlns:p14="http://schemas.microsoft.com/office/powerpoint/2010/main" val="11656038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Rectangle 2"/>
          <p:cNvSpPr>
            <a:spLocks noGrp="1" noRot="1" noChangeAspect="1" noChangeArrowheads="1" noTextEdit="1"/>
          </p:cNvSpPr>
          <p:nvPr>
            <p:ph type="sldImg"/>
          </p:nvPr>
        </p:nvSpPr>
        <p:spPr bwMode="auto">
          <a:xfrm>
            <a:off x="1143000" y="685800"/>
            <a:ext cx="4573588" cy="3430588"/>
          </a:xfrm>
          <a:noFill/>
          <a:ln>
            <a:solidFill>
              <a:srgbClr val="000000"/>
            </a:solidFill>
            <a:miter lim="800000"/>
            <a:headEnd/>
            <a:tailEnd/>
          </a:ln>
        </p:spPr>
      </p:sp>
      <p:sp>
        <p:nvSpPr>
          <p:cNvPr id="4813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fr-FR" smtClean="0">
              <a:latin typeface="Arial" charset="0"/>
            </a:endParaRPr>
          </a:p>
        </p:txBody>
      </p:sp>
    </p:spTree>
    <p:extLst>
      <p:ext uri="{BB962C8B-B14F-4D97-AF65-F5344CB8AC3E}">
        <p14:creationId xmlns="" xmlns:p14="http://schemas.microsoft.com/office/powerpoint/2010/main" val="15701493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fontAlgn="base" hangingPunct="1">
              <a:spcBef>
                <a:spcPct val="0"/>
              </a:spcBef>
              <a:spcAft>
                <a:spcPct val="0"/>
              </a:spcAft>
            </a:pPr>
            <a:fld id="{4A013DAC-5CD8-4506-8ED4-2C0D95FB3E33}" type="slidenum">
              <a:rPr lang="fr-FR" altLang="fr-FR" smtClean="0">
                <a:latin typeface="Arial" charset="0"/>
                <a:ea typeface="MS PGothic" pitchFamily="34" charset="-128"/>
              </a:rPr>
              <a:pPr eaLnBrk="1" fontAlgn="base" hangingPunct="1">
                <a:spcBef>
                  <a:spcPct val="0"/>
                </a:spcBef>
                <a:spcAft>
                  <a:spcPct val="0"/>
                </a:spcAft>
              </a:pPr>
              <a:t>18</a:t>
            </a:fld>
            <a:endParaRPr lang="fr-FR" altLang="fr-FR" smtClean="0">
              <a:latin typeface="Arial" charset="0"/>
              <a:ea typeface="MS PGothic" pitchFamily="34" charset="-128"/>
            </a:endParaRPr>
          </a:p>
        </p:txBody>
      </p:sp>
      <p:sp>
        <p:nvSpPr>
          <p:cNvPr id="5529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2772" name="Rectangle 3"/>
          <p:cNvSpPr>
            <a:spLocks noGrp="1" noChangeArrowheads="1"/>
          </p:cNvSpPr>
          <p:nvPr>
            <p:ph type="body" idx="1"/>
          </p:nvPr>
        </p:nvSpPr>
        <p:spPr bwMode="auto">
          <a:xfrm>
            <a:off x="914400" y="4343400"/>
            <a:ext cx="5029200" cy="4114800"/>
          </a:xfrm>
        </p:spPr>
        <p:txBody>
          <a:bodyPr wrap="square" numCol="1" anchor="t" anchorCtr="0" compatLnSpc="1">
            <a:prstTxWarp prst="textNoShape">
              <a:avLst/>
            </a:prstTxWarp>
          </a:bodyPr>
          <a:lstStyle/>
          <a:p>
            <a:endParaRPr lang="en-US" dirty="0" smtClean="0">
              <a:latin typeface="Arial" pitchFamily="34" charset="0"/>
            </a:endParaRPr>
          </a:p>
        </p:txBody>
      </p:sp>
    </p:spTree>
    <p:extLst>
      <p:ext uri="{BB962C8B-B14F-4D97-AF65-F5344CB8AC3E}">
        <p14:creationId xmlns="" xmlns:p14="http://schemas.microsoft.com/office/powerpoint/2010/main" val="8868976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fontAlgn="base" hangingPunct="1">
              <a:spcBef>
                <a:spcPct val="0"/>
              </a:spcBef>
              <a:spcAft>
                <a:spcPct val="0"/>
              </a:spcAft>
            </a:pPr>
            <a:fld id="{4A013DAC-5CD8-4506-8ED4-2C0D95FB3E33}" type="slidenum">
              <a:rPr lang="fr-FR" altLang="fr-FR" smtClean="0">
                <a:latin typeface="Arial" charset="0"/>
                <a:ea typeface="MS PGothic" pitchFamily="34" charset="-128"/>
              </a:rPr>
              <a:pPr eaLnBrk="1" fontAlgn="base" hangingPunct="1">
                <a:spcBef>
                  <a:spcPct val="0"/>
                </a:spcBef>
                <a:spcAft>
                  <a:spcPct val="0"/>
                </a:spcAft>
              </a:pPr>
              <a:t>20</a:t>
            </a:fld>
            <a:endParaRPr lang="fr-FR" altLang="fr-FR" smtClean="0">
              <a:latin typeface="Arial" charset="0"/>
              <a:ea typeface="MS PGothic" pitchFamily="34" charset="-128"/>
            </a:endParaRPr>
          </a:p>
        </p:txBody>
      </p:sp>
      <p:sp>
        <p:nvSpPr>
          <p:cNvPr id="5529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32772" name="Rectangle 3"/>
          <p:cNvSpPr>
            <a:spLocks noGrp="1" noChangeArrowheads="1"/>
          </p:cNvSpPr>
          <p:nvPr>
            <p:ph type="body" idx="1"/>
          </p:nvPr>
        </p:nvSpPr>
        <p:spPr bwMode="auto">
          <a:xfrm>
            <a:off x="914400" y="4343400"/>
            <a:ext cx="5029200" cy="4114800"/>
          </a:xfrm>
        </p:spPr>
        <p:txBody>
          <a:bodyPr wrap="square" numCol="1" anchor="t" anchorCtr="0" compatLnSpc="1">
            <a:prstTxWarp prst="textNoShape">
              <a:avLst/>
            </a:prstTxWarp>
          </a:bodyPr>
          <a:lstStyle/>
          <a:p>
            <a:pPr marL="342900" lvl="0" indent="-342900">
              <a:spcBef>
                <a:spcPct val="20000"/>
              </a:spcBef>
              <a:buBlip>
                <a:blip r:embed="rId3"/>
              </a:buBlip>
            </a:pPr>
            <a:r>
              <a:rPr lang="fr-FR" sz="1200" b="1" dirty="0" smtClean="0"/>
              <a:t>Produits congelés</a:t>
            </a:r>
          </a:p>
          <a:p>
            <a:pPr marL="342900" lvl="0" indent="-342900">
              <a:spcBef>
                <a:spcPct val="20000"/>
              </a:spcBef>
              <a:buBlip>
                <a:blip r:embed="rId3"/>
              </a:buBlip>
            </a:pPr>
            <a:r>
              <a:rPr lang="fr-FR" sz="1200" b="1" dirty="0" smtClean="0"/>
              <a:t>Produits frais</a:t>
            </a:r>
          </a:p>
          <a:p>
            <a:pPr marL="342900" lvl="0" indent="-342900">
              <a:spcBef>
                <a:spcPct val="20000"/>
              </a:spcBef>
              <a:buBlip>
                <a:blip r:embed="rId3"/>
              </a:buBlip>
            </a:pPr>
            <a:r>
              <a:rPr lang="fr-FR" sz="1200" b="1" dirty="0" smtClean="0"/>
              <a:t>Mollusques et crustacés</a:t>
            </a:r>
          </a:p>
          <a:p>
            <a:pPr marL="342900" lvl="0" indent="-342900">
              <a:spcBef>
                <a:spcPct val="20000"/>
              </a:spcBef>
              <a:buBlip>
                <a:blip r:embed="rId3"/>
              </a:buBlip>
            </a:pPr>
            <a:r>
              <a:rPr lang="fr-FR" sz="1200" b="1" dirty="0" smtClean="0"/>
              <a:t>Conserves et farine de poisson</a:t>
            </a:r>
          </a:p>
          <a:p>
            <a:pPr marL="342900" lvl="0" indent="-342900">
              <a:spcBef>
                <a:spcPct val="20000"/>
              </a:spcBef>
              <a:buBlip>
                <a:blip r:embed="rId3"/>
              </a:buBlip>
            </a:pPr>
            <a:r>
              <a:rPr lang="fr-FR" sz="1200" b="1" dirty="0" smtClean="0"/>
              <a:t>Nouvelles espèces (les chinchards, les </a:t>
            </a:r>
            <a:r>
              <a:rPr lang="fr-FR" sz="1200" b="1" dirty="0" err="1" smtClean="0"/>
              <a:t>barbures</a:t>
            </a:r>
            <a:r>
              <a:rPr lang="fr-FR" sz="1200" b="1" dirty="0" smtClean="0"/>
              <a:t> (</a:t>
            </a:r>
            <a:r>
              <a:rPr lang="fr-FR" sz="1200" b="1" dirty="0" err="1" smtClean="0"/>
              <a:t>thiekeme</a:t>
            </a:r>
            <a:r>
              <a:rPr lang="fr-FR" sz="1200" b="1" dirty="0" smtClean="0"/>
              <a:t>), les ceintures, les sardinelles)</a:t>
            </a:r>
          </a:p>
          <a:p>
            <a:pPr marL="342900" lvl="0" indent="-342900">
              <a:spcBef>
                <a:spcPct val="20000"/>
              </a:spcBef>
              <a:buBlip>
                <a:blip r:embed="rId3"/>
              </a:buBlip>
            </a:pPr>
            <a:r>
              <a:rPr lang="fr-FR" sz="1200" b="1" dirty="0" smtClean="0"/>
              <a:t>Produits séchés et fumés </a:t>
            </a:r>
          </a:p>
          <a:p>
            <a:pPr marL="342900" lvl="0" indent="-342900">
              <a:spcBef>
                <a:spcPct val="20000"/>
              </a:spcBef>
              <a:buBlip>
                <a:blip r:embed="rId3"/>
              </a:buBlip>
            </a:pPr>
            <a:r>
              <a:rPr lang="fr-FR" sz="1200" b="1" dirty="0" smtClean="0"/>
              <a:t>Produits aquacoles</a:t>
            </a:r>
          </a:p>
          <a:p>
            <a:endParaRPr lang="en-US" dirty="0" smtClean="0">
              <a:latin typeface="Arial" pitchFamily="34" charset="0"/>
            </a:endParaRPr>
          </a:p>
        </p:txBody>
      </p:sp>
    </p:spTree>
    <p:extLst>
      <p:ext uri="{BB962C8B-B14F-4D97-AF65-F5344CB8AC3E}">
        <p14:creationId xmlns="" xmlns:p14="http://schemas.microsoft.com/office/powerpoint/2010/main" val="2066235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4515" name="Espace réservé des commentaires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fr-FR" dirty="0" smtClean="0"/>
          </a:p>
        </p:txBody>
      </p:sp>
      <p:sp>
        <p:nvSpPr>
          <p:cNvPr id="64516" name="Espace réservé du numéro de diapositive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C0C70A13-A740-4AEC-B45F-7CBC086683B9}" type="slidenum">
              <a:rPr lang="fr-FR" altLang="fr-FR" smtClean="0">
                <a:latin typeface="Arial" pitchFamily="34" charset="0"/>
                <a:cs typeface="Arial" pitchFamily="34" charset="0"/>
              </a:rPr>
              <a:pPr eaLnBrk="1" hangingPunct="1">
                <a:spcBef>
                  <a:spcPct val="0"/>
                </a:spcBef>
              </a:pPr>
              <a:t>56</a:t>
            </a:fld>
            <a:endParaRPr lang="fr-FR" altLang="fr-FR" smtClean="0">
              <a:latin typeface="Arial" pitchFamily="34" charset="0"/>
              <a:cs typeface="Arial" pitchFamily="34" charset="0"/>
            </a:endParaRPr>
          </a:p>
        </p:txBody>
      </p:sp>
    </p:spTree>
    <p:extLst>
      <p:ext uri="{BB962C8B-B14F-4D97-AF65-F5344CB8AC3E}">
        <p14:creationId xmlns:p14="http://schemas.microsoft.com/office/powerpoint/2010/main" xmlns="" val="942348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A cela s’ajoute une économie résiliente et compétitive à l’échelle sous régionale avec</a:t>
            </a:r>
            <a:r>
              <a:rPr lang="fr-FR" baseline="0" dirty="0" smtClean="0"/>
              <a:t> les classements que voici :</a:t>
            </a:r>
          </a:p>
          <a:p>
            <a:r>
              <a:rPr lang="fr-FR" baseline="0" dirty="0" smtClean="0"/>
              <a:t>  - 2 PIB de l’</a:t>
            </a:r>
            <a:r>
              <a:rPr lang="fr-FR" baseline="0" dirty="0" err="1" smtClean="0"/>
              <a:t>espcae</a:t>
            </a:r>
            <a:r>
              <a:rPr lang="fr-FR" baseline="0" dirty="0" smtClean="0"/>
              <a:t> UEMOA</a:t>
            </a:r>
          </a:p>
          <a:p>
            <a:r>
              <a:rPr lang="fr-FR" baseline="0" dirty="0" smtClean="0"/>
              <a:t>  - 4 Taux de Croissance</a:t>
            </a:r>
          </a:p>
          <a:p>
            <a:r>
              <a:rPr lang="fr-FR" baseline="0" dirty="0" smtClean="0"/>
              <a:t>  - Le plus taux d’inflation ( 1,4ù)</a:t>
            </a:r>
          </a:p>
          <a:p>
            <a:r>
              <a:rPr lang="fr-FR" baseline="0" dirty="0" smtClean="0"/>
              <a:t>  - 3 récepteur d’IDE de l’espace UEMOA</a:t>
            </a:r>
            <a:endParaRPr lang="fr-FR" dirty="0"/>
          </a:p>
        </p:txBody>
      </p:sp>
    </p:spTree>
    <p:extLst>
      <p:ext uri="{BB962C8B-B14F-4D97-AF65-F5344CB8AC3E}">
        <p14:creationId xmlns:p14="http://schemas.microsoft.com/office/powerpoint/2010/main" xmlns="" val="971559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53251" name="Espace réservé des commentaires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smtClean="0">
                <a:latin typeface="Arial" panose="020B0604020202020204" pitchFamily="34" charset="0"/>
              </a:rPr>
              <a:t>Stability is a prerequiste for any Country long-term economic development and political progress.</a:t>
            </a:r>
          </a:p>
          <a:p>
            <a:endParaRPr lang="fr-FR" smtClean="0"/>
          </a:p>
        </p:txBody>
      </p:sp>
      <p:sp>
        <p:nvSpPr>
          <p:cNvPr id="4" name="Espace réservé du numéro de diapositive 3"/>
          <p:cNvSpPr>
            <a:spLocks noGrp="1"/>
          </p:cNvSpPr>
          <p:nvPr>
            <p:ph type="sldNum" sz="quarter" idx="5"/>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fld id="{7F962CE1-B0A3-42C5-8282-10429E648CFF}" type="slidenum">
              <a:rPr lang="fr-FR">
                <a:latin typeface="Calibri" panose="020F0502020204030204" pitchFamily="34" charset="0"/>
              </a:rPr>
              <a:pPr eaLnBrk="1" hangingPunct="1"/>
              <a:t>7</a:t>
            </a:fld>
            <a:endParaRPr lang="fr-FR">
              <a:latin typeface="Calibri" panose="020F0502020204030204" pitchFamily="34" charset="0"/>
            </a:endParaRPr>
          </a:p>
        </p:txBody>
      </p:sp>
    </p:spTree>
    <p:extLst>
      <p:ext uri="{BB962C8B-B14F-4D97-AF65-F5344CB8AC3E}">
        <p14:creationId xmlns="" xmlns:p14="http://schemas.microsoft.com/office/powerpoint/2010/main" val="3463091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200" kern="1200" dirty="0" smtClean="0">
                <a:solidFill>
                  <a:schemeClr val="tx1"/>
                </a:solidFill>
                <a:latin typeface="+mn-lt"/>
                <a:ea typeface="+mn-ea"/>
                <a:cs typeface="+mn-cs"/>
              </a:rPr>
              <a:t>Le Sénégal dispose d’un important potentiel touristique grâce à l’existence de sites d’une beauté exceptionnelle et sa position qui en fait l’un des pays les plus ensoleillés du globe</a:t>
            </a:r>
            <a:r>
              <a:rPr lang="fr-FR" sz="1200" kern="1200" baseline="0" dirty="0" smtClean="0">
                <a:solidFill>
                  <a:schemeClr val="tx1"/>
                </a:solidFill>
                <a:latin typeface="+mn-lt"/>
                <a:ea typeface="+mn-ea"/>
                <a:cs typeface="+mn-cs"/>
              </a:rPr>
              <a:t> (</a:t>
            </a:r>
            <a:r>
              <a:rPr lang="fr-FR" sz="1200" dirty="0" smtClean="0">
                <a:solidFill>
                  <a:prstClr val="black"/>
                </a:solidFill>
                <a:latin typeface="+mn-lt"/>
                <a:cs typeface="Arial" charset="0"/>
              </a:rPr>
              <a:t>3 000 heures d’ensoleillement/ an)  </a:t>
            </a:r>
          </a:p>
          <a:p>
            <a:pPr marL="342900" indent="-342900" eaLnBrk="0" fontAlgn="auto" hangingPunct="0">
              <a:lnSpc>
                <a:spcPct val="150000"/>
              </a:lnSpc>
              <a:spcBef>
                <a:spcPct val="20000"/>
              </a:spcBef>
              <a:spcAft>
                <a:spcPts val="0"/>
              </a:spcAft>
              <a:buFont typeface="Arial" pitchFamily="34" charset="0"/>
              <a:buChar char="•"/>
              <a:defRPr/>
            </a:pPr>
            <a:r>
              <a:rPr lang="fr-FR" sz="1200" dirty="0" smtClean="0">
                <a:solidFill>
                  <a:prstClr val="black"/>
                </a:solidFill>
                <a:latin typeface="+mn-lt"/>
                <a:cs typeface="Arial" charset="0"/>
              </a:rPr>
              <a:t>Température modérée </a:t>
            </a:r>
            <a:r>
              <a:rPr lang="fr-FR" sz="1200" b="1" dirty="0" smtClean="0">
                <a:solidFill>
                  <a:schemeClr val="tx2">
                    <a:lumMod val="75000"/>
                  </a:schemeClr>
                </a:solidFill>
                <a:latin typeface="+mn-lt"/>
                <a:cs typeface="Arial" charset="0"/>
              </a:rPr>
              <a:t>(25°C)</a:t>
            </a:r>
          </a:p>
          <a:p>
            <a:pPr marL="342900" indent="-342900" eaLnBrk="0" fontAlgn="auto" hangingPunct="0">
              <a:lnSpc>
                <a:spcPct val="150000"/>
              </a:lnSpc>
              <a:spcBef>
                <a:spcPct val="20000"/>
              </a:spcBef>
              <a:spcAft>
                <a:spcPts val="0"/>
              </a:spcAft>
              <a:buClr>
                <a:prstClr val="black"/>
              </a:buClr>
              <a:buFont typeface="Arial" pitchFamily="34" charset="0"/>
              <a:buChar char="•"/>
              <a:defRPr/>
            </a:pPr>
            <a:r>
              <a:rPr lang="fr-FR" sz="1200" b="1" dirty="0" smtClean="0">
                <a:solidFill>
                  <a:schemeClr val="tx2">
                    <a:lumMod val="75000"/>
                  </a:schemeClr>
                </a:solidFill>
                <a:latin typeface="+mn-lt"/>
                <a:cs typeface="Arial" charset="0"/>
              </a:rPr>
              <a:t>700 km </a:t>
            </a:r>
            <a:r>
              <a:rPr lang="fr-FR" sz="1200" dirty="0" smtClean="0">
                <a:solidFill>
                  <a:prstClr val="black"/>
                </a:solidFill>
                <a:latin typeface="+mn-lt"/>
                <a:cs typeface="Arial" charset="0"/>
              </a:rPr>
              <a:t>de Côtes</a:t>
            </a:r>
          </a:p>
          <a:p>
            <a:pPr marL="342900" indent="-342900" eaLnBrk="0" fontAlgn="auto" hangingPunct="0">
              <a:lnSpc>
                <a:spcPct val="150000"/>
              </a:lnSpc>
              <a:spcBef>
                <a:spcPct val="20000"/>
              </a:spcBef>
              <a:spcAft>
                <a:spcPts val="0"/>
              </a:spcAft>
              <a:buFont typeface="Arial" pitchFamily="34" charset="0"/>
              <a:buChar char="•"/>
              <a:defRPr/>
            </a:pPr>
            <a:r>
              <a:rPr lang="fr-FR" sz="1200" b="1" dirty="0" smtClean="0">
                <a:solidFill>
                  <a:schemeClr val="tx2">
                    <a:lumMod val="75000"/>
                  </a:schemeClr>
                </a:solidFill>
                <a:latin typeface="+mn-lt"/>
                <a:cs typeface="Arial" charset="0"/>
              </a:rPr>
              <a:t>500 km </a:t>
            </a:r>
            <a:r>
              <a:rPr lang="fr-FR" sz="1200" dirty="0" smtClean="0">
                <a:solidFill>
                  <a:prstClr val="black"/>
                </a:solidFill>
                <a:latin typeface="+mn-lt"/>
                <a:cs typeface="Arial" charset="0"/>
              </a:rPr>
              <a:t>de plages</a:t>
            </a:r>
          </a:p>
          <a:p>
            <a:pPr marL="342900" indent="-342900" eaLnBrk="0" fontAlgn="auto" hangingPunct="0">
              <a:lnSpc>
                <a:spcPct val="150000"/>
              </a:lnSpc>
              <a:spcBef>
                <a:spcPct val="20000"/>
              </a:spcBef>
              <a:spcAft>
                <a:spcPts val="0"/>
              </a:spcAft>
              <a:buFont typeface="Arial" pitchFamily="34" charset="0"/>
              <a:buChar char="•"/>
              <a:defRPr/>
            </a:pPr>
            <a:r>
              <a:rPr lang="fr-FR" sz="1200" dirty="0" smtClean="0">
                <a:solidFill>
                  <a:prstClr val="black"/>
                </a:solidFill>
                <a:latin typeface="+mn-lt"/>
                <a:cs typeface="Arial" charset="0"/>
              </a:rPr>
              <a:t>Position géographique stratégique</a:t>
            </a:r>
          </a:p>
          <a:p>
            <a:pPr marL="342900" indent="-342900" eaLnBrk="0" fontAlgn="auto" hangingPunct="0">
              <a:lnSpc>
                <a:spcPct val="150000"/>
              </a:lnSpc>
              <a:spcBef>
                <a:spcPct val="20000"/>
              </a:spcBef>
              <a:spcAft>
                <a:spcPts val="0"/>
              </a:spcAft>
              <a:buClr>
                <a:prstClr val="black"/>
              </a:buClr>
              <a:buFont typeface="Arial" pitchFamily="34" charset="0"/>
              <a:buChar char="•"/>
              <a:defRPr/>
            </a:pPr>
            <a:r>
              <a:rPr lang="fr-FR" sz="1200" b="1" dirty="0" smtClean="0">
                <a:solidFill>
                  <a:schemeClr val="tx2">
                    <a:lumMod val="75000"/>
                  </a:schemeClr>
                </a:solidFill>
                <a:latin typeface="+mn-lt"/>
                <a:cs typeface="Arial" charset="0"/>
              </a:rPr>
              <a:t>5 Aéroports internationaux</a:t>
            </a:r>
          </a:p>
          <a:p>
            <a:pPr marL="342900" indent="-342900" eaLnBrk="0" fontAlgn="auto" hangingPunct="0">
              <a:lnSpc>
                <a:spcPct val="150000"/>
              </a:lnSpc>
              <a:spcBef>
                <a:spcPct val="20000"/>
              </a:spcBef>
              <a:spcAft>
                <a:spcPts val="0"/>
              </a:spcAft>
              <a:buFont typeface="Arial" pitchFamily="34" charset="0"/>
              <a:buChar char="•"/>
              <a:defRPr/>
            </a:pPr>
            <a:r>
              <a:rPr lang="fr-FR" sz="1200" dirty="0" smtClean="0">
                <a:solidFill>
                  <a:prstClr val="black"/>
                </a:solidFill>
                <a:latin typeface="+mn-lt"/>
                <a:cs typeface="Arial" charset="0"/>
              </a:rPr>
              <a:t>Environ </a:t>
            </a:r>
            <a:r>
              <a:rPr lang="fr-FR" sz="1200" b="1" dirty="0" smtClean="0">
                <a:solidFill>
                  <a:schemeClr val="tx2">
                    <a:lumMod val="75000"/>
                  </a:schemeClr>
                </a:solidFill>
                <a:latin typeface="+mn-lt"/>
                <a:cs typeface="Arial" charset="0"/>
              </a:rPr>
              <a:t>20 compagnies aériennes </a:t>
            </a:r>
          </a:p>
          <a:p>
            <a:pPr marL="342900" indent="-342900" eaLnBrk="0" fontAlgn="auto" hangingPunct="0">
              <a:lnSpc>
                <a:spcPct val="150000"/>
              </a:lnSpc>
              <a:spcBef>
                <a:spcPct val="20000"/>
              </a:spcBef>
              <a:spcAft>
                <a:spcPts val="0"/>
              </a:spcAft>
              <a:buClr>
                <a:prstClr val="black"/>
              </a:buClr>
              <a:buFont typeface="Arial" pitchFamily="34" charset="0"/>
              <a:buChar char="•"/>
              <a:defRPr/>
            </a:pPr>
            <a:r>
              <a:rPr lang="fr-FR" sz="1200" b="1" dirty="0" smtClean="0">
                <a:solidFill>
                  <a:schemeClr val="tx2">
                    <a:lumMod val="75000"/>
                  </a:schemeClr>
                </a:solidFill>
                <a:latin typeface="+mn-lt"/>
                <a:cs typeface="Arial" charset="0"/>
              </a:rPr>
              <a:t>A 5 heures </a:t>
            </a:r>
            <a:r>
              <a:rPr lang="fr-FR" sz="1200" dirty="0" smtClean="0">
                <a:solidFill>
                  <a:prstClr val="black"/>
                </a:solidFill>
                <a:latin typeface="+mn-lt"/>
                <a:cs typeface="Arial" charset="0"/>
              </a:rPr>
              <a:t>des pays d’Europe</a:t>
            </a:r>
          </a:p>
          <a:p>
            <a:pPr marL="342900" indent="-342900" eaLnBrk="0" fontAlgn="auto" hangingPunct="0">
              <a:lnSpc>
                <a:spcPct val="150000"/>
              </a:lnSpc>
              <a:spcBef>
                <a:spcPct val="20000"/>
              </a:spcBef>
              <a:spcAft>
                <a:spcPts val="0"/>
              </a:spcAft>
              <a:buClr>
                <a:prstClr val="black"/>
              </a:buClr>
              <a:buFont typeface="Arial" pitchFamily="34" charset="0"/>
              <a:buChar char="•"/>
              <a:defRPr/>
            </a:pPr>
            <a:r>
              <a:rPr lang="fr-FR" sz="1200" b="1" dirty="0" smtClean="0">
                <a:solidFill>
                  <a:schemeClr val="tx2">
                    <a:lumMod val="75000"/>
                  </a:schemeClr>
                </a:solidFill>
                <a:latin typeface="+mn-lt"/>
                <a:cs typeface="Arial" charset="0"/>
              </a:rPr>
              <a:t>A 7 heures </a:t>
            </a:r>
            <a:r>
              <a:rPr lang="fr-FR" sz="1200" dirty="0" smtClean="0">
                <a:solidFill>
                  <a:prstClr val="black"/>
                </a:solidFill>
                <a:latin typeface="+mn-lt"/>
                <a:cs typeface="Arial" charset="0"/>
              </a:rPr>
              <a:t>des Etats Unis</a:t>
            </a:r>
          </a:p>
          <a:p>
            <a:pPr marL="0" marR="0" indent="0" algn="l" defTabSz="457200" rtl="0" eaLnBrk="1" fontAlgn="auto" latinLnBrk="0" hangingPunct="1">
              <a:lnSpc>
                <a:spcPct val="100000"/>
              </a:lnSpc>
              <a:spcBef>
                <a:spcPts val="0"/>
              </a:spcBef>
              <a:spcAft>
                <a:spcPts val="0"/>
              </a:spcAft>
              <a:buClrTx/>
              <a:buSzTx/>
              <a:buFontTx/>
              <a:buNone/>
              <a:tabLst/>
              <a:defRPr/>
            </a:pPr>
            <a:endParaRPr lang="fr-FR" sz="1200" kern="1200" dirty="0" smtClean="0">
              <a:solidFill>
                <a:schemeClr val="tx1"/>
              </a:solidFill>
              <a:latin typeface="+mn-lt"/>
              <a:ea typeface="+mn-ea"/>
              <a:cs typeface="+mn-cs"/>
            </a:endParaRPr>
          </a:p>
        </p:txBody>
      </p:sp>
      <p:sp>
        <p:nvSpPr>
          <p:cNvPr id="74756"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D0E23357-3601-4820-9E1E-4BC5243C0113}" type="slidenum">
              <a:rPr lang="fr-FR" smtClean="0"/>
              <a:pPr fontAlgn="base">
                <a:spcBef>
                  <a:spcPct val="0"/>
                </a:spcBef>
                <a:spcAft>
                  <a:spcPct val="0"/>
                </a:spcAft>
                <a:defRPr/>
              </a:pPr>
              <a:t>8</a:t>
            </a:fld>
            <a:endParaRPr lang="fr-FR" smtClean="0"/>
          </a:p>
        </p:txBody>
      </p:sp>
    </p:spTree>
    <p:extLst>
      <p:ext uri="{BB962C8B-B14F-4D97-AF65-F5344CB8AC3E}">
        <p14:creationId xmlns="" xmlns:p14="http://schemas.microsoft.com/office/powerpoint/2010/main" val="8104680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7108" name="Rectangle 3"/>
          <p:cNvSpPr>
            <a:spLocks noGrp="1" noChangeArrowheads="1"/>
          </p:cNvSpPr>
          <p:nvPr>
            <p:ph type="body" idx="1"/>
          </p:nvPr>
        </p:nvSpPr>
        <p:spPr bwMode="auto">
          <a:xfrm>
            <a:off x="914508" y="4344135"/>
            <a:ext cx="5028986" cy="4114800"/>
          </a:xfrm>
          <a:noFill/>
        </p:spPr>
        <p:txBody>
          <a:bodyPr wrap="square" numCol="1" anchor="t" anchorCtr="0" compatLnSpc="1">
            <a:prstTxWarp prst="textNoShape">
              <a:avLst/>
            </a:prstTxWarp>
          </a:bodyPr>
          <a:lstStyle/>
          <a:p>
            <a:pPr eaLnBrk="1" hangingPunct="1"/>
            <a:endParaRPr lang="pt-BR"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fr-FR" smtClean="0"/>
          </a:p>
        </p:txBody>
      </p:sp>
      <p:sp>
        <p:nvSpPr>
          <p:cNvPr id="74756"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D0E23357-3601-4820-9E1E-4BC5243C0113}" type="slidenum">
              <a:rPr lang="fr-FR" smtClean="0"/>
              <a:pPr fontAlgn="base">
                <a:spcBef>
                  <a:spcPct val="0"/>
                </a:spcBef>
                <a:spcAft>
                  <a:spcPct val="0"/>
                </a:spcAft>
                <a:defRPr/>
              </a:pPr>
              <a:t>11</a:t>
            </a:fld>
            <a:endParaRPr lang="fr-FR" smtClean="0"/>
          </a:p>
        </p:txBody>
      </p:sp>
    </p:spTree>
    <p:extLst>
      <p:ext uri="{BB962C8B-B14F-4D97-AF65-F5344CB8AC3E}">
        <p14:creationId xmlns="" xmlns:p14="http://schemas.microsoft.com/office/powerpoint/2010/main" val="23412905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24681">
              <a:defRPr sz="1100">
                <a:solidFill>
                  <a:schemeClr val="tx1"/>
                </a:solidFill>
                <a:latin typeface="Calibri" charset="0"/>
                <a:ea typeface="ＭＳ Ｐゴシック" charset="0"/>
              </a:defRPr>
            </a:lvl1pPr>
            <a:lvl2pPr marL="741503" indent="-284292" defTabSz="924681">
              <a:defRPr sz="1100">
                <a:solidFill>
                  <a:schemeClr val="tx1"/>
                </a:solidFill>
                <a:latin typeface="Calibri" charset="0"/>
                <a:ea typeface="ＭＳ Ｐゴシック" charset="0"/>
              </a:defRPr>
            </a:lvl2pPr>
            <a:lvl3pPr marL="1141564" indent="-227141" defTabSz="924681">
              <a:defRPr sz="1100">
                <a:solidFill>
                  <a:schemeClr val="tx1"/>
                </a:solidFill>
                <a:latin typeface="Calibri" charset="0"/>
                <a:ea typeface="ＭＳ Ｐゴシック" charset="0"/>
              </a:defRPr>
            </a:lvl3pPr>
            <a:lvl4pPr marL="1598775" indent="-227141" defTabSz="924681">
              <a:defRPr sz="1100">
                <a:solidFill>
                  <a:schemeClr val="tx1"/>
                </a:solidFill>
                <a:latin typeface="Calibri" charset="0"/>
                <a:ea typeface="ＭＳ Ｐゴシック" charset="0"/>
              </a:defRPr>
            </a:lvl4pPr>
            <a:lvl5pPr marL="2055986" indent="-227141" defTabSz="924681">
              <a:defRPr sz="1100">
                <a:solidFill>
                  <a:schemeClr val="tx1"/>
                </a:solidFill>
                <a:latin typeface="Calibri" charset="0"/>
                <a:ea typeface="ＭＳ Ｐゴシック" charset="0"/>
              </a:defRPr>
            </a:lvl5pPr>
            <a:lvl6pPr marL="2478028" indent="-227141" defTabSz="924681" eaLnBrk="0" fontAlgn="base" hangingPunct="0">
              <a:spcBef>
                <a:spcPct val="30000"/>
              </a:spcBef>
              <a:spcAft>
                <a:spcPct val="0"/>
              </a:spcAft>
              <a:defRPr sz="1100">
                <a:solidFill>
                  <a:schemeClr val="tx1"/>
                </a:solidFill>
                <a:latin typeface="Calibri" charset="0"/>
                <a:ea typeface="ＭＳ Ｐゴシック" charset="0"/>
              </a:defRPr>
            </a:lvl6pPr>
            <a:lvl7pPr marL="2900069" indent="-227141" defTabSz="924681" eaLnBrk="0" fontAlgn="base" hangingPunct="0">
              <a:spcBef>
                <a:spcPct val="30000"/>
              </a:spcBef>
              <a:spcAft>
                <a:spcPct val="0"/>
              </a:spcAft>
              <a:defRPr sz="1100">
                <a:solidFill>
                  <a:schemeClr val="tx1"/>
                </a:solidFill>
                <a:latin typeface="Calibri" charset="0"/>
                <a:ea typeface="ＭＳ Ｐゴシック" charset="0"/>
              </a:defRPr>
            </a:lvl7pPr>
            <a:lvl8pPr marL="3322110" indent="-227141" defTabSz="924681" eaLnBrk="0" fontAlgn="base" hangingPunct="0">
              <a:spcBef>
                <a:spcPct val="30000"/>
              </a:spcBef>
              <a:spcAft>
                <a:spcPct val="0"/>
              </a:spcAft>
              <a:defRPr sz="1100">
                <a:solidFill>
                  <a:schemeClr val="tx1"/>
                </a:solidFill>
                <a:latin typeface="Calibri" charset="0"/>
                <a:ea typeface="ＭＳ Ｐゴシック" charset="0"/>
              </a:defRPr>
            </a:lvl8pPr>
            <a:lvl9pPr marL="3744152" indent="-227141" defTabSz="924681" eaLnBrk="0" fontAlgn="base" hangingPunct="0">
              <a:spcBef>
                <a:spcPct val="30000"/>
              </a:spcBef>
              <a:spcAft>
                <a:spcPct val="0"/>
              </a:spcAft>
              <a:defRPr sz="1100">
                <a:solidFill>
                  <a:schemeClr val="tx1"/>
                </a:solidFill>
                <a:latin typeface="Calibri" charset="0"/>
                <a:ea typeface="ＭＳ Ｐゴシック" charset="0"/>
              </a:defRPr>
            </a:lvl9pPr>
          </a:lstStyle>
          <a:p>
            <a:pPr eaLnBrk="0" hangingPunct="0"/>
            <a:fld id="{EAE52E1F-6613-0349-A39D-9E8F2EC0FAC1}" type="slidenum">
              <a:rPr lang="fr-FR" sz="1200">
                <a:solidFill>
                  <a:srgbClr val="000000"/>
                </a:solidFill>
                <a:latin typeface="Arial" charset="0"/>
              </a:rPr>
              <a:pPr eaLnBrk="0" hangingPunct="0"/>
              <a:t>13</a:t>
            </a:fld>
            <a:endParaRPr lang="fr-FR" sz="1200">
              <a:solidFill>
                <a:srgbClr val="000000"/>
              </a:solidFill>
              <a:latin typeface="Arial" charset="0"/>
            </a:endParaRPr>
          </a:p>
        </p:txBody>
      </p:sp>
      <p:sp>
        <p:nvSpPr>
          <p:cNvPr id="12291" name="Rectangle 2"/>
          <p:cNvSpPr>
            <a:spLocks noGrp="1" noRot="1" noChangeAspect="1" noChangeArrowheads="1" noTextEdit="1"/>
          </p:cNvSpPr>
          <p:nvPr>
            <p:ph type="sldImg"/>
          </p:nvPr>
        </p:nvSpPr>
        <p:spPr bwMode="auto">
          <a:xfrm>
            <a:off x="1143000" y="687388"/>
            <a:ext cx="4573588"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2292" name="Rectangle 3"/>
          <p:cNvSpPr>
            <a:spLocks noGrp="1" noChangeArrowheads="1"/>
          </p:cNvSpPr>
          <p:nvPr>
            <p:ph type="body" idx="1"/>
          </p:nvPr>
        </p:nvSpPr>
        <p:spPr bwMode="auto">
          <a:xfrm>
            <a:off x="912458" y="4340103"/>
            <a:ext cx="5033085" cy="411600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24681">
              <a:defRPr sz="1100">
                <a:solidFill>
                  <a:schemeClr val="tx1"/>
                </a:solidFill>
                <a:latin typeface="Calibri" charset="0"/>
                <a:ea typeface="ＭＳ Ｐゴシック" charset="0"/>
              </a:defRPr>
            </a:lvl1pPr>
            <a:lvl2pPr marL="741503" indent="-284292" defTabSz="924681">
              <a:defRPr sz="1100">
                <a:solidFill>
                  <a:schemeClr val="tx1"/>
                </a:solidFill>
                <a:latin typeface="Calibri" charset="0"/>
                <a:ea typeface="ＭＳ Ｐゴシック" charset="0"/>
              </a:defRPr>
            </a:lvl2pPr>
            <a:lvl3pPr marL="1141564" indent="-227141" defTabSz="924681">
              <a:defRPr sz="1100">
                <a:solidFill>
                  <a:schemeClr val="tx1"/>
                </a:solidFill>
                <a:latin typeface="Calibri" charset="0"/>
                <a:ea typeface="ＭＳ Ｐゴシック" charset="0"/>
              </a:defRPr>
            </a:lvl3pPr>
            <a:lvl4pPr marL="1598775" indent="-227141" defTabSz="924681">
              <a:defRPr sz="1100">
                <a:solidFill>
                  <a:schemeClr val="tx1"/>
                </a:solidFill>
                <a:latin typeface="Calibri" charset="0"/>
                <a:ea typeface="ＭＳ Ｐゴシック" charset="0"/>
              </a:defRPr>
            </a:lvl4pPr>
            <a:lvl5pPr marL="2055986" indent="-227141" defTabSz="924681">
              <a:defRPr sz="1100">
                <a:solidFill>
                  <a:schemeClr val="tx1"/>
                </a:solidFill>
                <a:latin typeface="Calibri" charset="0"/>
                <a:ea typeface="ＭＳ Ｐゴシック" charset="0"/>
              </a:defRPr>
            </a:lvl5pPr>
            <a:lvl6pPr marL="2478028" indent="-227141" defTabSz="924681" eaLnBrk="0" fontAlgn="base" hangingPunct="0">
              <a:spcBef>
                <a:spcPct val="30000"/>
              </a:spcBef>
              <a:spcAft>
                <a:spcPct val="0"/>
              </a:spcAft>
              <a:defRPr sz="1100">
                <a:solidFill>
                  <a:schemeClr val="tx1"/>
                </a:solidFill>
                <a:latin typeface="Calibri" charset="0"/>
                <a:ea typeface="ＭＳ Ｐゴシック" charset="0"/>
              </a:defRPr>
            </a:lvl6pPr>
            <a:lvl7pPr marL="2900069" indent="-227141" defTabSz="924681" eaLnBrk="0" fontAlgn="base" hangingPunct="0">
              <a:spcBef>
                <a:spcPct val="30000"/>
              </a:spcBef>
              <a:spcAft>
                <a:spcPct val="0"/>
              </a:spcAft>
              <a:defRPr sz="1100">
                <a:solidFill>
                  <a:schemeClr val="tx1"/>
                </a:solidFill>
                <a:latin typeface="Calibri" charset="0"/>
                <a:ea typeface="ＭＳ Ｐゴシック" charset="0"/>
              </a:defRPr>
            </a:lvl7pPr>
            <a:lvl8pPr marL="3322110" indent="-227141" defTabSz="924681" eaLnBrk="0" fontAlgn="base" hangingPunct="0">
              <a:spcBef>
                <a:spcPct val="30000"/>
              </a:spcBef>
              <a:spcAft>
                <a:spcPct val="0"/>
              </a:spcAft>
              <a:defRPr sz="1100">
                <a:solidFill>
                  <a:schemeClr val="tx1"/>
                </a:solidFill>
                <a:latin typeface="Calibri" charset="0"/>
                <a:ea typeface="ＭＳ Ｐゴシック" charset="0"/>
              </a:defRPr>
            </a:lvl8pPr>
            <a:lvl9pPr marL="3744152" indent="-227141" defTabSz="924681" eaLnBrk="0" fontAlgn="base" hangingPunct="0">
              <a:spcBef>
                <a:spcPct val="30000"/>
              </a:spcBef>
              <a:spcAft>
                <a:spcPct val="0"/>
              </a:spcAft>
              <a:defRPr sz="1100">
                <a:solidFill>
                  <a:schemeClr val="tx1"/>
                </a:solidFill>
                <a:latin typeface="Calibri" charset="0"/>
                <a:ea typeface="ＭＳ Ｐゴシック" charset="0"/>
              </a:defRPr>
            </a:lvl9pPr>
          </a:lstStyle>
          <a:p>
            <a:pPr eaLnBrk="0" hangingPunct="0"/>
            <a:fld id="{EAE52E1F-6613-0349-A39D-9E8F2EC0FAC1}" type="slidenum">
              <a:rPr lang="fr-FR" sz="1200">
                <a:solidFill>
                  <a:srgbClr val="000000"/>
                </a:solidFill>
                <a:latin typeface="Arial" charset="0"/>
              </a:rPr>
              <a:pPr eaLnBrk="0" hangingPunct="0"/>
              <a:t>14</a:t>
            </a:fld>
            <a:endParaRPr lang="fr-FR" sz="1200">
              <a:solidFill>
                <a:srgbClr val="000000"/>
              </a:solidFill>
              <a:latin typeface="Arial" charset="0"/>
            </a:endParaRPr>
          </a:p>
        </p:txBody>
      </p:sp>
      <p:sp>
        <p:nvSpPr>
          <p:cNvPr id="12291" name="Rectangle 2"/>
          <p:cNvSpPr>
            <a:spLocks noGrp="1" noRot="1" noChangeAspect="1" noChangeArrowheads="1" noTextEdit="1"/>
          </p:cNvSpPr>
          <p:nvPr>
            <p:ph type="sldImg"/>
          </p:nvPr>
        </p:nvSpPr>
        <p:spPr bwMode="auto">
          <a:xfrm>
            <a:off x="1143000" y="687388"/>
            <a:ext cx="4573588"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2292" name="Rectangle 3"/>
          <p:cNvSpPr>
            <a:spLocks noGrp="1" noChangeArrowheads="1"/>
          </p:cNvSpPr>
          <p:nvPr>
            <p:ph type="body" idx="1"/>
          </p:nvPr>
        </p:nvSpPr>
        <p:spPr bwMode="auto">
          <a:xfrm>
            <a:off x="912458" y="4340103"/>
            <a:ext cx="5033085" cy="411600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pt-BR">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63613" eaLnBrk="0" hangingPunct="0">
              <a:spcBef>
                <a:spcPct val="30000"/>
              </a:spcBef>
              <a:defRPr sz="1200">
                <a:solidFill>
                  <a:schemeClr val="tx1"/>
                </a:solidFill>
                <a:latin typeface="Calibri" pitchFamily="34" charset="0"/>
              </a:defRPr>
            </a:lvl1pPr>
            <a:lvl2pPr marL="742950" indent="-285750" defTabSz="963613" eaLnBrk="0" hangingPunct="0">
              <a:spcBef>
                <a:spcPct val="30000"/>
              </a:spcBef>
              <a:defRPr sz="1200">
                <a:solidFill>
                  <a:schemeClr val="tx1"/>
                </a:solidFill>
                <a:latin typeface="Calibri" pitchFamily="34" charset="0"/>
              </a:defRPr>
            </a:lvl2pPr>
            <a:lvl3pPr marL="1143000" indent="-228600" defTabSz="963613" eaLnBrk="0" hangingPunct="0">
              <a:spcBef>
                <a:spcPct val="30000"/>
              </a:spcBef>
              <a:defRPr sz="1200">
                <a:solidFill>
                  <a:schemeClr val="tx1"/>
                </a:solidFill>
                <a:latin typeface="Calibri" pitchFamily="34" charset="0"/>
              </a:defRPr>
            </a:lvl3pPr>
            <a:lvl4pPr marL="1600200" indent="-228600" defTabSz="963613" eaLnBrk="0" hangingPunct="0">
              <a:spcBef>
                <a:spcPct val="30000"/>
              </a:spcBef>
              <a:defRPr sz="1200">
                <a:solidFill>
                  <a:schemeClr val="tx1"/>
                </a:solidFill>
                <a:latin typeface="Calibri" pitchFamily="34" charset="0"/>
              </a:defRPr>
            </a:lvl4pPr>
            <a:lvl5pPr marL="2057400" indent="-228600" defTabSz="963613" eaLnBrk="0" hangingPunct="0">
              <a:spcBef>
                <a:spcPct val="30000"/>
              </a:spcBef>
              <a:defRPr sz="1200">
                <a:solidFill>
                  <a:schemeClr val="tx1"/>
                </a:solidFill>
                <a:latin typeface="Calibri" pitchFamily="34" charset="0"/>
              </a:defRPr>
            </a:lvl5pPr>
            <a:lvl6pPr marL="2514600" indent="-228600" defTabSz="963613" eaLnBrk="0" fontAlgn="base" hangingPunct="0">
              <a:spcBef>
                <a:spcPct val="30000"/>
              </a:spcBef>
              <a:spcAft>
                <a:spcPct val="0"/>
              </a:spcAft>
              <a:defRPr sz="1200">
                <a:solidFill>
                  <a:schemeClr val="tx1"/>
                </a:solidFill>
                <a:latin typeface="Calibri" pitchFamily="34" charset="0"/>
              </a:defRPr>
            </a:lvl6pPr>
            <a:lvl7pPr marL="2971800" indent="-228600" defTabSz="963613" eaLnBrk="0" fontAlgn="base" hangingPunct="0">
              <a:spcBef>
                <a:spcPct val="30000"/>
              </a:spcBef>
              <a:spcAft>
                <a:spcPct val="0"/>
              </a:spcAft>
              <a:defRPr sz="1200">
                <a:solidFill>
                  <a:schemeClr val="tx1"/>
                </a:solidFill>
                <a:latin typeface="Calibri" pitchFamily="34" charset="0"/>
              </a:defRPr>
            </a:lvl7pPr>
            <a:lvl8pPr marL="3429000" indent="-228600" defTabSz="963613" eaLnBrk="0" fontAlgn="base" hangingPunct="0">
              <a:spcBef>
                <a:spcPct val="30000"/>
              </a:spcBef>
              <a:spcAft>
                <a:spcPct val="0"/>
              </a:spcAft>
              <a:defRPr sz="1200">
                <a:solidFill>
                  <a:schemeClr val="tx1"/>
                </a:solidFill>
                <a:latin typeface="Calibri" pitchFamily="34" charset="0"/>
              </a:defRPr>
            </a:lvl8pPr>
            <a:lvl9pPr marL="3886200" indent="-228600" defTabSz="96361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A084DFFF-3075-49B9-BE9E-9AC527996402}" type="slidenum">
              <a:rPr lang="fr-FR" altLang="fr-FR" smtClean="0">
                <a:latin typeface="Arial" pitchFamily="34" charset="0"/>
                <a:ea typeface="MS PGothic" pitchFamily="34" charset="-128"/>
                <a:cs typeface="Arial" pitchFamily="34" charset="0"/>
              </a:rPr>
              <a:pPr eaLnBrk="1" hangingPunct="1">
                <a:spcBef>
                  <a:spcPct val="0"/>
                </a:spcBef>
              </a:pPr>
              <a:t>15</a:t>
            </a:fld>
            <a:endParaRPr lang="fr-FR" altLang="fr-FR" smtClean="0">
              <a:latin typeface="Arial" pitchFamily="34" charset="0"/>
              <a:ea typeface="MS PGothic" pitchFamily="34" charset="-128"/>
              <a:cs typeface="Arial" pitchFamily="34" charset="0"/>
            </a:endParaRPr>
          </a:p>
        </p:txBody>
      </p:sp>
      <p:sp>
        <p:nvSpPr>
          <p:cNvPr id="41987" name="Rectangle 2"/>
          <p:cNvSpPr>
            <a:spLocks noGrp="1" noRot="1" noChangeAspect="1" noChangeArrowheads="1" noTextEdit="1"/>
          </p:cNvSpPr>
          <p:nvPr>
            <p:ph type="sldImg"/>
          </p:nvPr>
        </p:nvSpPr>
        <p:spPr bwMode="auto">
          <a:xfrm>
            <a:off x="1144588" y="687388"/>
            <a:ext cx="4572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41988" name="Rectangle 3"/>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altLang="fr-FR" smtClean="0">
              <a:latin typeface="Arial" pitchFamily="34" charset="0"/>
            </a:endParaRPr>
          </a:p>
        </p:txBody>
      </p:sp>
    </p:spTree>
    <p:extLst>
      <p:ext uri="{BB962C8B-B14F-4D97-AF65-F5344CB8AC3E}">
        <p14:creationId xmlns="" xmlns:p14="http://schemas.microsoft.com/office/powerpoint/2010/main" val="42336638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fr-FR"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ck to edit Master subtitle style</a:t>
            </a:r>
            <a:endParaRPr lang="en-US"/>
          </a:p>
        </p:txBody>
      </p:sp>
      <p:sp>
        <p:nvSpPr>
          <p:cNvPr id="4" name="Date Placeholder 3"/>
          <p:cNvSpPr>
            <a:spLocks noGrp="1"/>
          </p:cNvSpPr>
          <p:nvPr>
            <p:ph type="dt" sz="half" idx="10"/>
          </p:nvPr>
        </p:nvSpPr>
        <p:spPr/>
        <p:txBody>
          <a:bodyPr/>
          <a:lstStyle/>
          <a:p>
            <a:fld id="{FFB7D7FB-1317-4BEF-9585-54C5580FF73E}" type="datetime1">
              <a:rPr lang="en-US" smtClean="0"/>
              <a:pPr/>
              <a:t>2/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95026915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Date Placeholder 3"/>
          <p:cNvSpPr>
            <a:spLocks noGrp="1"/>
          </p:cNvSpPr>
          <p:nvPr>
            <p:ph type="dt" sz="half" idx="10"/>
          </p:nvPr>
        </p:nvSpPr>
        <p:spPr/>
        <p:txBody>
          <a:bodyPr/>
          <a:lstStyle/>
          <a:p>
            <a:fld id="{9077A284-FDB8-418F-8413-D3EEE58545B8}" type="datetime1">
              <a:rPr lang="en-US" smtClean="0"/>
              <a:pPr/>
              <a:t>2/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3980473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fr-FR"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Date Placeholder 3"/>
          <p:cNvSpPr>
            <a:spLocks noGrp="1"/>
          </p:cNvSpPr>
          <p:nvPr>
            <p:ph type="dt" sz="half" idx="10"/>
          </p:nvPr>
        </p:nvSpPr>
        <p:spPr/>
        <p:txBody>
          <a:bodyPr/>
          <a:lstStyle/>
          <a:p>
            <a:fld id="{5C6CCEB8-D194-443F-9E91-0851A2F1481D}" type="datetime1">
              <a:rPr lang="en-US" smtClean="0"/>
              <a:pPr/>
              <a:t>2/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3605125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85800" y="609600"/>
            <a:ext cx="7772400" cy="1143000"/>
          </a:xfrm>
        </p:spPr>
        <p:txBody>
          <a:bodyPr/>
          <a:lstStyle/>
          <a:p>
            <a:r>
              <a:rPr lang="fr-FR" smtClean="0"/>
              <a:t>Cliquez pour modifier le style du titre</a:t>
            </a:r>
            <a:endParaRPr lang="fr-FR"/>
          </a:p>
        </p:txBody>
      </p:sp>
      <p:sp>
        <p:nvSpPr>
          <p:cNvPr id="3" name="Espace réservé du texte 2"/>
          <p:cNvSpPr>
            <a:spLocks noGrp="1"/>
          </p:cNvSpPr>
          <p:nvPr>
            <p:ph type="body" sz="half" idx="1"/>
          </p:nvPr>
        </p:nvSpPr>
        <p:spPr>
          <a:xfrm>
            <a:off x="685800" y="1981200"/>
            <a:ext cx="3810000"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981200"/>
            <a:ext cx="3810000" cy="4114800"/>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p:txBody>
          <a:bodyPr rtlCol="0"/>
          <a:lstStyle>
            <a:lvl1pPr fontAlgn="auto">
              <a:spcBef>
                <a:spcPts val="0"/>
              </a:spcBef>
              <a:spcAft>
                <a:spcPts val="0"/>
              </a:spcAft>
              <a:defRPr>
                <a:solidFill>
                  <a:prstClr val="black">
                    <a:tint val="75000"/>
                  </a:prstClr>
                </a:solidFill>
                <a:latin typeface="+mn-lt"/>
                <a:ea typeface="+mn-ea"/>
                <a:cs typeface="+mn-cs"/>
              </a:defRPr>
            </a:lvl1pPr>
          </a:lstStyle>
          <a:p>
            <a:pPr>
              <a:defRPr/>
            </a:pPr>
            <a:endParaRPr lang="fr-FR"/>
          </a:p>
        </p:txBody>
      </p:sp>
      <p:sp>
        <p:nvSpPr>
          <p:cNvPr id="6" name="Rectangle 5"/>
          <p:cNvSpPr>
            <a:spLocks noGrp="1" noChangeArrowheads="1"/>
          </p:cNvSpPr>
          <p:nvPr>
            <p:ph type="ftr" sz="quarter" idx="11"/>
          </p:nvPr>
        </p:nvSpPr>
        <p:spPr/>
        <p:txBody>
          <a:bodyPr/>
          <a:lstStyle>
            <a:lvl1pPr>
              <a:defRPr/>
            </a:lvl1pPr>
          </a:lstStyle>
          <a:p>
            <a:pPr>
              <a:defRPr/>
            </a:pPr>
            <a:endParaRPr lang="fr-FR"/>
          </a:p>
        </p:txBody>
      </p:sp>
      <p:sp>
        <p:nvSpPr>
          <p:cNvPr id="7" name="Rectangle 6"/>
          <p:cNvSpPr>
            <a:spLocks noGrp="1" noChangeArrowheads="1"/>
          </p:cNvSpPr>
          <p:nvPr>
            <p:ph type="sldNum" sz="quarter" idx="12"/>
          </p:nvPr>
        </p:nvSpPr>
        <p:spPr/>
        <p:txBody>
          <a:bodyPr/>
          <a:lstStyle>
            <a:lvl1pPr>
              <a:defRPr/>
            </a:lvl1pPr>
          </a:lstStyle>
          <a:p>
            <a:fld id="{FAC29C0F-2AE5-8A46-8DF6-8828BBA0CC94}" type="slidenum">
              <a:rPr lang="fr-FR"/>
              <a:pPr/>
              <a:t>‹N°›</a:t>
            </a:fld>
            <a:endParaRPr lang="fr-FR"/>
          </a:p>
        </p:txBody>
      </p:sp>
    </p:spTree>
    <p:extLst>
      <p:ext uri="{BB962C8B-B14F-4D97-AF65-F5344CB8AC3E}">
        <p14:creationId xmlns="" xmlns:p14="http://schemas.microsoft.com/office/powerpoint/2010/main" val="652115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re et 4 contenus">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lstStyle>
            <a:lvl1pPr>
              <a:defRPr b="0">
                <a:solidFill>
                  <a:srgbClr val="376092"/>
                </a:solidFill>
              </a:defRPr>
            </a:lvl1pPr>
          </a:lstStyle>
          <a:p>
            <a:pPr lvl="0">
              <a:defRPr sz="1800">
                <a:solidFill>
                  <a:srgbClr val="000000"/>
                </a:solidFill>
              </a:defRPr>
            </a:pPr>
            <a:r>
              <a:rPr sz="4400">
                <a:solidFill>
                  <a:srgbClr val="376092"/>
                </a:solidFill>
              </a:rPr>
              <a:t>Cliquez pour modifier le style du titre</a:t>
            </a:r>
          </a:p>
        </p:txBody>
      </p:sp>
      <p:sp>
        <p:nvSpPr>
          <p:cNvPr id="49" name="Shape 49"/>
          <p:cNvSpPr>
            <a:spLocks noGrp="1"/>
          </p:cNvSpPr>
          <p:nvPr>
            <p:ph type="body" idx="1"/>
          </p:nvPr>
        </p:nvSpPr>
        <p:spPr>
          <a:xfrm>
            <a:off x="457200" y="1600200"/>
            <a:ext cx="4038600" cy="3900489"/>
          </a:xfrm>
          <a:prstGeom prst="rect">
            <a:avLst/>
          </a:prstGeom>
        </p:spPr>
        <p:txBody>
          <a:bodyPr/>
          <a:lstStyle/>
          <a:p>
            <a:pPr lvl="0">
              <a:defRPr sz="1800"/>
            </a:pPr>
            <a:r>
              <a:rPr sz="3200"/>
              <a:t>Cliquez pour modifier les styles du texte du masque</a:t>
            </a:r>
          </a:p>
          <a:p>
            <a:pPr lvl="1">
              <a:defRPr sz="1800"/>
            </a:pPr>
            <a:r>
              <a:rPr sz="3200"/>
              <a:t>Deuxième niveau</a:t>
            </a:r>
          </a:p>
          <a:p>
            <a:pPr lvl="2">
              <a:defRPr sz="1800"/>
            </a:pPr>
            <a:r>
              <a:rPr sz="3200"/>
              <a:t>Troisième niveau</a:t>
            </a:r>
          </a:p>
          <a:p>
            <a:pPr lvl="3">
              <a:defRPr sz="1800"/>
            </a:pPr>
            <a:r>
              <a:rPr sz="3200"/>
              <a:t>Quatrième niveau</a:t>
            </a:r>
          </a:p>
          <a:p>
            <a:pPr lvl="4">
              <a:defRPr sz="1800"/>
            </a:pPr>
            <a:r>
              <a:rPr sz="3200"/>
              <a:t>Cinquième niveau</a:t>
            </a:r>
          </a:p>
        </p:txBody>
      </p:sp>
      <p:sp>
        <p:nvSpPr>
          <p:cNvPr id="50" name="Shape 50"/>
          <p:cNvSpPr>
            <a:spLocks noGrp="1"/>
          </p:cNvSpPr>
          <p:nvPr>
            <p:ph type="sldNum" sz="quarter" idx="2"/>
          </p:nvPr>
        </p:nvSpPr>
        <p:spPr>
          <a:prstGeom prst="rect">
            <a:avLst/>
          </a:prstGeom>
        </p:spPr>
        <p:txBody>
          <a:bodyPr/>
          <a:lstStyle/>
          <a:p>
            <a:pPr lvl="0"/>
            <a:fld id="{86CB4B4D-7CA3-9044-876B-883B54F8677D}" type="slidenum">
              <a:rPr/>
              <a:pPr lvl="0"/>
              <a:t>‹N°›</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rgbClr val="FF0000"/>
                </a:solidFill>
              </a:defRPr>
            </a:lvl1p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Date Placeholder 3"/>
          <p:cNvSpPr>
            <a:spLocks noGrp="1"/>
          </p:cNvSpPr>
          <p:nvPr>
            <p:ph type="dt" sz="half" idx="10"/>
          </p:nvPr>
        </p:nvSpPr>
        <p:spPr/>
        <p:txBody>
          <a:bodyPr/>
          <a:lstStyle/>
          <a:p>
            <a:fld id="{EA6F015E-4E05-48C7-9B82-40B17A10FFFA}" type="datetime1">
              <a:rPr lang="en-US" smtClean="0"/>
              <a:pPr/>
              <a:t>2/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293470289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fr-FR"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ck to edit Master text styles</a:t>
            </a:r>
          </a:p>
        </p:txBody>
      </p:sp>
      <p:sp>
        <p:nvSpPr>
          <p:cNvPr id="4" name="Date Placeholder 3"/>
          <p:cNvSpPr>
            <a:spLocks noGrp="1"/>
          </p:cNvSpPr>
          <p:nvPr>
            <p:ph type="dt" sz="half" idx="10"/>
          </p:nvPr>
        </p:nvSpPr>
        <p:spPr/>
        <p:txBody>
          <a:bodyPr/>
          <a:lstStyle/>
          <a:p>
            <a:fld id="{DB438969-BA51-482F-97BD-06AAEFCAEE4E}" type="datetime1">
              <a:rPr lang="en-US" smtClean="0"/>
              <a:pPr/>
              <a:t>2/5/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2260188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5" name="Date Placeholder 4"/>
          <p:cNvSpPr>
            <a:spLocks noGrp="1"/>
          </p:cNvSpPr>
          <p:nvPr>
            <p:ph type="dt" sz="half" idx="10"/>
          </p:nvPr>
        </p:nvSpPr>
        <p:spPr/>
        <p:txBody>
          <a:bodyPr/>
          <a:lstStyle/>
          <a:p>
            <a:fld id="{E18325BC-D50B-4FAA-B5B1-009724B3E8F8}" type="datetime1">
              <a:rPr lang="en-US" smtClean="0"/>
              <a:pPr/>
              <a:t>2/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39493413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7" name="Date Placeholder 6"/>
          <p:cNvSpPr>
            <a:spLocks noGrp="1"/>
          </p:cNvSpPr>
          <p:nvPr>
            <p:ph type="dt" sz="half" idx="10"/>
          </p:nvPr>
        </p:nvSpPr>
        <p:spPr/>
        <p:txBody>
          <a:bodyPr/>
          <a:lstStyle/>
          <a:p>
            <a:fld id="{746A148C-9AD9-49D5-A0BD-DCE10C297108}" type="datetime1">
              <a:rPr lang="en-US" smtClean="0"/>
              <a:pPr/>
              <a:t>2/5/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3327806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en-US"/>
          </a:p>
        </p:txBody>
      </p:sp>
      <p:sp>
        <p:nvSpPr>
          <p:cNvPr id="3" name="Date Placeholder 2"/>
          <p:cNvSpPr>
            <a:spLocks noGrp="1"/>
          </p:cNvSpPr>
          <p:nvPr>
            <p:ph type="dt" sz="half" idx="10"/>
          </p:nvPr>
        </p:nvSpPr>
        <p:spPr/>
        <p:txBody>
          <a:bodyPr/>
          <a:lstStyle/>
          <a:p>
            <a:fld id="{124139E3-04B1-465A-A615-5DF4342EABDB}" type="datetime1">
              <a:rPr lang="en-US" smtClean="0"/>
              <a:pPr/>
              <a:t>2/5/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34806603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5FBB6D-286A-4FFB-B4C6-75E3BA694025}" type="datetime1">
              <a:rPr lang="en-US" smtClean="0"/>
              <a:pPr/>
              <a:t>2/5/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3876336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fr-FR"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p>
            <a:fld id="{984CA926-402B-4A7D-829F-E2E5E23D774A}" type="datetime1">
              <a:rPr lang="en-US" smtClean="0"/>
              <a:pPr/>
              <a:t>2/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2681619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fr-FR"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p>
            <a:fld id="{AE15D5C7-79CA-4C91-83CE-FB485542DA9E}" type="datetime1">
              <a:rPr lang="en-US" smtClean="0"/>
              <a:pPr/>
              <a:t>2/5/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6CAE510-2E18-4644-9DBF-437BBE941DEC}" type="slidenum">
              <a:rPr lang="en-US" smtClean="0"/>
              <a:pPr/>
              <a:t>‹N°›</a:t>
            </a:fld>
            <a:endParaRPr lang="en-US"/>
          </a:p>
        </p:txBody>
      </p:sp>
    </p:spTree>
    <p:extLst>
      <p:ext uri="{BB962C8B-B14F-4D97-AF65-F5344CB8AC3E}">
        <p14:creationId xmlns="" xmlns:p14="http://schemas.microsoft.com/office/powerpoint/2010/main" val="38895303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ck to </a:t>
            </a:r>
            <a:r>
              <a:rPr lang="fr-FR" dirty="0" err="1" smtClean="0"/>
              <a:t>edit</a:t>
            </a:r>
            <a:r>
              <a:rPr lang="fr-FR" dirty="0" smtClean="0"/>
              <a:t> Master </a:t>
            </a:r>
            <a:r>
              <a:rPr lang="fr-FR" dirty="0" err="1" smtClean="0"/>
              <a:t>title</a:t>
            </a:r>
            <a:r>
              <a:rPr lang="fr-FR" dirty="0" smtClean="0"/>
              <a:t>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BBEB3B-2A73-4FB8-9FC6-8EEC596EAA2C}" type="datetime1">
              <a:rPr lang="en-US" smtClean="0"/>
              <a:pPr/>
              <a:t>2/5/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CAE510-2E18-4644-9DBF-437BBE941DEC}" type="slidenum">
              <a:rPr lang="en-US" smtClean="0"/>
              <a:pPr/>
              <a:t>‹N°›</a:t>
            </a:fld>
            <a:endParaRPr lang="en-US"/>
          </a:p>
        </p:txBody>
      </p:sp>
      <p:pic>
        <p:nvPicPr>
          <p:cNvPr id="5122" name="Picture 2"/>
          <p:cNvPicPr>
            <a:picLocks noChangeAspect="1" noChangeArrowheads="1"/>
          </p:cNvPicPr>
          <p:nvPr userDrawn="1"/>
        </p:nvPicPr>
        <p:blipFill>
          <a:blip r:embed="rId15"/>
          <a:srcRect/>
          <a:stretch>
            <a:fillRect/>
          </a:stretch>
        </p:blipFill>
        <p:spPr bwMode="auto">
          <a:xfrm>
            <a:off x="0" y="0"/>
            <a:ext cx="597444" cy="817794"/>
          </a:xfrm>
          <a:prstGeom prst="rect">
            <a:avLst/>
          </a:prstGeom>
          <a:noFill/>
          <a:ln w="9525">
            <a:noFill/>
            <a:miter lim="800000"/>
            <a:headEnd/>
            <a:tailEnd/>
          </a:ln>
        </p:spPr>
      </p:pic>
    </p:spTree>
    <p:extLst>
      <p:ext uri="{BB962C8B-B14F-4D97-AF65-F5344CB8AC3E}">
        <p14:creationId xmlns="" xmlns:p14="http://schemas.microsoft.com/office/powerpoint/2010/main" val="22164757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accent1">
              <a:lumMod val="75000"/>
            </a:schemeClr>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jpeg"/><Relationship Id="rId7"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pn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jpeg"/></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14.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41.png"/><Relationship Id="rId7"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42.jpeg"/><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28" Type="http://schemas.openxmlformats.org/officeDocument/2006/relationships/slideLayout" Target="../slideLayouts/slideLayout7.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19" Type="http://schemas.openxmlformats.org/officeDocument/2006/relationships/tags" Target="../tags/tag1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69" Type="http://schemas.openxmlformats.org/officeDocument/2006/relationships/tags" Target="../tags/tag69.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13" Type="http://schemas.openxmlformats.org/officeDocument/2006/relationships/tags" Target="../tags/tag113.xml"/><Relationship Id="rId118" Type="http://schemas.openxmlformats.org/officeDocument/2006/relationships/tags" Target="../tags/tag118.xml"/><Relationship Id="rId126" Type="http://schemas.openxmlformats.org/officeDocument/2006/relationships/tags" Target="../tags/tag126.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80" Type="http://schemas.openxmlformats.org/officeDocument/2006/relationships/tags" Target="../tags/tag80.xml"/><Relationship Id="rId85" Type="http://schemas.openxmlformats.org/officeDocument/2006/relationships/tags" Target="../tags/tag85.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tags" Target="../tags/tag103.xml"/><Relationship Id="rId108" Type="http://schemas.openxmlformats.org/officeDocument/2006/relationships/tags" Target="../tags/tag108.xml"/><Relationship Id="rId116" Type="http://schemas.openxmlformats.org/officeDocument/2006/relationships/tags" Target="../tags/tag116.xml"/><Relationship Id="rId124" Type="http://schemas.openxmlformats.org/officeDocument/2006/relationships/tags" Target="../tags/tag124.xml"/><Relationship Id="rId129" Type="http://schemas.openxmlformats.org/officeDocument/2006/relationships/notesSlide" Target="../notesSlides/notesSlide10.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11" Type="http://schemas.openxmlformats.org/officeDocument/2006/relationships/tags" Target="../tags/tag11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tags" Target="../tags/tag114.xml"/><Relationship Id="rId119" Type="http://schemas.openxmlformats.org/officeDocument/2006/relationships/tags" Target="../tags/tag119.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30" Type="http://schemas.openxmlformats.org/officeDocument/2006/relationships/image" Target="../media/image45.png"/><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61" Type="http://schemas.openxmlformats.org/officeDocument/2006/relationships/tags" Target="../tags/tag61.xml"/><Relationship Id="rId82" Type="http://schemas.openxmlformats.org/officeDocument/2006/relationships/tags" Target="../tags/tag82.xml"/></Relationships>
</file>

<file path=ppt/slides/_rels/slide17.xml.rels><?xml version="1.0" encoding="UTF-8" standalone="yes"?>
<Relationships xmlns="http://schemas.openxmlformats.org/package/2006/relationships"><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tags" Target="../tags/tag153.xml"/><Relationship Id="rId39" Type="http://schemas.openxmlformats.org/officeDocument/2006/relationships/tags" Target="../tags/tag166.xml"/><Relationship Id="rId21" Type="http://schemas.openxmlformats.org/officeDocument/2006/relationships/tags" Target="../tags/tag148.xml"/><Relationship Id="rId34" Type="http://schemas.openxmlformats.org/officeDocument/2006/relationships/tags" Target="../tags/tag161.xml"/><Relationship Id="rId42" Type="http://schemas.openxmlformats.org/officeDocument/2006/relationships/tags" Target="../tags/tag169.xml"/><Relationship Id="rId47" Type="http://schemas.openxmlformats.org/officeDocument/2006/relationships/tags" Target="../tags/tag174.xml"/><Relationship Id="rId50" Type="http://schemas.openxmlformats.org/officeDocument/2006/relationships/tags" Target="../tags/tag177.xml"/><Relationship Id="rId55" Type="http://schemas.openxmlformats.org/officeDocument/2006/relationships/tags" Target="../tags/tag182.xml"/><Relationship Id="rId63" Type="http://schemas.openxmlformats.org/officeDocument/2006/relationships/tags" Target="../tags/tag190.xml"/><Relationship Id="rId68" Type="http://schemas.openxmlformats.org/officeDocument/2006/relationships/tags" Target="../tags/tag195.xml"/><Relationship Id="rId76" Type="http://schemas.openxmlformats.org/officeDocument/2006/relationships/tags" Target="../tags/tag203.xml"/><Relationship Id="rId84" Type="http://schemas.openxmlformats.org/officeDocument/2006/relationships/tags" Target="../tags/tag211.xml"/><Relationship Id="rId89" Type="http://schemas.openxmlformats.org/officeDocument/2006/relationships/image" Target="../media/image47.jpeg"/><Relationship Id="rId7" Type="http://schemas.openxmlformats.org/officeDocument/2006/relationships/tags" Target="../tags/tag134.xml"/><Relationship Id="rId71" Type="http://schemas.openxmlformats.org/officeDocument/2006/relationships/tags" Target="../tags/tag198.xml"/><Relationship Id="rId92" Type="http://schemas.openxmlformats.org/officeDocument/2006/relationships/image" Target="../media/image50.jpeg"/><Relationship Id="rId2" Type="http://schemas.openxmlformats.org/officeDocument/2006/relationships/tags" Target="../tags/tag129.xml"/><Relationship Id="rId16" Type="http://schemas.openxmlformats.org/officeDocument/2006/relationships/tags" Target="../tags/tag143.xml"/><Relationship Id="rId29" Type="http://schemas.openxmlformats.org/officeDocument/2006/relationships/tags" Target="../tags/tag156.xml"/><Relationship Id="rId11" Type="http://schemas.openxmlformats.org/officeDocument/2006/relationships/tags" Target="../tags/tag138.xml"/><Relationship Id="rId24" Type="http://schemas.openxmlformats.org/officeDocument/2006/relationships/tags" Target="../tags/tag151.xml"/><Relationship Id="rId32" Type="http://schemas.openxmlformats.org/officeDocument/2006/relationships/tags" Target="../tags/tag159.xml"/><Relationship Id="rId37" Type="http://schemas.openxmlformats.org/officeDocument/2006/relationships/tags" Target="../tags/tag164.xml"/><Relationship Id="rId40" Type="http://schemas.openxmlformats.org/officeDocument/2006/relationships/tags" Target="../tags/tag167.xml"/><Relationship Id="rId45" Type="http://schemas.openxmlformats.org/officeDocument/2006/relationships/tags" Target="../tags/tag172.xml"/><Relationship Id="rId53" Type="http://schemas.openxmlformats.org/officeDocument/2006/relationships/tags" Target="../tags/tag180.xml"/><Relationship Id="rId58" Type="http://schemas.openxmlformats.org/officeDocument/2006/relationships/tags" Target="../tags/tag185.xml"/><Relationship Id="rId66" Type="http://schemas.openxmlformats.org/officeDocument/2006/relationships/tags" Target="../tags/tag193.xml"/><Relationship Id="rId74" Type="http://schemas.openxmlformats.org/officeDocument/2006/relationships/tags" Target="../tags/tag201.xml"/><Relationship Id="rId79" Type="http://schemas.openxmlformats.org/officeDocument/2006/relationships/tags" Target="../tags/tag206.xml"/><Relationship Id="rId87" Type="http://schemas.openxmlformats.org/officeDocument/2006/relationships/notesSlide" Target="../notesSlides/notesSlide11.xml"/><Relationship Id="rId5" Type="http://schemas.openxmlformats.org/officeDocument/2006/relationships/tags" Target="../tags/tag132.xml"/><Relationship Id="rId61" Type="http://schemas.openxmlformats.org/officeDocument/2006/relationships/tags" Target="../tags/tag188.xml"/><Relationship Id="rId82" Type="http://schemas.openxmlformats.org/officeDocument/2006/relationships/tags" Target="../tags/tag209.xml"/><Relationship Id="rId90" Type="http://schemas.openxmlformats.org/officeDocument/2006/relationships/image" Target="../media/image48.jpeg"/><Relationship Id="rId95" Type="http://schemas.openxmlformats.org/officeDocument/2006/relationships/image" Target="../media/image53.jpeg"/><Relationship Id="rId19" Type="http://schemas.openxmlformats.org/officeDocument/2006/relationships/tags" Target="../tags/tag14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tags" Target="../tags/tag154.xml"/><Relationship Id="rId30" Type="http://schemas.openxmlformats.org/officeDocument/2006/relationships/tags" Target="../tags/tag157.xml"/><Relationship Id="rId35" Type="http://schemas.openxmlformats.org/officeDocument/2006/relationships/tags" Target="../tags/tag162.xml"/><Relationship Id="rId43" Type="http://schemas.openxmlformats.org/officeDocument/2006/relationships/tags" Target="../tags/tag170.xml"/><Relationship Id="rId48" Type="http://schemas.openxmlformats.org/officeDocument/2006/relationships/tags" Target="../tags/tag175.xml"/><Relationship Id="rId56" Type="http://schemas.openxmlformats.org/officeDocument/2006/relationships/tags" Target="../tags/tag183.xml"/><Relationship Id="rId64" Type="http://schemas.openxmlformats.org/officeDocument/2006/relationships/tags" Target="../tags/tag191.xml"/><Relationship Id="rId69" Type="http://schemas.openxmlformats.org/officeDocument/2006/relationships/tags" Target="../tags/tag196.xml"/><Relationship Id="rId77" Type="http://schemas.openxmlformats.org/officeDocument/2006/relationships/tags" Target="../tags/tag204.xml"/><Relationship Id="rId8" Type="http://schemas.openxmlformats.org/officeDocument/2006/relationships/tags" Target="../tags/tag135.xml"/><Relationship Id="rId51" Type="http://schemas.openxmlformats.org/officeDocument/2006/relationships/tags" Target="../tags/tag178.xml"/><Relationship Id="rId72" Type="http://schemas.openxmlformats.org/officeDocument/2006/relationships/tags" Target="../tags/tag199.xml"/><Relationship Id="rId80" Type="http://schemas.openxmlformats.org/officeDocument/2006/relationships/tags" Target="../tags/tag207.xml"/><Relationship Id="rId85" Type="http://schemas.openxmlformats.org/officeDocument/2006/relationships/tags" Target="../tags/tag212.xml"/><Relationship Id="rId93" Type="http://schemas.openxmlformats.org/officeDocument/2006/relationships/image" Target="../media/image51.jpeg"/><Relationship Id="rId3" Type="http://schemas.openxmlformats.org/officeDocument/2006/relationships/tags" Target="../tags/tag130.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tags" Target="../tags/tag165.xml"/><Relationship Id="rId46" Type="http://schemas.openxmlformats.org/officeDocument/2006/relationships/tags" Target="../tags/tag173.xml"/><Relationship Id="rId59" Type="http://schemas.openxmlformats.org/officeDocument/2006/relationships/tags" Target="../tags/tag186.xml"/><Relationship Id="rId67" Type="http://schemas.openxmlformats.org/officeDocument/2006/relationships/tags" Target="../tags/tag194.xml"/><Relationship Id="rId20" Type="http://schemas.openxmlformats.org/officeDocument/2006/relationships/tags" Target="../tags/tag147.xml"/><Relationship Id="rId41" Type="http://schemas.openxmlformats.org/officeDocument/2006/relationships/tags" Target="../tags/tag168.xml"/><Relationship Id="rId54" Type="http://schemas.openxmlformats.org/officeDocument/2006/relationships/tags" Target="../tags/tag181.xml"/><Relationship Id="rId62" Type="http://schemas.openxmlformats.org/officeDocument/2006/relationships/tags" Target="../tags/tag189.xml"/><Relationship Id="rId70" Type="http://schemas.openxmlformats.org/officeDocument/2006/relationships/tags" Target="../tags/tag197.xml"/><Relationship Id="rId75" Type="http://schemas.openxmlformats.org/officeDocument/2006/relationships/tags" Target="../tags/tag202.xml"/><Relationship Id="rId83" Type="http://schemas.openxmlformats.org/officeDocument/2006/relationships/tags" Target="../tags/tag210.xml"/><Relationship Id="rId88" Type="http://schemas.openxmlformats.org/officeDocument/2006/relationships/image" Target="../media/image46.emf"/><Relationship Id="rId91" Type="http://schemas.openxmlformats.org/officeDocument/2006/relationships/image" Target="../media/image49.jpeg"/><Relationship Id="rId1" Type="http://schemas.openxmlformats.org/officeDocument/2006/relationships/tags" Target="../tags/tag128.xml"/><Relationship Id="rId6" Type="http://schemas.openxmlformats.org/officeDocument/2006/relationships/tags" Target="../tags/tag133.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tags" Target="../tags/tag163.xml"/><Relationship Id="rId49" Type="http://schemas.openxmlformats.org/officeDocument/2006/relationships/tags" Target="../tags/tag176.xml"/><Relationship Id="rId57" Type="http://schemas.openxmlformats.org/officeDocument/2006/relationships/tags" Target="../tags/tag184.xml"/><Relationship Id="rId10" Type="http://schemas.openxmlformats.org/officeDocument/2006/relationships/tags" Target="../tags/tag137.xml"/><Relationship Id="rId31" Type="http://schemas.openxmlformats.org/officeDocument/2006/relationships/tags" Target="../tags/tag158.xml"/><Relationship Id="rId44" Type="http://schemas.openxmlformats.org/officeDocument/2006/relationships/tags" Target="../tags/tag171.xml"/><Relationship Id="rId52" Type="http://schemas.openxmlformats.org/officeDocument/2006/relationships/tags" Target="../tags/tag179.xml"/><Relationship Id="rId60" Type="http://schemas.openxmlformats.org/officeDocument/2006/relationships/tags" Target="../tags/tag187.xml"/><Relationship Id="rId65" Type="http://schemas.openxmlformats.org/officeDocument/2006/relationships/tags" Target="../tags/tag192.xml"/><Relationship Id="rId73" Type="http://schemas.openxmlformats.org/officeDocument/2006/relationships/tags" Target="../tags/tag200.xml"/><Relationship Id="rId78" Type="http://schemas.openxmlformats.org/officeDocument/2006/relationships/tags" Target="../tags/tag205.xml"/><Relationship Id="rId81" Type="http://schemas.openxmlformats.org/officeDocument/2006/relationships/tags" Target="../tags/tag208.xml"/><Relationship Id="rId86" Type="http://schemas.openxmlformats.org/officeDocument/2006/relationships/slideLayout" Target="../slideLayouts/slideLayout7.xml"/><Relationship Id="rId94" Type="http://schemas.openxmlformats.org/officeDocument/2006/relationships/image" Target="../media/image52.jpeg"/><Relationship Id="rId4" Type="http://schemas.openxmlformats.org/officeDocument/2006/relationships/tags" Target="../tags/tag131.xml"/><Relationship Id="rId9" Type="http://schemas.openxmlformats.org/officeDocument/2006/relationships/tags" Target="../tags/tag13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13.xml"/><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58.wmf"/><Relationship Id="rId4" Type="http://schemas.openxmlformats.org/officeDocument/2006/relationships/image" Target="../media/image57.jpeg"/></Relationships>
</file>

<file path=ppt/slides/_rels/slide21.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Layout" Target="../slideLayouts/slideLayout13.xml"/><Relationship Id="rId5" Type="http://schemas.openxmlformats.org/officeDocument/2006/relationships/image" Target="../media/image67.jpeg"/><Relationship Id="rId4" Type="http://schemas.openxmlformats.org/officeDocument/2006/relationships/image" Target="../media/image66.jpeg"/></Relationships>
</file>

<file path=ppt/slides/_rels/slide26.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71.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xml"/><Relationship Id="rId5" Type="http://schemas.openxmlformats.org/officeDocument/2006/relationships/image" Target="../media/image76.png"/><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image" Target="../media/image81.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3.xml"/><Relationship Id="rId4" Type="http://schemas.openxmlformats.org/officeDocument/2006/relationships/image" Target="../media/image84.png"/></Relationships>
</file>

<file path=ppt/slides/_rels/slide36.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13.xml"/><Relationship Id="rId4" Type="http://schemas.openxmlformats.org/officeDocument/2006/relationships/image" Target="../media/image89.jpeg"/></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 Id="rId5" Type="http://schemas.openxmlformats.org/officeDocument/2006/relationships/image" Target="../media/image93.png"/><Relationship Id="rId4" Type="http://schemas.openxmlformats.org/officeDocument/2006/relationships/image" Target="../media/image92.jpe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01.jpe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0.gif"/></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C6CAE510-2E18-4644-9DBF-437BBE941DEC}" type="slidenum">
              <a:rPr lang="en-US" smtClean="0"/>
              <a:pPr/>
              <a:t>1</a:t>
            </a:fld>
            <a:endParaRPr lang="en-US"/>
          </a:p>
        </p:txBody>
      </p:sp>
      <p:pic>
        <p:nvPicPr>
          <p:cNvPr id="89090" name="Picture 2"/>
          <p:cNvPicPr>
            <a:picLocks noChangeAspect="1" noChangeArrowheads="1"/>
          </p:cNvPicPr>
          <p:nvPr/>
        </p:nvPicPr>
        <p:blipFill>
          <a:blip r:embed="rId2"/>
          <a:srcRect l="20933" t="13362" r="20649" b="16810"/>
          <a:stretch>
            <a:fillRect/>
          </a:stretch>
        </p:blipFill>
        <p:spPr bwMode="auto">
          <a:xfrm>
            <a:off x="-1" y="0"/>
            <a:ext cx="9144001"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p:nvPr/>
        </p:nvPicPr>
        <p:blipFill rotWithShape="1">
          <a:blip r:embed="rId2" cstate="print">
            <a:extLst>
              <a:ext uri="{28A0092B-C50C-407E-A947-70E740481C1C}">
                <a14:useLocalDpi xmlns="" xmlns:a14="http://schemas.microsoft.com/office/drawing/2010/main" val="0"/>
              </a:ext>
            </a:extLst>
          </a:blip>
          <a:srcRect l="13558" t="29117" r="34522" b="13676"/>
          <a:stretch/>
        </p:blipFill>
        <p:spPr bwMode="auto">
          <a:xfrm>
            <a:off x="4229075" y="2705503"/>
            <a:ext cx="4914925" cy="4132960"/>
          </a:xfrm>
          <a:prstGeom prst="rect">
            <a:avLst/>
          </a:prstGeom>
          <a:ln>
            <a:noFill/>
          </a:ln>
          <a:extLst>
            <a:ext uri="{53640926-AAD7-44d8-BBD7-CCE9431645EC}">
              <a14:shadowObscured xmlns="" xmlns:a14="http://schemas.microsoft.com/office/drawing/2010/main"/>
            </a:ext>
          </a:extLst>
        </p:spPr>
      </p:pic>
      <p:sp>
        <p:nvSpPr>
          <p:cNvPr id="30" name="Rectangle 29"/>
          <p:cNvSpPr/>
          <p:nvPr/>
        </p:nvSpPr>
        <p:spPr>
          <a:xfrm>
            <a:off x="321517" y="2471642"/>
            <a:ext cx="3366819" cy="523220"/>
          </a:xfrm>
          <a:prstGeom prst="rect">
            <a:avLst/>
          </a:prstGeom>
        </p:spPr>
        <p:txBody>
          <a:bodyPr wrap="none">
            <a:spAutoFit/>
          </a:bodyPr>
          <a:lstStyle/>
          <a:p>
            <a:r>
              <a:rPr lang="en-US" sz="2800" b="1" dirty="0" smtClean="0">
                <a:solidFill>
                  <a:srgbClr val="AB0000"/>
                </a:solidFill>
              </a:rPr>
              <a:t>Touristic and Sky </a:t>
            </a:r>
            <a:r>
              <a:rPr lang="en-US" sz="2800" b="1" dirty="0" smtClean="0">
                <a:effectLst>
                  <a:outerShdw blurRad="38100" dist="38100" dir="2700000" algn="tl">
                    <a:srgbClr val="000000">
                      <a:alpha val="43137"/>
                    </a:srgbClr>
                  </a:outerShdw>
                </a:effectLst>
              </a:rPr>
              <a:t>Hub</a:t>
            </a:r>
            <a:endParaRPr lang="fr-FR" sz="2800" b="1" dirty="0">
              <a:solidFill>
                <a:srgbClr val="AB0000"/>
              </a:solidFill>
            </a:endParaRPr>
          </a:p>
        </p:txBody>
      </p:sp>
      <p:sp>
        <p:nvSpPr>
          <p:cNvPr id="31" name="Rectangle 30"/>
          <p:cNvSpPr/>
          <p:nvPr/>
        </p:nvSpPr>
        <p:spPr>
          <a:xfrm>
            <a:off x="321517" y="1550281"/>
            <a:ext cx="3798540" cy="523220"/>
          </a:xfrm>
          <a:prstGeom prst="rect">
            <a:avLst/>
          </a:prstGeom>
        </p:spPr>
        <p:txBody>
          <a:bodyPr wrap="none">
            <a:spAutoFit/>
          </a:bodyPr>
          <a:lstStyle/>
          <a:p>
            <a:r>
              <a:rPr lang="en-US" sz="2800" b="1" dirty="0">
                <a:solidFill>
                  <a:srgbClr val="AB0000"/>
                </a:solidFill>
              </a:rPr>
              <a:t>Service </a:t>
            </a:r>
            <a:r>
              <a:rPr lang="en-US" sz="2800" b="1" dirty="0" smtClean="0">
                <a:solidFill>
                  <a:srgbClr val="AB0000"/>
                </a:solidFill>
              </a:rPr>
              <a:t>and logistic </a:t>
            </a:r>
            <a:r>
              <a:rPr lang="en-US" sz="2800" b="1" dirty="0" smtClean="0">
                <a:effectLst>
                  <a:outerShdw blurRad="38100" dist="38100" dir="2700000" algn="tl">
                    <a:srgbClr val="000000">
                      <a:alpha val="43137"/>
                    </a:srgbClr>
                  </a:outerShdw>
                </a:effectLst>
              </a:rPr>
              <a:t>Hub </a:t>
            </a:r>
            <a:endParaRPr lang="fr-FR" sz="2800" b="1" dirty="0">
              <a:solidFill>
                <a:srgbClr val="AB0000"/>
              </a:solidFill>
            </a:endParaRPr>
          </a:p>
        </p:txBody>
      </p:sp>
      <p:sp>
        <p:nvSpPr>
          <p:cNvPr id="32" name="Rectangle 31"/>
          <p:cNvSpPr/>
          <p:nvPr/>
        </p:nvSpPr>
        <p:spPr>
          <a:xfrm>
            <a:off x="321517" y="3503497"/>
            <a:ext cx="3450609" cy="523220"/>
          </a:xfrm>
          <a:prstGeom prst="rect">
            <a:avLst/>
          </a:prstGeom>
        </p:spPr>
        <p:txBody>
          <a:bodyPr wrap="square">
            <a:spAutoFit/>
          </a:bodyPr>
          <a:lstStyle/>
          <a:p>
            <a:r>
              <a:rPr lang="en-US" sz="2800" b="1" dirty="0" smtClean="0">
                <a:solidFill>
                  <a:srgbClr val="AB0000"/>
                </a:solidFill>
              </a:rPr>
              <a:t>Industrial</a:t>
            </a:r>
            <a:r>
              <a:rPr lang="en-US" sz="2800" b="1" dirty="0" smtClean="0">
                <a:solidFill>
                  <a:srgbClr val="AB0000"/>
                </a:solidFill>
                <a:effectLst>
                  <a:outerShdw blurRad="38100" dist="38100" dir="2700000" algn="tl">
                    <a:srgbClr val="000000">
                      <a:alpha val="43137"/>
                    </a:srgbClr>
                  </a:outerShdw>
                </a:effectLst>
              </a:rPr>
              <a:t> </a:t>
            </a:r>
            <a:r>
              <a:rPr lang="en-US" sz="2800" b="1" dirty="0" smtClean="0">
                <a:effectLst>
                  <a:outerShdw blurRad="38100" dist="38100" dir="2700000" algn="tl">
                    <a:srgbClr val="000000">
                      <a:alpha val="43137"/>
                    </a:srgbClr>
                  </a:outerShdw>
                </a:effectLst>
              </a:rPr>
              <a:t>Hub</a:t>
            </a:r>
            <a:endParaRPr lang="fr-FR" sz="2800" b="1" dirty="0"/>
          </a:p>
        </p:txBody>
      </p:sp>
      <p:sp>
        <p:nvSpPr>
          <p:cNvPr id="9" name="Rectangle 8"/>
          <p:cNvSpPr/>
          <p:nvPr/>
        </p:nvSpPr>
        <p:spPr>
          <a:xfrm>
            <a:off x="722922" y="0"/>
            <a:ext cx="8577386" cy="769441"/>
          </a:xfrm>
          <a:prstGeom prst="rect">
            <a:avLst/>
          </a:prstGeom>
        </p:spPr>
        <p:txBody>
          <a:bodyPr wrap="square">
            <a:spAutoFit/>
          </a:bodyPr>
          <a:lstStyle/>
          <a:p>
            <a:r>
              <a:rPr lang="fr-FR" sz="4400" b="1" dirty="0" smtClean="0">
                <a:solidFill>
                  <a:srgbClr val="FF0000"/>
                </a:solidFill>
                <a:cs typeface="Arial" pitchFamily="34" charset="0"/>
              </a:rPr>
              <a:t>A business hub</a:t>
            </a:r>
          </a:p>
        </p:txBody>
      </p:sp>
      <p:sp>
        <p:nvSpPr>
          <p:cNvPr id="11" name="Rectangle 10"/>
          <p:cNvSpPr/>
          <p:nvPr/>
        </p:nvSpPr>
        <p:spPr>
          <a:xfrm>
            <a:off x="722922" y="897687"/>
            <a:ext cx="8421078"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2" name="Ellipse 11"/>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22749059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descr="https://encrypted-tbn2.gstatic.com/images?q=tbn:ANd9GcROXhu_aKgnCq81JocoW3SHQkTOT7RNCyS_Hb94Y0s3tNVE19HTSA"/>
          <p:cNvPicPr>
            <a:picLocks noChangeAspect="1" noChangeArrowheads="1"/>
          </p:cNvPicPr>
          <p:nvPr/>
        </p:nvPicPr>
        <p:blipFill>
          <a:blip r:embed="rId3" cstate="print"/>
          <a:srcRect/>
          <a:stretch>
            <a:fillRect/>
          </a:stretch>
        </p:blipFill>
        <p:spPr bwMode="auto">
          <a:xfrm>
            <a:off x="3679825" y="2847975"/>
            <a:ext cx="431800" cy="433388"/>
          </a:xfrm>
          <a:prstGeom prst="rect">
            <a:avLst/>
          </a:prstGeom>
          <a:noFill/>
          <a:ln w="9525">
            <a:noFill/>
            <a:miter lim="800000"/>
            <a:headEnd/>
            <a:tailEnd/>
          </a:ln>
        </p:spPr>
      </p:pic>
      <p:pic>
        <p:nvPicPr>
          <p:cNvPr id="9" name="Picture 2" descr="C:\Temp\Drapeau_Japon.jpg"/>
          <p:cNvPicPr>
            <a:picLocks noChangeAspect="1" noChangeArrowheads="1"/>
          </p:cNvPicPr>
          <p:nvPr/>
        </p:nvPicPr>
        <p:blipFill>
          <a:blip r:embed="rId4" cstate="print"/>
          <a:srcRect/>
          <a:stretch>
            <a:fillRect/>
          </a:stretch>
        </p:blipFill>
        <p:spPr bwMode="auto">
          <a:xfrm>
            <a:off x="7232650" y="3352800"/>
            <a:ext cx="552450" cy="366713"/>
          </a:xfrm>
          <a:prstGeom prst="rect">
            <a:avLst/>
          </a:prstGeom>
          <a:noFill/>
          <a:ln w="9525">
            <a:noFill/>
            <a:miter lim="800000"/>
            <a:headEnd/>
            <a:tailEnd/>
          </a:ln>
        </p:spPr>
      </p:pic>
      <p:sp>
        <p:nvSpPr>
          <p:cNvPr id="11" name="Freeform 3"/>
          <p:cNvSpPr>
            <a:spLocks/>
          </p:cNvSpPr>
          <p:nvPr/>
        </p:nvSpPr>
        <p:spPr bwMode="auto">
          <a:xfrm>
            <a:off x="4375150" y="3036888"/>
            <a:ext cx="204788" cy="228600"/>
          </a:xfrm>
          <a:custGeom>
            <a:avLst/>
            <a:gdLst>
              <a:gd name="T0" fmla="*/ 2147483647 w 148"/>
              <a:gd name="T1" fmla="*/ 2147483647 h 156"/>
              <a:gd name="T2" fmla="*/ 2147483647 w 148"/>
              <a:gd name="T3" fmla="*/ 2147483647 h 156"/>
              <a:gd name="T4" fmla="*/ 2147483647 w 148"/>
              <a:gd name="T5" fmla="*/ 2147483647 h 156"/>
              <a:gd name="T6" fmla="*/ 2147483647 w 148"/>
              <a:gd name="T7" fmla="*/ 2147483647 h 156"/>
              <a:gd name="T8" fmla="*/ 2147483647 w 148"/>
              <a:gd name="T9" fmla="*/ 2147483647 h 156"/>
              <a:gd name="T10" fmla="*/ 2147483647 w 148"/>
              <a:gd name="T11" fmla="*/ 2147483647 h 156"/>
              <a:gd name="T12" fmla="*/ 2147483647 w 148"/>
              <a:gd name="T13" fmla="*/ 2147483647 h 156"/>
              <a:gd name="T14" fmla="*/ 2147483647 w 148"/>
              <a:gd name="T15" fmla="*/ 2147483647 h 156"/>
              <a:gd name="T16" fmla="*/ 2147483647 w 148"/>
              <a:gd name="T17" fmla="*/ 0 h 156"/>
              <a:gd name="T18" fmla="*/ 2147483647 w 148"/>
              <a:gd name="T19" fmla="*/ 2147483647 h 156"/>
              <a:gd name="T20" fmla="*/ 2147483647 w 148"/>
              <a:gd name="T21" fmla="*/ 0 h 156"/>
              <a:gd name="T22" fmla="*/ 2147483647 w 148"/>
              <a:gd name="T23" fmla="*/ 0 h 156"/>
              <a:gd name="T24" fmla="*/ 2147483647 w 148"/>
              <a:gd name="T25" fmla="*/ 2147483647 h 156"/>
              <a:gd name="T26" fmla="*/ 2147483647 w 148"/>
              <a:gd name="T27" fmla="*/ 2147483647 h 156"/>
              <a:gd name="T28" fmla="*/ 2147483647 w 148"/>
              <a:gd name="T29" fmla="*/ 2147483647 h 156"/>
              <a:gd name="T30" fmla="*/ 2147483647 w 148"/>
              <a:gd name="T31" fmla="*/ 2147483647 h 156"/>
              <a:gd name="T32" fmla="*/ 0 w 148"/>
              <a:gd name="T33" fmla="*/ 2147483647 h 156"/>
              <a:gd name="T34" fmla="*/ 0 w 148"/>
              <a:gd name="T35" fmla="*/ 2147483647 h 156"/>
              <a:gd name="T36" fmla="*/ 2147483647 w 148"/>
              <a:gd name="T37" fmla="*/ 2147483647 h 156"/>
              <a:gd name="T38" fmla="*/ 2147483647 w 148"/>
              <a:gd name="T39" fmla="*/ 2147483647 h 156"/>
              <a:gd name="T40" fmla="*/ 2147483647 w 148"/>
              <a:gd name="T41" fmla="*/ 2147483647 h 156"/>
              <a:gd name="T42" fmla="*/ 2147483647 w 148"/>
              <a:gd name="T43" fmla="*/ 2147483647 h 156"/>
              <a:gd name="T44" fmla="*/ 2147483647 w 148"/>
              <a:gd name="T45" fmla="*/ 2147483647 h 156"/>
              <a:gd name="T46" fmla="*/ 2147483647 w 148"/>
              <a:gd name="T47" fmla="*/ 2147483647 h 156"/>
              <a:gd name="T48" fmla="*/ 2147483647 w 148"/>
              <a:gd name="T49" fmla="*/ 2147483647 h 156"/>
              <a:gd name="T50" fmla="*/ 2147483647 w 148"/>
              <a:gd name="T51" fmla="*/ 2147483647 h 1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8"/>
              <a:gd name="T79" fmla="*/ 0 h 156"/>
              <a:gd name="T80" fmla="*/ 148 w 148"/>
              <a:gd name="T81" fmla="*/ 156 h 1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8" h="156">
                <a:moveTo>
                  <a:pt x="101" y="97"/>
                </a:moveTo>
                <a:lnTo>
                  <a:pt x="103" y="96"/>
                </a:lnTo>
                <a:lnTo>
                  <a:pt x="137" y="80"/>
                </a:lnTo>
                <a:lnTo>
                  <a:pt x="147" y="87"/>
                </a:lnTo>
                <a:lnTo>
                  <a:pt x="137" y="24"/>
                </a:lnTo>
                <a:lnTo>
                  <a:pt x="111" y="8"/>
                </a:lnTo>
                <a:lnTo>
                  <a:pt x="80" y="21"/>
                </a:lnTo>
                <a:lnTo>
                  <a:pt x="84" y="12"/>
                </a:lnTo>
                <a:lnTo>
                  <a:pt x="57" y="0"/>
                </a:lnTo>
                <a:lnTo>
                  <a:pt x="52" y="1"/>
                </a:lnTo>
                <a:lnTo>
                  <a:pt x="52" y="0"/>
                </a:lnTo>
                <a:lnTo>
                  <a:pt x="46" y="0"/>
                </a:lnTo>
                <a:lnTo>
                  <a:pt x="44" y="35"/>
                </a:lnTo>
                <a:lnTo>
                  <a:pt x="30" y="26"/>
                </a:lnTo>
                <a:lnTo>
                  <a:pt x="19" y="36"/>
                </a:lnTo>
                <a:lnTo>
                  <a:pt x="17" y="56"/>
                </a:lnTo>
                <a:lnTo>
                  <a:pt x="0" y="64"/>
                </a:lnTo>
                <a:lnTo>
                  <a:pt x="0" y="90"/>
                </a:lnTo>
                <a:lnTo>
                  <a:pt x="1" y="101"/>
                </a:lnTo>
                <a:lnTo>
                  <a:pt x="5" y="113"/>
                </a:lnTo>
                <a:lnTo>
                  <a:pt x="35" y="126"/>
                </a:lnTo>
                <a:lnTo>
                  <a:pt x="26" y="152"/>
                </a:lnTo>
                <a:lnTo>
                  <a:pt x="59" y="155"/>
                </a:lnTo>
                <a:lnTo>
                  <a:pt x="115" y="154"/>
                </a:lnTo>
                <a:lnTo>
                  <a:pt x="131" y="129"/>
                </a:lnTo>
                <a:lnTo>
                  <a:pt x="101" y="9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 name="Freeform 4"/>
          <p:cNvSpPr>
            <a:spLocks/>
          </p:cNvSpPr>
          <p:nvPr/>
        </p:nvSpPr>
        <p:spPr bwMode="auto">
          <a:xfrm>
            <a:off x="2684463" y="4014788"/>
            <a:ext cx="36512" cy="15875"/>
          </a:xfrm>
          <a:custGeom>
            <a:avLst/>
            <a:gdLst>
              <a:gd name="T0" fmla="*/ 0 w 26"/>
              <a:gd name="T1" fmla="*/ 0 h 10"/>
              <a:gd name="T2" fmla="*/ 2147483647 w 26"/>
              <a:gd name="T3" fmla="*/ 2147483647 h 10"/>
              <a:gd name="T4" fmla="*/ 2147483647 w 26"/>
              <a:gd name="T5" fmla="*/ 2147483647 h 10"/>
              <a:gd name="T6" fmla="*/ 0 w 26"/>
              <a:gd name="T7" fmla="*/ 0 h 10"/>
              <a:gd name="T8" fmla="*/ 0 60000 65536"/>
              <a:gd name="T9" fmla="*/ 0 60000 65536"/>
              <a:gd name="T10" fmla="*/ 0 60000 65536"/>
              <a:gd name="T11" fmla="*/ 0 60000 65536"/>
              <a:gd name="T12" fmla="*/ 0 w 26"/>
              <a:gd name="T13" fmla="*/ 0 h 10"/>
              <a:gd name="T14" fmla="*/ 26 w 26"/>
              <a:gd name="T15" fmla="*/ 10 h 10"/>
            </a:gdLst>
            <a:ahLst/>
            <a:cxnLst>
              <a:cxn ang="T8">
                <a:pos x="T0" y="T1"/>
              </a:cxn>
              <a:cxn ang="T9">
                <a:pos x="T2" y="T3"/>
              </a:cxn>
              <a:cxn ang="T10">
                <a:pos x="T4" y="T5"/>
              </a:cxn>
              <a:cxn ang="T11">
                <a:pos x="T6" y="T7"/>
              </a:cxn>
            </a:cxnLst>
            <a:rect l="T12" t="T13" r="T14" b="T15"/>
            <a:pathLst>
              <a:path w="26" h="10">
                <a:moveTo>
                  <a:pt x="0" y="0"/>
                </a:moveTo>
                <a:lnTo>
                  <a:pt x="3" y="9"/>
                </a:lnTo>
                <a:lnTo>
                  <a:pt x="25" y="4"/>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 name="Freeform 5"/>
          <p:cNvSpPr>
            <a:spLocks/>
          </p:cNvSpPr>
          <p:nvPr/>
        </p:nvSpPr>
        <p:spPr bwMode="auto">
          <a:xfrm>
            <a:off x="5638800" y="3516313"/>
            <a:ext cx="331788" cy="234950"/>
          </a:xfrm>
          <a:custGeom>
            <a:avLst/>
            <a:gdLst>
              <a:gd name="T0" fmla="*/ 0 w 241"/>
              <a:gd name="T1" fmla="*/ 2147483647 h 160"/>
              <a:gd name="T2" fmla="*/ 2147483647 w 241"/>
              <a:gd name="T3" fmla="*/ 2147483647 h 160"/>
              <a:gd name="T4" fmla="*/ 2147483647 w 241"/>
              <a:gd name="T5" fmla="*/ 2147483647 h 160"/>
              <a:gd name="T6" fmla="*/ 2147483647 w 241"/>
              <a:gd name="T7" fmla="*/ 2147483647 h 160"/>
              <a:gd name="T8" fmla="*/ 2147483647 w 241"/>
              <a:gd name="T9" fmla="*/ 2147483647 h 160"/>
              <a:gd name="T10" fmla="*/ 2147483647 w 241"/>
              <a:gd name="T11" fmla="*/ 2147483647 h 160"/>
              <a:gd name="T12" fmla="*/ 2147483647 w 241"/>
              <a:gd name="T13" fmla="*/ 2147483647 h 160"/>
              <a:gd name="T14" fmla="*/ 2147483647 w 241"/>
              <a:gd name="T15" fmla="*/ 2147483647 h 160"/>
              <a:gd name="T16" fmla="*/ 2147483647 w 241"/>
              <a:gd name="T17" fmla="*/ 2147483647 h 160"/>
              <a:gd name="T18" fmla="*/ 2147483647 w 241"/>
              <a:gd name="T19" fmla="*/ 2147483647 h 160"/>
              <a:gd name="T20" fmla="*/ 2147483647 w 241"/>
              <a:gd name="T21" fmla="*/ 2147483647 h 160"/>
              <a:gd name="T22" fmla="*/ 2147483647 w 241"/>
              <a:gd name="T23" fmla="*/ 2147483647 h 160"/>
              <a:gd name="T24" fmla="*/ 2147483647 w 241"/>
              <a:gd name="T25" fmla="*/ 2147483647 h 160"/>
              <a:gd name="T26" fmla="*/ 2147483647 w 241"/>
              <a:gd name="T27" fmla="*/ 2147483647 h 160"/>
              <a:gd name="T28" fmla="*/ 2147483647 w 241"/>
              <a:gd name="T29" fmla="*/ 2147483647 h 160"/>
              <a:gd name="T30" fmla="*/ 2147483647 w 241"/>
              <a:gd name="T31" fmla="*/ 2147483647 h 160"/>
              <a:gd name="T32" fmla="*/ 2147483647 w 241"/>
              <a:gd name="T33" fmla="*/ 2147483647 h 160"/>
              <a:gd name="T34" fmla="*/ 2147483647 w 241"/>
              <a:gd name="T35" fmla="*/ 2147483647 h 160"/>
              <a:gd name="T36" fmla="*/ 2147483647 w 241"/>
              <a:gd name="T37" fmla="*/ 0 h 160"/>
              <a:gd name="T38" fmla="*/ 2147483647 w 241"/>
              <a:gd name="T39" fmla="*/ 2147483647 h 160"/>
              <a:gd name="T40" fmla="*/ 2147483647 w 241"/>
              <a:gd name="T41" fmla="*/ 2147483647 h 160"/>
              <a:gd name="T42" fmla="*/ 2147483647 w 241"/>
              <a:gd name="T43" fmla="*/ 2147483647 h 160"/>
              <a:gd name="T44" fmla="*/ 2147483647 w 241"/>
              <a:gd name="T45" fmla="*/ 2147483647 h 160"/>
              <a:gd name="T46" fmla="*/ 0 w 241"/>
              <a:gd name="T47" fmla="*/ 2147483647 h 1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1"/>
              <a:gd name="T73" fmla="*/ 0 h 160"/>
              <a:gd name="T74" fmla="*/ 241 w 241"/>
              <a:gd name="T75" fmla="*/ 160 h 1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1" h="160">
                <a:moveTo>
                  <a:pt x="0" y="75"/>
                </a:moveTo>
                <a:lnTo>
                  <a:pt x="4" y="118"/>
                </a:lnTo>
                <a:lnTo>
                  <a:pt x="20" y="129"/>
                </a:lnTo>
                <a:lnTo>
                  <a:pt x="6" y="151"/>
                </a:lnTo>
                <a:lnTo>
                  <a:pt x="32" y="159"/>
                </a:lnTo>
                <a:lnTo>
                  <a:pt x="95" y="151"/>
                </a:lnTo>
                <a:lnTo>
                  <a:pt x="106" y="127"/>
                </a:lnTo>
                <a:lnTo>
                  <a:pt x="147" y="116"/>
                </a:lnTo>
                <a:lnTo>
                  <a:pt x="152" y="95"/>
                </a:lnTo>
                <a:lnTo>
                  <a:pt x="166" y="91"/>
                </a:lnTo>
                <a:lnTo>
                  <a:pt x="158" y="79"/>
                </a:lnTo>
                <a:lnTo>
                  <a:pt x="176" y="78"/>
                </a:lnTo>
                <a:lnTo>
                  <a:pt x="187" y="59"/>
                </a:lnTo>
                <a:lnTo>
                  <a:pt x="182" y="41"/>
                </a:lnTo>
                <a:lnTo>
                  <a:pt x="238" y="27"/>
                </a:lnTo>
                <a:lnTo>
                  <a:pt x="240" y="21"/>
                </a:lnTo>
                <a:lnTo>
                  <a:pt x="216" y="16"/>
                </a:lnTo>
                <a:lnTo>
                  <a:pt x="188" y="30"/>
                </a:lnTo>
                <a:lnTo>
                  <a:pt x="174" y="0"/>
                </a:lnTo>
                <a:lnTo>
                  <a:pt x="148" y="23"/>
                </a:lnTo>
                <a:lnTo>
                  <a:pt x="75" y="21"/>
                </a:lnTo>
                <a:lnTo>
                  <a:pt x="38" y="57"/>
                </a:lnTo>
                <a:lnTo>
                  <a:pt x="12" y="45"/>
                </a:lnTo>
                <a:lnTo>
                  <a:pt x="0" y="7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 name="Freeform 6"/>
          <p:cNvSpPr>
            <a:spLocks/>
          </p:cNvSpPr>
          <p:nvPr/>
        </p:nvSpPr>
        <p:spPr bwMode="auto">
          <a:xfrm>
            <a:off x="4686300" y="3403600"/>
            <a:ext cx="42863" cy="79375"/>
          </a:xfrm>
          <a:custGeom>
            <a:avLst/>
            <a:gdLst>
              <a:gd name="T0" fmla="*/ 0 w 31"/>
              <a:gd name="T1" fmla="*/ 2147483647 h 54"/>
              <a:gd name="T2" fmla="*/ 0 w 31"/>
              <a:gd name="T3" fmla="*/ 2147483647 h 54"/>
              <a:gd name="T4" fmla="*/ 2147483647 w 31"/>
              <a:gd name="T5" fmla="*/ 0 h 54"/>
              <a:gd name="T6" fmla="*/ 2147483647 w 31"/>
              <a:gd name="T7" fmla="*/ 2147483647 h 54"/>
              <a:gd name="T8" fmla="*/ 2147483647 w 31"/>
              <a:gd name="T9" fmla="*/ 2147483647 h 54"/>
              <a:gd name="T10" fmla="*/ 0 w 31"/>
              <a:gd name="T11" fmla="*/ 2147483647 h 54"/>
              <a:gd name="T12" fmla="*/ 0 60000 65536"/>
              <a:gd name="T13" fmla="*/ 0 60000 65536"/>
              <a:gd name="T14" fmla="*/ 0 60000 65536"/>
              <a:gd name="T15" fmla="*/ 0 60000 65536"/>
              <a:gd name="T16" fmla="*/ 0 60000 65536"/>
              <a:gd name="T17" fmla="*/ 0 60000 65536"/>
              <a:gd name="T18" fmla="*/ 0 w 31"/>
              <a:gd name="T19" fmla="*/ 0 h 54"/>
              <a:gd name="T20" fmla="*/ 31 w 31"/>
              <a:gd name="T21" fmla="*/ 54 h 54"/>
            </a:gdLst>
            <a:ahLst/>
            <a:cxnLst>
              <a:cxn ang="T12">
                <a:pos x="T0" y="T1"/>
              </a:cxn>
              <a:cxn ang="T13">
                <a:pos x="T2" y="T3"/>
              </a:cxn>
              <a:cxn ang="T14">
                <a:pos x="T4" y="T5"/>
              </a:cxn>
              <a:cxn ang="T15">
                <a:pos x="T6" y="T7"/>
              </a:cxn>
              <a:cxn ang="T16">
                <a:pos x="T8" y="T9"/>
              </a:cxn>
              <a:cxn ang="T17">
                <a:pos x="T10" y="T11"/>
              </a:cxn>
            </a:cxnLst>
            <a:rect l="T18" t="T19" r="T20" b="T21"/>
            <a:pathLst>
              <a:path w="31" h="54">
                <a:moveTo>
                  <a:pt x="0" y="39"/>
                </a:moveTo>
                <a:lnTo>
                  <a:pt x="0" y="12"/>
                </a:lnTo>
                <a:lnTo>
                  <a:pt x="15" y="0"/>
                </a:lnTo>
                <a:lnTo>
                  <a:pt x="30" y="31"/>
                </a:lnTo>
                <a:lnTo>
                  <a:pt x="15" y="53"/>
                </a:lnTo>
                <a:lnTo>
                  <a:pt x="0" y="3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 name="Freeform 7"/>
          <p:cNvSpPr>
            <a:spLocks/>
          </p:cNvSpPr>
          <p:nvPr/>
        </p:nvSpPr>
        <p:spPr bwMode="auto">
          <a:xfrm>
            <a:off x="4041775" y="3556000"/>
            <a:ext cx="468313" cy="447675"/>
          </a:xfrm>
          <a:custGeom>
            <a:avLst/>
            <a:gdLst>
              <a:gd name="T0" fmla="*/ 0 w 341"/>
              <a:gd name="T1" fmla="*/ 2147483647 h 306"/>
              <a:gd name="T2" fmla="*/ 0 w 341"/>
              <a:gd name="T3" fmla="*/ 2147483647 h 306"/>
              <a:gd name="T4" fmla="*/ 2147483647 w 341"/>
              <a:gd name="T5" fmla="*/ 2147483647 h 306"/>
              <a:gd name="T6" fmla="*/ 2147483647 w 341"/>
              <a:gd name="T7" fmla="*/ 2147483647 h 306"/>
              <a:gd name="T8" fmla="*/ 2147483647 w 341"/>
              <a:gd name="T9" fmla="*/ 2147483647 h 306"/>
              <a:gd name="T10" fmla="*/ 2147483647 w 341"/>
              <a:gd name="T11" fmla="*/ 2147483647 h 306"/>
              <a:gd name="T12" fmla="*/ 2147483647 w 341"/>
              <a:gd name="T13" fmla="*/ 2147483647 h 306"/>
              <a:gd name="T14" fmla="*/ 2147483647 w 341"/>
              <a:gd name="T15" fmla="*/ 2147483647 h 306"/>
              <a:gd name="T16" fmla="*/ 2147483647 w 341"/>
              <a:gd name="T17" fmla="*/ 2147483647 h 306"/>
              <a:gd name="T18" fmla="*/ 2147483647 w 341"/>
              <a:gd name="T19" fmla="*/ 2147483647 h 306"/>
              <a:gd name="T20" fmla="*/ 2147483647 w 341"/>
              <a:gd name="T21" fmla="*/ 2147483647 h 306"/>
              <a:gd name="T22" fmla="*/ 2147483647 w 341"/>
              <a:gd name="T23" fmla="*/ 2147483647 h 306"/>
              <a:gd name="T24" fmla="*/ 2147483647 w 341"/>
              <a:gd name="T25" fmla="*/ 2147483647 h 306"/>
              <a:gd name="T26" fmla="*/ 2147483647 w 341"/>
              <a:gd name="T27" fmla="*/ 0 h 306"/>
              <a:gd name="T28" fmla="*/ 2147483647 w 341"/>
              <a:gd name="T29" fmla="*/ 2147483647 h 306"/>
              <a:gd name="T30" fmla="*/ 2147483647 w 341"/>
              <a:gd name="T31" fmla="*/ 2147483647 h 306"/>
              <a:gd name="T32" fmla="*/ 2147483647 w 341"/>
              <a:gd name="T33" fmla="*/ 2147483647 h 306"/>
              <a:gd name="T34" fmla="*/ 2147483647 w 341"/>
              <a:gd name="T35" fmla="*/ 2147483647 h 306"/>
              <a:gd name="T36" fmla="*/ 2147483647 w 341"/>
              <a:gd name="T37" fmla="*/ 2147483647 h 306"/>
              <a:gd name="T38" fmla="*/ 2147483647 w 341"/>
              <a:gd name="T39" fmla="*/ 2147483647 h 306"/>
              <a:gd name="T40" fmla="*/ 2147483647 w 341"/>
              <a:gd name="T41" fmla="*/ 2147483647 h 306"/>
              <a:gd name="T42" fmla="*/ 0 w 341"/>
              <a:gd name="T43" fmla="*/ 2147483647 h 3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1"/>
              <a:gd name="T67" fmla="*/ 0 h 306"/>
              <a:gd name="T68" fmla="*/ 341 w 341"/>
              <a:gd name="T69" fmla="*/ 306 h 3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1" h="306">
                <a:moveTo>
                  <a:pt x="0" y="161"/>
                </a:moveTo>
                <a:lnTo>
                  <a:pt x="0" y="168"/>
                </a:lnTo>
                <a:lnTo>
                  <a:pt x="62" y="206"/>
                </a:lnTo>
                <a:lnTo>
                  <a:pt x="197" y="291"/>
                </a:lnTo>
                <a:lnTo>
                  <a:pt x="198" y="305"/>
                </a:lnTo>
                <a:lnTo>
                  <a:pt x="213" y="303"/>
                </a:lnTo>
                <a:lnTo>
                  <a:pt x="239" y="296"/>
                </a:lnTo>
                <a:lnTo>
                  <a:pt x="340" y="231"/>
                </a:lnTo>
                <a:lnTo>
                  <a:pt x="300" y="187"/>
                </a:lnTo>
                <a:lnTo>
                  <a:pt x="300" y="117"/>
                </a:lnTo>
                <a:lnTo>
                  <a:pt x="295" y="86"/>
                </a:lnTo>
                <a:lnTo>
                  <a:pt x="268" y="53"/>
                </a:lnTo>
                <a:lnTo>
                  <a:pt x="282" y="42"/>
                </a:lnTo>
                <a:lnTo>
                  <a:pt x="291" y="0"/>
                </a:lnTo>
                <a:lnTo>
                  <a:pt x="169" y="7"/>
                </a:lnTo>
                <a:lnTo>
                  <a:pt x="108" y="32"/>
                </a:lnTo>
                <a:lnTo>
                  <a:pt x="125" y="83"/>
                </a:lnTo>
                <a:lnTo>
                  <a:pt x="96" y="85"/>
                </a:lnTo>
                <a:lnTo>
                  <a:pt x="82" y="92"/>
                </a:lnTo>
                <a:lnTo>
                  <a:pt x="84" y="104"/>
                </a:lnTo>
                <a:lnTo>
                  <a:pt x="7" y="136"/>
                </a:lnTo>
                <a:lnTo>
                  <a:pt x="0" y="16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 name="Freeform 8"/>
          <p:cNvSpPr>
            <a:spLocks/>
          </p:cNvSpPr>
          <p:nvPr/>
        </p:nvSpPr>
        <p:spPr bwMode="auto">
          <a:xfrm>
            <a:off x="4510088" y="4578350"/>
            <a:ext cx="288925" cy="287338"/>
          </a:xfrm>
          <a:custGeom>
            <a:avLst/>
            <a:gdLst>
              <a:gd name="T0" fmla="*/ 0 w 210"/>
              <a:gd name="T1" fmla="*/ 2147483647 h 196"/>
              <a:gd name="T2" fmla="*/ 2147483647 w 210"/>
              <a:gd name="T3" fmla="*/ 2147483647 h 196"/>
              <a:gd name="T4" fmla="*/ 2147483647 w 210"/>
              <a:gd name="T5" fmla="*/ 2147483647 h 196"/>
              <a:gd name="T6" fmla="*/ 2147483647 w 210"/>
              <a:gd name="T7" fmla="*/ 2147483647 h 196"/>
              <a:gd name="T8" fmla="*/ 2147483647 w 210"/>
              <a:gd name="T9" fmla="*/ 2147483647 h 196"/>
              <a:gd name="T10" fmla="*/ 2147483647 w 210"/>
              <a:gd name="T11" fmla="*/ 2147483647 h 196"/>
              <a:gd name="T12" fmla="*/ 2147483647 w 210"/>
              <a:gd name="T13" fmla="*/ 2147483647 h 196"/>
              <a:gd name="T14" fmla="*/ 2147483647 w 210"/>
              <a:gd name="T15" fmla="*/ 2147483647 h 196"/>
              <a:gd name="T16" fmla="*/ 2147483647 w 210"/>
              <a:gd name="T17" fmla="*/ 2147483647 h 196"/>
              <a:gd name="T18" fmla="*/ 2147483647 w 210"/>
              <a:gd name="T19" fmla="*/ 2147483647 h 196"/>
              <a:gd name="T20" fmla="*/ 2147483647 w 210"/>
              <a:gd name="T21" fmla="*/ 2147483647 h 196"/>
              <a:gd name="T22" fmla="*/ 2147483647 w 210"/>
              <a:gd name="T23" fmla="*/ 2147483647 h 196"/>
              <a:gd name="T24" fmla="*/ 2147483647 w 210"/>
              <a:gd name="T25" fmla="*/ 2147483647 h 196"/>
              <a:gd name="T26" fmla="*/ 2147483647 w 210"/>
              <a:gd name="T27" fmla="*/ 2147483647 h 196"/>
              <a:gd name="T28" fmla="*/ 2147483647 w 210"/>
              <a:gd name="T29" fmla="*/ 0 h 196"/>
              <a:gd name="T30" fmla="*/ 2147483647 w 210"/>
              <a:gd name="T31" fmla="*/ 2147483647 h 196"/>
              <a:gd name="T32" fmla="*/ 2147483647 w 210"/>
              <a:gd name="T33" fmla="*/ 2147483647 h 196"/>
              <a:gd name="T34" fmla="*/ 0 w 210"/>
              <a:gd name="T35" fmla="*/ 2147483647 h 1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0"/>
              <a:gd name="T55" fmla="*/ 0 h 196"/>
              <a:gd name="T56" fmla="*/ 210 w 210"/>
              <a:gd name="T57" fmla="*/ 196 h 1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0" h="196">
                <a:moveTo>
                  <a:pt x="0" y="182"/>
                </a:moveTo>
                <a:lnTo>
                  <a:pt x="24" y="175"/>
                </a:lnTo>
                <a:lnTo>
                  <a:pt x="164" y="195"/>
                </a:lnTo>
                <a:lnTo>
                  <a:pt x="193" y="188"/>
                </a:lnTo>
                <a:lnTo>
                  <a:pt x="174" y="172"/>
                </a:lnTo>
                <a:lnTo>
                  <a:pt x="174" y="113"/>
                </a:lnTo>
                <a:lnTo>
                  <a:pt x="209" y="113"/>
                </a:lnTo>
                <a:lnTo>
                  <a:pt x="207" y="79"/>
                </a:lnTo>
                <a:lnTo>
                  <a:pt x="171" y="84"/>
                </a:lnTo>
                <a:lnTo>
                  <a:pt x="169" y="27"/>
                </a:lnTo>
                <a:lnTo>
                  <a:pt x="153" y="17"/>
                </a:lnTo>
                <a:lnTo>
                  <a:pt x="132" y="19"/>
                </a:lnTo>
                <a:lnTo>
                  <a:pt x="127" y="35"/>
                </a:lnTo>
                <a:lnTo>
                  <a:pt x="103" y="36"/>
                </a:lnTo>
                <a:lnTo>
                  <a:pt x="77" y="0"/>
                </a:lnTo>
                <a:lnTo>
                  <a:pt x="10" y="7"/>
                </a:lnTo>
                <a:lnTo>
                  <a:pt x="37" y="80"/>
                </a:lnTo>
                <a:lnTo>
                  <a:pt x="0" y="18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 name="Freeform 9"/>
          <p:cNvSpPr>
            <a:spLocks/>
          </p:cNvSpPr>
          <p:nvPr/>
        </p:nvSpPr>
        <p:spPr bwMode="auto">
          <a:xfrm>
            <a:off x="4516438" y="4551363"/>
            <a:ext cx="22225" cy="28575"/>
          </a:xfrm>
          <a:custGeom>
            <a:avLst/>
            <a:gdLst>
              <a:gd name="T0" fmla="*/ 0 w 16"/>
              <a:gd name="T1" fmla="*/ 2147483647 h 20"/>
              <a:gd name="T2" fmla="*/ 2147483647 w 16"/>
              <a:gd name="T3" fmla="*/ 2147483647 h 20"/>
              <a:gd name="T4" fmla="*/ 2147483647 w 16"/>
              <a:gd name="T5" fmla="*/ 0 h 20"/>
              <a:gd name="T6" fmla="*/ 0 w 16"/>
              <a:gd name="T7" fmla="*/ 2147483647 h 20"/>
              <a:gd name="T8" fmla="*/ 0 60000 65536"/>
              <a:gd name="T9" fmla="*/ 0 60000 65536"/>
              <a:gd name="T10" fmla="*/ 0 60000 65536"/>
              <a:gd name="T11" fmla="*/ 0 60000 65536"/>
              <a:gd name="T12" fmla="*/ 0 w 16"/>
              <a:gd name="T13" fmla="*/ 0 h 20"/>
              <a:gd name="T14" fmla="*/ 16 w 16"/>
              <a:gd name="T15" fmla="*/ 20 h 20"/>
            </a:gdLst>
            <a:ahLst/>
            <a:cxnLst>
              <a:cxn ang="T8">
                <a:pos x="T0" y="T1"/>
              </a:cxn>
              <a:cxn ang="T9">
                <a:pos x="T2" y="T3"/>
              </a:cxn>
              <a:cxn ang="T10">
                <a:pos x="T4" y="T5"/>
              </a:cxn>
              <a:cxn ang="T11">
                <a:pos x="T6" y="T7"/>
              </a:cxn>
            </a:cxnLst>
            <a:rect l="T12" t="T13" r="T14" b="T15"/>
            <a:pathLst>
              <a:path w="16" h="20">
                <a:moveTo>
                  <a:pt x="0" y="6"/>
                </a:moveTo>
                <a:lnTo>
                  <a:pt x="3" y="19"/>
                </a:lnTo>
                <a:lnTo>
                  <a:pt x="15" y="0"/>
                </a:lnTo>
                <a:lnTo>
                  <a:pt x="0" y="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 name="Freeform 10"/>
          <p:cNvSpPr>
            <a:spLocks/>
          </p:cNvSpPr>
          <p:nvPr/>
        </p:nvSpPr>
        <p:spPr bwMode="auto">
          <a:xfrm>
            <a:off x="2543175" y="4951413"/>
            <a:ext cx="452438" cy="819150"/>
          </a:xfrm>
          <a:custGeom>
            <a:avLst/>
            <a:gdLst>
              <a:gd name="T0" fmla="*/ 0 w 329"/>
              <a:gd name="T1" fmla="*/ 2147483647 h 560"/>
              <a:gd name="T2" fmla="*/ 2147483647 w 329"/>
              <a:gd name="T3" fmla="*/ 2147483647 h 560"/>
              <a:gd name="T4" fmla="*/ 2147483647 w 329"/>
              <a:gd name="T5" fmla="*/ 2147483647 h 560"/>
              <a:gd name="T6" fmla="*/ 2147483647 w 329"/>
              <a:gd name="T7" fmla="*/ 2147483647 h 560"/>
              <a:gd name="T8" fmla="*/ 2147483647 w 329"/>
              <a:gd name="T9" fmla="*/ 2147483647 h 560"/>
              <a:gd name="T10" fmla="*/ 2147483647 w 329"/>
              <a:gd name="T11" fmla="*/ 2147483647 h 560"/>
              <a:gd name="T12" fmla="*/ 2147483647 w 329"/>
              <a:gd name="T13" fmla="*/ 2147483647 h 560"/>
              <a:gd name="T14" fmla="*/ 2147483647 w 329"/>
              <a:gd name="T15" fmla="*/ 2147483647 h 560"/>
              <a:gd name="T16" fmla="*/ 2147483647 w 329"/>
              <a:gd name="T17" fmla="*/ 2147483647 h 560"/>
              <a:gd name="T18" fmla="*/ 2147483647 w 329"/>
              <a:gd name="T19" fmla="*/ 2147483647 h 560"/>
              <a:gd name="T20" fmla="*/ 2147483647 w 329"/>
              <a:gd name="T21" fmla="*/ 2147483647 h 560"/>
              <a:gd name="T22" fmla="*/ 2147483647 w 329"/>
              <a:gd name="T23" fmla="*/ 2147483647 h 560"/>
              <a:gd name="T24" fmla="*/ 2147483647 w 329"/>
              <a:gd name="T25" fmla="*/ 2147483647 h 560"/>
              <a:gd name="T26" fmla="*/ 2147483647 w 329"/>
              <a:gd name="T27" fmla="*/ 2147483647 h 560"/>
              <a:gd name="T28" fmla="*/ 2147483647 w 329"/>
              <a:gd name="T29" fmla="*/ 2147483647 h 560"/>
              <a:gd name="T30" fmla="*/ 2147483647 w 329"/>
              <a:gd name="T31" fmla="*/ 2147483647 h 560"/>
              <a:gd name="T32" fmla="*/ 2147483647 w 329"/>
              <a:gd name="T33" fmla="*/ 2147483647 h 560"/>
              <a:gd name="T34" fmla="*/ 2147483647 w 329"/>
              <a:gd name="T35" fmla="*/ 2147483647 h 560"/>
              <a:gd name="T36" fmla="*/ 2147483647 w 329"/>
              <a:gd name="T37" fmla="*/ 2147483647 h 560"/>
              <a:gd name="T38" fmla="*/ 2147483647 w 329"/>
              <a:gd name="T39" fmla="*/ 2147483647 h 560"/>
              <a:gd name="T40" fmla="*/ 2147483647 w 329"/>
              <a:gd name="T41" fmla="*/ 2147483647 h 560"/>
              <a:gd name="T42" fmla="*/ 2147483647 w 329"/>
              <a:gd name="T43" fmla="*/ 2147483647 h 560"/>
              <a:gd name="T44" fmla="*/ 2147483647 w 329"/>
              <a:gd name="T45" fmla="*/ 2147483647 h 560"/>
              <a:gd name="T46" fmla="*/ 2147483647 w 329"/>
              <a:gd name="T47" fmla="*/ 2147483647 h 560"/>
              <a:gd name="T48" fmla="*/ 2147483647 w 329"/>
              <a:gd name="T49" fmla="*/ 2147483647 h 560"/>
              <a:gd name="T50" fmla="*/ 2147483647 w 329"/>
              <a:gd name="T51" fmla="*/ 2147483647 h 560"/>
              <a:gd name="T52" fmla="*/ 2147483647 w 329"/>
              <a:gd name="T53" fmla="*/ 2147483647 h 560"/>
              <a:gd name="T54" fmla="*/ 2147483647 w 329"/>
              <a:gd name="T55" fmla="*/ 2147483647 h 560"/>
              <a:gd name="T56" fmla="*/ 2147483647 w 329"/>
              <a:gd name="T57" fmla="*/ 2147483647 h 560"/>
              <a:gd name="T58" fmla="*/ 2147483647 w 329"/>
              <a:gd name="T59" fmla="*/ 2147483647 h 560"/>
              <a:gd name="T60" fmla="*/ 2147483647 w 329"/>
              <a:gd name="T61" fmla="*/ 2147483647 h 560"/>
              <a:gd name="T62" fmla="*/ 2147483647 w 329"/>
              <a:gd name="T63" fmla="*/ 2147483647 h 560"/>
              <a:gd name="T64" fmla="*/ 2147483647 w 329"/>
              <a:gd name="T65" fmla="*/ 2147483647 h 560"/>
              <a:gd name="T66" fmla="*/ 2147483647 w 329"/>
              <a:gd name="T67" fmla="*/ 2147483647 h 560"/>
              <a:gd name="T68" fmla="*/ 2147483647 w 329"/>
              <a:gd name="T69" fmla="*/ 0 h 560"/>
              <a:gd name="T70" fmla="*/ 2147483647 w 329"/>
              <a:gd name="T71" fmla="*/ 2147483647 h 560"/>
              <a:gd name="T72" fmla="*/ 2147483647 w 329"/>
              <a:gd name="T73" fmla="*/ 2147483647 h 560"/>
              <a:gd name="T74" fmla="*/ 2147483647 w 329"/>
              <a:gd name="T75" fmla="*/ 2147483647 h 560"/>
              <a:gd name="T76" fmla="*/ 2147483647 w 329"/>
              <a:gd name="T77" fmla="*/ 2147483647 h 560"/>
              <a:gd name="T78" fmla="*/ 2147483647 w 329"/>
              <a:gd name="T79" fmla="*/ 2147483647 h 560"/>
              <a:gd name="T80" fmla="*/ 2147483647 w 329"/>
              <a:gd name="T81" fmla="*/ 2147483647 h 560"/>
              <a:gd name="T82" fmla="*/ 2147483647 w 329"/>
              <a:gd name="T83" fmla="*/ 2147483647 h 560"/>
              <a:gd name="T84" fmla="*/ 2147483647 w 329"/>
              <a:gd name="T85" fmla="*/ 2147483647 h 560"/>
              <a:gd name="T86" fmla="*/ 2147483647 w 329"/>
              <a:gd name="T87" fmla="*/ 2147483647 h 560"/>
              <a:gd name="T88" fmla="*/ 2147483647 w 329"/>
              <a:gd name="T89" fmla="*/ 2147483647 h 560"/>
              <a:gd name="T90" fmla="*/ 2147483647 w 329"/>
              <a:gd name="T91" fmla="*/ 2147483647 h 560"/>
              <a:gd name="T92" fmla="*/ 2147483647 w 329"/>
              <a:gd name="T93" fmla="*/ 2147483647 h 560"/>
              <a:gd name="T94" fmla="*/ 0 w 329"/>
              <a:gd name="T95" fmla="*/ 2147483647 h 5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9"/>
              <a:gd name="T145" fmla="*/ 0 h 560"/>
              <a:gd name="T146" fmla="*/ 329 w 329"/>
              <a:gd name="T147" fmla="*/ 560 h 56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9" h="560">
                <a:moveTo>
                  <a:pt x="0" y="516"/>
                </a:moveTo>
                <a:lnTo>
                  <a:pt x="1" y="529"/>
                </a:lnTo>
                <a:lnTo>
                  <a:pt x="17" y="526"/>
                </a:lnTo>
                <a:lnTo>
                  <a:pt x="22" y="553"/>
                </a:lnTo>
                <a:lnTo>
                  <a:pt x="84" y="559"/>
                </a:lnTo>
                <a:lnTo>
                  <a:pt x="68" y="545"/>
                </a:lnTo>
                <a:lnTo>
                  <a:pt x="78" y="506"/>
                </a:lnTo>
                <a:lnTo>
                  <a:pt x="90" y="513"/>
                </a:lnTo>
                <a:lnTo>
                  <a:pt x="129" y="461"/>
                </a:lnTo>
                <a:lnTo>
                  <a:pt x="97" y="431"/>
                </a:lnTo>
                <a:lnTo>
                  <a:pt x="132" y="414"/>
                </a:lnTo>
                <a:lnTo>
                  <a:pt x="137" y="386"/>
                </a:lnTo>
                <a:lnTo>
                  <a:pt x="152" y="373"/>
                </a:lnTo>
                <a:lnTo>
                  <a:pt x="139" y="368"/>
                </a:lnTo>
                <a:lnTo>
                  <a:pt x="163" y="368"/>
                </a:lnTo>
                <a:lnTo>
                  <a:pt x="160" y="357"/>
                </a:lnTo>
                <a:lnTo>
                  <a:pt x="148" y="363"/>
                </a:lnTo>
                <a:lnTo>
                  <a:pt x="139" y="356"/>
                </a:lnTo>
                <a:lnTo>
                  <a:pt x="138" y="334"/>
                </a:lnTo>
                <a:lnTo>
                  <a:pt x="182" y="334"/>
                </a:lnTo>
                <a:lnTo>
                  <a:pt x="185" y="294"/>
                </a:lnTo>
                <a:lnTo>
                  <a:pt x="258" y="288"/>
                </a:lnTo>
                <a:lnTo>
                  <a:pt x="280" y="259"/>
                </a:lnTo>
                <a:lnTo>
                  <a:pt x="249" y="208"/>
                </a:lnTo>
                <a:lnTo>
                  <a:pt x="264" y="143"/>
                </a:lnTo>
                <a:lnTo>
                  <a:pt x="328" y="89"/>
                </a:lnTo>
                <a:lnTo>
                  <a:pt x="326" y="65"/>
                </a:lnTo>
                <a:lnTo>
                  <a:pt x="316" y="64"/>
                </a:lnTo>
                <a:lnTo>
                  <a:pt x="297" y="93"/>
                </a:lnTo>
                <a:lnTo>
                  <a:pt x="250" y="91"/>
                </a:lnTo>
                <a:lnTo>
                  <a:pt x="260" y="59"/>
                </a:lnTo>
                <a:lnTo>
                  <a:pt x="179" y="9"/>
                </a:lnTo>
                <a:lnTo>
                  <a:pt x="155" y="6"/>
                </a:lnTo>
                <a:lnTo>
                  <a:pt x="150" y="15"/>
                </a:lnTo>
                <a:lnTo>
                  <a:pt x="120" y="0"/>
                </a:lnTo>
                <a:lnTo>
                  <a:pt x="102" y="19"/>
                </a:lnTo>
                <a:lnTo>
                  <a:pt x="102" y="37"/>
                </a:lnTo>
                <a:lnTo>
                  <a:pt x="83" y="46"/>
                </a:lnTo>
                <a:lnTo>
                  <a:pt x="84" y="86"/>
                </a:lnTo>
                <a:lnTo>
                  <a:pt x="64" y="107"/>
                </a:lnTo>
                <a:lnTo>
                  <a:pt x="48" y="162"/>
                </a:lnTo>
                <a:lnTo>
                  <a:pt x="58" y="210"/>
                </a:lnTo>
                <a:lnTo>
                  <a:pt x="37" y="257"/>
                </a:lnTo>
                <a:lnTo>
                  <a:pt x="22" y="364"/>
                </a:lnTo>
                <a:lnTo>
                  <a:pt x="35" y="406"/>
                </a:lnTo>
                <a:lnTo>
                  <a:pt x="22" y="408"/>
                </a:lnTo>
                <a:lnTo>
                  <a:pt x="28" y="444"/>
                </a:lnTo>
                <a:lnTo>
                  <a:pt x="0" y="51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 name="Freeform 11"/>
          <p:cNvSpPr>
            <a:spLocks/>
          </p:cNvSpPr>
          <p:nvPr/>
        </p:nvSpPr>
        <p:spPr bwMode="auto">
          <a:xfrm>
            <a:off x="2652713" y="5780088"/>
            <a:ext cx="82550" cy="69850"/>
          </a:xfrm>
          <a:custGeom>
            <a:avLst/>
            <a:gdLst>
              <a:gd name="T0" fmla="*/ 0 w 61"/>
              <a:gd name="T1" fmla="*/ 0 h 48"/>
              <a:gd name="T2" fmla="*/ 2147483647 w 61"/>
              <a:gd name="T3" fmla="*/ 2147483647 h 48"/>
              <a:gd name="T4" fmla="*/ 2147483647 w 61"/>
              <a:gd name="T5" fmla="*/ 2147483647 h 48"/>
              <a:gd name="T6" fmla="*/ 2147483647 w 61"/>
              <a:gd name="T7" fmla="*/ 2147483647 h 48"/>
              <a:gd name="T8" fmla="*/ 0 w 61"/>
              <a:gd name="T9" fmla="*/ 0 h 48"/>
              <a:gd name="T10" fmla="*/ 0 60000 65536"/>
              <a:gd name="T11" fmla="*/ 0 60000 65536"/>
              <a:gd name="T12" fmla="*/ 0 60000 65536"/>
              <a:gd name="T13" fmla="*/ 0 60000 65536"/>
              <a:gd name="T14" fmla="*/ 0 60000 65536"/>
              <a:gd name="T15" fmla="*/ 0 w 61"/>
              <a:gd name="T16" fmla="*/ 0 h 48"/>
              <a:gd name="T17" fmla="*/ 61 w 61"/>
              <a:gd name="T18" fmla="*/ 48 h 48"/>
            </a:gdLst>
            <a:ahLst/>
            <a:cxnLst>
              <a:cxn ang="T10">
                <a:pos x="T0" y="T1"/>
              </a:cxn>
              <a:cxn ang="T11">
                <a:pos x="T2" y="T3"/>
              </a:cxn>
              <a:cxn ang="T12">
                <a:pos x="T4" y="T5"/>
              </a:cxn>
              <a:cxn ang="T13">
                <a:pos x="T6" y="T7"/>
              </a:cxn>
              <a:cxn ang="T14">
                <a:pos x="T8" y="T9"/>
              </a:cxn>
            </a:cxnLst>
            <a:rect l="T15" t="T16" r="T17" b="T18"/>
            <a:pathLst>
              <a:path w="61" h="48">
                <a:moveTo>
                  <a:pt x="0" y="0"/>
                </a:moveTo>
                <a:lnTo>
                  <a:pt x="2" y="47"/>
                </a:lnTo>
                <a:lnTo>
                  <a:pt x="60" y="44"/>
                </a:lnTo>
                <a:lnTo>
                  <a:pt x="15" y="22"/>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 name="Freeform 12"/>
          <p:cNvSpPr>
            <a:spLocks/>
          </p:cNvSpPr>
          <p:nvPr/>
        </p:nvSpPr>
        <p:spPr bwMode="auto">
          <a:xfrm>
            <a:off x="6856413" y="4691063"/>
            <a:ext cx="935037" cy="701675"/>
          </a:xfrm>
          <a:custGeom>
            <a:avLst/>
            <a:gdLst>
              <a:gd name="T0" fmla="*/ 2147483647 w 680"/>
              <a:gd name="T1" fmla="*/ 2147483647 h 480"/>
              <a:gd name="T2" fmla="*/ 2147483647 w 680"/>
              <a:gd name="T3" fmla="*/ 2147483647 h 480"/>
              <a:gd name="T4" fmla="*/ 2147483647 w 680"/>
              <a:gd name="T5" fmla="*/ 2147483647 h 480"/>
              <a:gd name="T6" fmla="*/ 2147483647 w 680"/>
              <a:gd name="T7" fmla="*/ 2147483647 h 480"/>
              <a:gd name="T8" fmla="*/ 2147483647 w 680"/>
              <a:gd name="T9" fmla="*/ 2147483647 h 480"/>
              <a:gd name="T10" fmla="*/ 2147483647 w 680"/>
              <a:gd name="T11" fmla="*/ 2147483647 h 480"/>
              <a:gd name="T12" fmla="*/ 2147483647 w 680"/>
              <a:gd name="T13" fmla="*/ 2147483647 h 480"/>
              <a:gd name="T14" fmla="*/ 2147483647 w 680"/>
              <a:gd name="T15" fmla="*/ 2147483647 h 480"/>
              <a:gd name="T16" fmla="*/ 2147483647 w 680"/>
              <a:gd name="T17" fmla="*/ 2147483647 h 480"/>
              <a:gd name="T18" fmla="*/ 2147483647 w 680"/>
              <a:gd name="T19" fmla="*/ 2147483647 h 480"/>
              <a:gd name="T20" fmla="*/ 2147483647 w 680"/>
              <a:gd name="T21" fmla="*/ 2147483647 h 480"/>
              <a:gd name="T22" fmla="*/ 2147483647 w 680"/>
              <a:gd name="T23" fmla="*/ 2147483647 h 480"/>
              <a:gd name="T24" fmla="*/ 2147483647 w 680"/>
              <a:gd name="T25" fmla="*/ 2147483647 h 480"/>
              <a:gd name="T26" fmla="*/ 2147483647 w 680"/>
              <a:gd name="T27" fmla="*/ 2147483647 h 480"/>
              <a:gd name="T28" fmla="*/ 2147483647 w 680"/>
              <a:gd name="T29" fmla="*/ 2147483647 h 480"/>
              <a:gd name="T30" fmla="*/ 2147483647 w 680"/>
              <a:gd name="T31" fmla="*/ 2147483647 h 480"/>
              <a:gd name="T32" fmla="*/ 2147483647 w 680"/>
              <a:gd name="T33" fmla="*/ 2147483647 h 480"/>
              <a:gd name="T34" fmla="*/ 2147483647 w 680"/>
              <a:gd name="T35" fmla="*/ 2147483647 h 480"/>
              <a:gd name="T36" fmla="*/ 2147483647 w 680"/>
              <a:gd name="T37" fmla="*/ 2147483647 h 480"/>
              <a:gd name="T38" fmla="*/ 2147483647 w 680"/>
              <a:gd name="T39" fmla="*/ 2147483647 h 480"/>
              <a:gd name="T40" fmla="*/ 2147483647 w 680"/>
              <a:gd name="T41" fmla="*/ 2147483647 h 480"/>
              <a:gd name="T42" fmla="*/ 2147483647 w 680"/>
              <a:gd name="T43" fmla="*/ 2147483647 h 480"/>
              <a:gd name="T44" fmla="*/ 2147483647 w 680"/>
              <a:gd name="T45" fmla="*/ 2147483647 h 480"/>
              <a:gd name="T46" fmla="*/ 2147483647 w 680"/>
              <a:gd name="T47" fmla="*/ 2147483647 h 480"/>
              <a:gd name="T48" fmla="*/ 2147483647 w 680"/>
              <a:gd name="T49" fmla="*/ 2147483647 h 480"/>
              <a:gd name="T50" fmla="*/ 2147483647 w 680"/>
              <a:gd name="T51" fmla="*/ 2147483647 h 480"/>
              <a:gd name="T52" fmla="*/ 2147483647 w 680"/>
              <a:gd name="T53" fmla="*/ 2147483647 h 480"/>
              <a:gd name="T54" fmla="*/ 2147483647 w 680"/>
              <a:gd name="T55" fmla="*/ 2147483647 h 480"/>
              <a:gd name="T56" fmla="*/ 2147483647 w 680"/>
              <a:gd name="T57" fmla="*/ 2147483647 h 480"/>
              <a:gd name="T58" fmla="*/ 2147483647 w 680"/>
              <a:gd name="T59" fmla="*/ 2147483647 h 480"/>
              <a:gd name="T60" fmla="*/ 2147483647 w 680"/>
              <a:gd name="T61" fmla="*/ 2147483647 h 480"/>
              <a:gd name="T62" fmla="*/ 2147483647 w 680"/>
              <a:gd name="T63" fmla="*/ 2147483647 h 480"/>
              <a:gd name="T64" fmla="*/ 2147483647 w 680"/>
              <a:gd name="T65" fmla="*/ 2147483647 h 4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80"/>
              <a:gd name="T100" fmla="*/ 0 h 480"/>
              <a:gd name="T101" fmla="*/ 680 w 680"/>
              <a:gd name="T102" fmla="*/ 480 h 4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80" h="480">
                <a:moveTo>
                  <a:pt x="0" y="252"/>
                </a:moveTo>
                <a:lnTo>
                  <a:pt x="11" y="258"/>
                </a:lnTo>
                <a:lnTo>
                  <a:pt x="4" y="242"/>
                </a:lnTo>
                <a:lnTo>
                  <a:pt x="16" y="250"/>
                </a:lnTo>
                <a:lnTo>
                  <a:pt x="4" y="222"/>
                </a:lnTo>
                <a:lnTo>
                  <a:pt x="12" y="180"/>
                </a:lnTo>
                <a:lnTo>
                  <a:pt x="16" y="191"/>
                </a:lnTo>
                <a:lnTo>
                  <a:pt x="60" y="158"/>
                </a:lnTo>
                <a:lnTo>
                  <a:pt x="131" y="143"/>
                </a:lnTo>
                <a:lnTo>
                  <a:pt x="153" y="117"/>
                </a:lnTo>
                <a:lnTo>
                  <a:pt x="153" y="101"/>
                </a:lnTo>
                <a:lnTo>
                  <a:pt x="163" y="91"/>
                </a:lnTo>
                <a:lnTo>
                  <a:pt x="173" y="110"/>
                </a:lnTo>
                <a:lnTo>
                  <a:pt x="173" y="88"/>
                </a:lnTo>
                <a:lnTo>
                  <a:pt x="189" y="93"/>
                </a:lnTo>
                <a:lnTo>
                  <a:pt x="189" y="77"/>
                </a:lnTo>
                <a:lnTo>
                  <a:pt x="215" y="52"/>
                </a:lnTo>
                <a:lnTo>
                  <a:pt x="242" y="55"/>
                </a:lnTo>
                <a:lnTo>
                  <a:pt x="247" y="79"/>
                </a:lnTo>
                <a:lnTo>
                  <a:pt x="258" y="66"/>
                </a:lnTo>
                <a:lnTo>
                  <a:pt x="277" y="72"/>
                </a:lnTo>
                <a:lnTo>
                  <a:pt x="270" y="58"/>
                </a:lnTo>
                <a:lnTo>
                  <a:pt x="286" y="33"/>
                </a:lnTo>
                <a:lnTo>
                  <a:pt x="325" y="21"/>
                </a:lnTo>
                <a:lnTo>
                  <a:pt x="315" y="6"/>
                </a:lnTo>
                <a:lnTo>
                  <a:pt x="391" y="26"/>
                </a:lnTo>
                <a:lnTo>
                  <a:pt x="377" y="69"/>
                </a:lnTo>
                <a:lnTo>
                  <a:pt x="452" y="113"/>
                </a:lnTo>
                <a:lnTo>
                  <a:pt x="470" y="95"/>
                </a:lnTo>
                <a:lnTo>
                  <a:pt x="479" y="21"/>
                </a:lnTo>
                <a:lnTo>
                  <a:pt x="498" y="0"/>
                </a:lnTo>
                <a:lnTo>
                  <a:pt x="514" y="57"/>
                </a:lnTo>
                <a:lnTo>
                  <a:pt x="539" y="69"/>
                </a:lnTo>
                <a:lnTo>
                  <a:pt x="558" y="134"/>
                </a:lnTo>
                <a:lnTo>
                  <a:pt x="599" y="155"/>
                </a:lnTo>
                <a:lnTo>
                  <a:pt x="615" y="191"/>
                </a:lnTo>
                <a:lnTo>
                  <a:pt x="630" y="187"/>
                </a:lnTo>
                <a:lnTo>
                  <a:pt x="633" y="208"/>
                </a:lnTo>
                <a:lnTo>
                  <a:pt x="665" y="237"/>
                </a:lnTo>
                <a:lnTo>
                  <a:pt x="679" y="288"/>
                </a:lnTo>
                <a:lnTo>
                  <a:pt x="670" y="336"/>
                </a:lnTo>
                <a:lnTo>
                  <a:pt x="641" y="379"/>
                </a:lnTo>
                <a:lnTo>
                  <a:pt x="619" y="451"/>
                </a:lnTo>
                <a:lnTo>
                  <a:pt x="580" y="458"/>
                </a:lnTo>
                <a:lnTo>
                  <a:pt x="557" y="471"/>
                </a:lnTo>
                <a:lnTo>
                  <a:pt x="559" y="479"/>
                </a:lnTo>
                <a:lnTo>
                  <a:pt x="533" y="456"/>
                </a:lnTo>
                <a:lnTo>
                  <a:pt x="507" y="473"/>
                </a:lnTo>
                <a:lnTo>
                  <a:pt x="475" y="465"/>
                </a:lnTo>
                <a:lnTo>
                  <a:pt x="451" y="448"/>
                </a:lnTo>
                <a:lnTo>
                  <a:pt x="439" y="412"/>
                </a:lnTo>
                <a:lnTo>
                  <a:pt x="421" y="415"/>
                </a:lnTo>
                <a:lnTo>
                  <a:pt x="419" y="391"/>
                </a:lnTo>
                <a:lnTo>
                  <a:pt x="412" y="407"/>
                </a:lnTo>
                <a:lnTo>
                  <a:pt x="399" y="408"/>
                </a:lnTo>
                <a:lnTo>
                  <a:pt x="414" y="360"/>
                </a:lnTo>
                <a:lnTo>
                  <a:pt x="383" y="405"/>
                </a:lnTo>
                <a:lnTo>
                  <a:pt x="369" y="396"/>
                </a:lnTo>
                <a:lnTo>
                  <a:pt x="353" y="362"/>
                </a:lnTo>
                <a:lnTo>
                  <a:pt x="305" y="342"/>
                </a:lnTo>
                <a:lnTo>
                  <a:pt x="212" y="356"/>
                </a:lnTo>
                <a:lnTo>
                  <a:pt x="175" y="383"/>
                </a:lnTo>
                <a:lnTo>
                  <a:pt x="115" y="385"/>
                </a:lnTo>
                <a:lnTo>
                  <a:pt x="79" y="407"/>
                </a:lnTo>
                <a:lnTo>
                  <a:pt x="33" y="391"/>
                </a:lnTo>
                <a:lnTo>
                  <a:pt x="43" y="345"/>
                </a:lnTo>
                <a:lnTo>
                  <a:pt x="0" y="25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 name="Freeform 13"/>
          <p:cNvSpPr>
            <a:spLocks/>
          </p:cNvSpPr>
          <p:nvPr/>
        </p:nvSpPr>
        <p:spPr bwMode="auto">
          <a:xfrm>
            <a:off x="7585075" y="5434013"/>
            <a:ext cx="85725" cy="80962"/>
          </a:xfrm>
          <a:custGeom>
            <a:avLst/>
            <a:gdLst>
              <a:gd name="T0" fmla="*/ 0 w 62"/>
              <a:gd name="T1" fmla="*/ 2147483647 h 55"/>
              <a:gd name="T2" fmla="*/ 0 w 62"/>
              <a:gd name="T3" fmla="*/ 0 h 55"/>
              <a:gd name="T4" fmla="*/ 2147483647 w 62"/>
              <a:gd name="T5" fmla="*/ 2147483647 h 55"/>
              <a:gd name="T6" fmla="*/ 2147483647 w 62"/>
              <a:gd name="T7" fmla="*/ 0 h 55"/>
              <a:gd name="T8" fmla="*/ 2147483647 w 62"/>
              <a:gd name="T9" fmla="*/ 2147483647 h 55"/>
              <a:gd name="T10" fmla="*/ 2147483647 w 62"/>
              <a:gd name="T11" fmla="*/ 2147483647 h 55"/>
              <a:gd name="T12" fmla="*/ 2147483647 w 62"/>
              <a:gd name="T13" fmla="*/ 2147483647 h 55"/>
              <a:gd name="T14" fmla="*/ 2147483647 w 62"/>
              <a:gd name="T15" fmla="*/ 2147483647 h 55"/>
              <a:gd name="T16" fmla="*/ 0 w 62"/>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2"/>
              <a:gd name="T28" fmla="*/ 0 h 55"/>
              <a:gd name="T29" fmla="*/ 62 w 62"/>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2" h="55">
                <a:moveTo>
                  <a:pt x="0" y="10"/>
                </a:moveTo>
                <a:lnTo>
                  <a:pt x="0" y="0"/>
                </a:lnTo>
                <a:lnTo>
                  <a:pt x="31" y="9"/>
                </a:lnTo>
                <a:lnTo>
                  <a:pt x="55" y="0"/>
                </a:lnTo>
                <a:lnTo>
                  <a:pt x="61" y="14"/>
                </a:lnTo>
                <a:lnTo>
                  <a:pt x="61" y="30"/>
                </a:lnTo>
                <a:lnTo>
                  <a:pt x="35" y="54"/>
                </a:lnTo>
                <a:lnTo>
                  <a:pt x="24" y="53"/>
                </a:lnTo>
                <a:lnTo>
                  <a:pt x="0" y="1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 name="Freeform 14"/>
          <p:cNvSpPr>
            <a:spLocks/>
          </p:cNvSpPr>
          <p:nvPr/>
        </p:nvSpPr>
        <p:spPr bwMode="auto">
          <a:xfrm>
            <a:off x="4459288" y="3224213"/>
            <a:ext cx="176212" cy="69850"/>
          </a:xfrm>
          <a:custGeom>
            <a:avLst/>
            <a:gdLst>
              <a:gd name="T0" fmla="*/ 0 w 129"/>
              <a:gd name="T1" fmla="*/ 2147483647 h 48"/>
              <a:gd name="T2" fmla="*/ 2147483647 w 129"/>
              <a:gd name="T3" fmla="*/ 2147483647 h 48"/>
              <a:gd name="T4" fmla="*/ 2147483647 w 129"/>
              <a:gd name="T5" fmla="*/ 2147483647 h 48"/>
              <a:gd name="T6" fmla="*/ 2147483647 w 129"/>
              <a:gd name="T7" fmla="*/ 2147483647 h 48"/>
              <a:gd name="T8" fmla="*/ 2147483647 w 129"/>
              <a:gd name="T9" fmla="*/ 2147483647 h 48"/>
              <a:gd name="T10" fmla="*/ 2147483647 w 129"/>
              <a:gd name="T11" fmla="*/ 2147483647 h 48"/>
              <a:gd name="T12" fmla="*/ 2147483647 w 129"/>
              <a:gd name="T13" fmla="*/ 2147483647 h 48"/>
              <a:gd name="T14" fmla="*/ 2147483647 w 129"/>
              <a:gd name="T15" fmla="*/ 2147483647 h 48"/>
              <a:gd name="T16" fmla="*/ 2147483647 w 129"/>
              <a:gd name="T17" fmla="*/ 0 h 48"/>
              <a:gd name="T18" fmla="*/ 2147483647 w 129"/>
              <a:gd name="T19" fmla="*/ 2147483647 h 48"/>
              <a:gd name="T20" fmla="*/ 2147483647 w 129"/>
              <a:gd name="T21" fmla="*/ 2147483647 h 48"/>
              <a:gd name="T22" fmla="*/ 0 w 129"/>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9"/>
              <a:gd name="T37" fmla="*/ 0 h 48"/>
              <a:gd name="T38" fmla="*/ 129 w 129"/>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9" h="48">
                <a:moveTo>
                  <a:pt x="0" y="26"/>
                </a:moveTo>
                <a:lnTo>
                  <a:pt x="1" y="29"/>
                </a:lnTo>
                <a:lnTo>
                  <a:pt x="4" y="36"/>
                </a:lnTo>
                <a:lnTo>
                  <a:pt x="16" y="38"/>
                </a:lnTo>
                <a:lnTo>
                  <a:pt x="43" y="34"/>
                </a:lnTo>
                <a:lnTo>
                  <a:pt x="69" y="47"/>
                </a:lnTo>
                <a:lnTo>
                  <a:pt x="110" y="38"/>
                </a:lnTo>
                <a:lnTo>
                  <a:pt x="128" y="15"/>
                </a:lnTo>
                <a:lnTo>
                  <a:pt x="121" y="0"/>
                </a:lnTo>
                <a:lnTo>
                  <a:pt x="71" y="1"/>
                </a:lnTo>
                <a:lnTo>
                  <a:pt x="55" y="25"/>
                </a:lnTo>
                <a:lnTo>
                  <a:pt x="0" y="2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 name="Freeform 15"/>
          <p:cNvSpPr>
            <a:spLocks/>
          </p:cNvSpPr>
          <p:nvPr/>
        </p:nvSpPr>
        <p:spPr bwMode="auto">
          <a:xfrm>
            <a:off x="6270625" y="3819525"/>
            <a:ext cx="111125" cy="139700"/>
          </a:xfrm>
          <a:custGeom>
            <a:avLst/>
            <a:gdLst>
              <a:gd name="T0" fmla="*/ 0 w 81"/>
              <a:gd name="T1" fmla="*/ 2147483647 h 96"/>
              <a:gd name="T2" fmla="*/ 2147483647 w 81"/>
              <a:gd name="T3" fmla="*/ 2147483647 h 96"/>
              <a:gd name="T4" fmla="*/ 2147483647 w 81"/>
              <a:gd name="T5" fmla="*/ 2147483647 h 96"/>
              <a:gd name="T6" fmla="*/ 2147483647 w 81"/>
              <a:gd name="T7" fmla="*/ 2147483647 h 96"/>
              <a:gd name="T8" fmla="*/ 2147483647 w 81"/>
              <a:gd name="T9" fmla="*/ 2147483647 h 96"/>
              <a:gd name="T10" fmla="*/ 2147483647 w 81"/>
              <a:gd name="T11" fmla="*/ 2147483647 h 96"/>
              <a:gd name="T12" fmla="*/ 2147483647 w 81"/>
              <a:gd name="T13" fmla="*/ 2147483647 h 96"/>
              <a:gd name="T14" fmla="*/ 2147483647 w 81"/>
              <a:gd name="T15" fmla="*/ 2147483647 h 96"/>
              <a:gd name="T16" fmla="*/ 2147483647 w 81"/>
              <a:gd name="T17" fmla="*/ 2147483647 h 96"/>
              <a:gd name="T18" fmla="*/ 2147483647 w 81"/>
              <a:gd name="T19" fmla="*/ 2147483647 h 96"/>
              <a:gd name="T20" fmla="*/ 2147483647 w 81"/>
              <a:gd name="T21" fmla="*/ 2147483647 h 96"/>
              <a:gd name="T22" fmla="*/ 2147483647 w 81"/>
              <a:gd name="T23" fmla="*/ 2147483647 h 96"/>
              <a:gd name="T24" fmla="*/ 2147483647 w 81"/>
              <a:gd name="T25" fmla="*/ 2147483647 h 96"/>
              <a:gd name="T26" fmla="*/ 2147483647 w 81"/>
              <a:gd name="T27" fmla="*/ 0 h 96"/>
              <a:gd name="T28" fmla="*/ 2147483647 w 81"/>
              <a:gd name="T29" fmla="*/ 2147483647 h 96"/>
              <a:gd name="T30" fmla="*/ 2147483647 w 81"/>
              <a:gd name="T31" fmla="*/ 2147483647 h 96"/>
              <a:gd name="T32" fmla="*/ 0 w 81"/>
              <a:gd name="T33" fmla="*/ 2147483647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1"/>
              <a:gd name="T52" fmla="*/ 0 h 96"/>
              <a:gd name="T53" fmla="*/ 81 w 81"/>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1" h="96">
                <a:moveTo>
                  <a:pt x="0" y="29"/>
                </a:moveTo>
                <a:lnTo>
                  <a:pt x="10" y="36"/>
                </a:lnTo>
                <a:lnTo>
                  <a:pt x="16" y="82"/>
                </a:lnTo>
                <a:lnTo>
                  <a:pt x="40" y="80"/>
                </a:lnTo>
                <a:lnTo>
                  <a:pt x="48" y="60"/>
                </a:lnTo>
                <a:lnTo>
                  <a:pt x="61" y="65"/>
                </a:lnTo>
                <a:lnTo>
                  <a:pt x="74" y="95"/>
                </a:lnTo>
                <a:lnTo>
                  <a:pt x="80" y="77"/>
                </a:lnTo>
                <a:lnTo>
                  <a:pt x="73" y="47"/>
                </a:lnTo>
                <a:lnTo>
                  <a:pt x="63" y="60"/>
                </a:lnTo>
                <a:lnTo>
                  <a:pt x="54" y="45"/>
                </a:lnTo>
                <a:lnTo>
                  <a:pt x="73" y="25"/>
                </a:lnTo>
                <a:lnTo>
                  <a:pt x="36" y="22"/>
                </a:lnTo>
                <a:lnTo>
                  <a:pt x="9" y="0"/>
                </a:lnTo>
                <a:lnTo>
                  <a:pt x="3" y="11"/>
                </a:lnTo>
                <a:lnTo>
                  <a:pt x="11" y="22"/>
                </a:lnTo>
                <a:lnTo>
                  <a:pt x="0" y="2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4" name="Freeform 16"/>
          <p:cNvSpPr>
            <a:spLocks/>
          </p:cNvSpPr>
          <p:nvPr/>
        </p:nvSpPr>
        <p:spPr bwMode="auto">
          <a:xfrm>
            <a:off x="4305300" y="3144838"/>
            <a:ext cx="76200" cy="55562"/>
          </a:xfrm>
          <a:custGeom>
            <a:avLst/>
            <a:gdLst>
              <a:gd name="T0" fmla="*/ 0 w 55"/>
              <a:gd name="T1" fmla="*/ 2147483647 h 38"/>
              <a:gd name="T2" fmla="*/ 2147483647 w 55"/>
              <a:gd name="T3" fmla="*/ 2147483647 h 38"/>
              <a:gd name="T4" fmla="*/ 2147483647 w 55"/>
              <a:gd name="T5" fmla="*/ 0 h 38"/>
              <a:gd name="T6" fmla="*/ 2147483647 w 55"/>
              <a:gd name="T7" fmla="*/ 2147483647 h 38"/>
              <a:gd name="T8" fmla="*/ 2147483647 w 55"/>
              <a:gd name="T9" fmla="*/ 2147483647 h 38"/>
              <a:gd name="T10" fmla="*/ 2147483647 w 55"/>
              <a:gd name="T11" fmla="*/ 2147483647 h 38"/>
              <a:gd name="T12" fmla="*/ 0 w 55"/>
              <a:gd name="T13" fmla="*/ 2147483647 h 38"/>
              <a:gd name="T14" fmla="*/ 0 60000 65536"/>
              <a:gd name="T15" fmla="*/ 0 60000 65536"/>
              <a:gd name="T16" fmla="*/ 0 60000 65536"/>
              <a:gd name="T17" fmla="*/ 0 60000 65536"/>
              <a:gd name="T18" fmla="*/ 0 60000 65536"/>
              <a:gd name="T19" fmla="*/ 0 60000 65536"/>
              <a:gd name="T20" fmla="*/ 0 60000 65536"/>
              <a:gd name="T21" fmla="*/ 0 w 55"/>
              <a:gd name="T22" fmla="*/ 0 h 38"/>
              <a:gd name="T23" fmla="*/ 55 w 55"/>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38">
                <a:moveTo>
                  <a:pt x="0" y="6"/>
                </a:moveTo>
                <a:lnTo>
                  <a:pt x="14" y="2"/>
                </a:lnTo>
                <a:lnTo>
                  <a:pt x="37" y="0"/>
                </a:lnTo>
                <a:lnTo>
                  <a:pt x="53" y="15"/>
                </a:lnTo>
                <a:lnTo>
                  <a:pt x="54" y="27"/>
                </a:lnTo>
                <a:lnTo>
                  <a:pt x="49" y="37"/>
                </a:lnTo>
                <a:lnTo>
                  <a:pt x="0" y="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5" name="Freeform 17"/>
          <p:cNvSpPr>
            <a:spLocks/>
          </p:cNvSpPr>
          <p:nvPr/>
        </p:nvSpPr>
        <p:spPr bwMode="auto">
          <a:xfrm>
            <a:off x="6296025" y="3775075"/>
            <a:ext cx="73025" cy="41275"/>
          </a:xfrm>
          <a:custGeom>
            <a:avLst/>
            <a:gdLst>
              <a:gd name="T0" fmla="*/ 0 w 53"/>
              <a:gd name="T1" fmla="*/ 2147483647 h 28"/>
              <a:gd name="T2" fmla="*/ 2147483647 w 53"/>
              <a:gd name="T3" fmla="*/ 2147483647 h 28"/>
              <a:gd name="T4" fmla="*/ 2147483647 w 53"/>
              <a:gd name="T5" fmla="*/ 2147483647 h 28"/>
              <a:gd name="T6" fmla="*/ 2147483647 w 53"/>
              <a:gd name="T7" fmla="*/ 2147483647 h 28"/>
              <a:gd name="T8" fmla="*/ 2147483647 w 53"/>
              <a:gd name="T9" fmla="*/ 0 h 28"/>
              <a:gd name="T10" fmla="*/ 0 w 53"/>
              <a:gd name="T11" fmla="*/ 2147483647 h 28"/>
              <a:gd name="T12" fmla="*/ 0 60000 65536"/>
              <a:gd name="T13" fmla="*/ 0 60000 65536"/>
              <a:gd name="T14" fmla="*/ 0 60000 65536"/>
              <a:gd name="T15" fmla="*/ 0 60000 65536"/>
              <a:gd name="T16" fmla="*/ 0 60000 65536"/>
              <a:gd name="T17" fmla="*/ 0 60000 65536"/>
              <a:gd name="T18" fmla="*/ 0 w 53"/>
              <a:gd name="T19" fmla="*/ 0 h 28"/>
              <a:gd name="T20" fmla="*/ 53 w 5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53" h="28">
                <a:moveTo>
                  <a:pt x="0" y="16"/>
                </a:moveTo>
                <a:lnTo>
                  <a:pt x="5" y="27"/>
                </a:lnTo>
                <a:lnTo>
                  <a:pt x="52" y="25"/>
                </a:lnTo>
                <a:lnTo>
                  <a:pt x="48" y="9"/>
                </a:lnTo>
                <a:lnTo>
                  <a:pt x="18" y="0"/>
                </a:lnTo>
                <a:lnTo>
                  <a:pt x="0" y="1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6" name="Freeform 18"/>
          <p:cNvSpPr>
            <a:spLocks/>
          </p:cNvSpPr>
          <p:nvPr/>
        </p:nvSpPr>
        <p:spPr bwMode="auto">
          <a:xfrm>
            <a:off x="2627313" y="4667250"/>
            <a:ext cx="279400" cy="311150"/>
          </a:xfrm>
          <a:custGeom>
            <a:avLst/>
            <a:gdLst>
              <a:gd name="T0" fmla="*/ 0 w 203"/>
              <a:gd name="T1" fmla="*/ 2147483647 h 213"/>
              <a:gd name="T2" fmla="*/ 2147483647 w 203"/>
              <a:gd name="T3" fmla="*/ 2147483647 h 213"/>
              <a:gd name="T4" fmla="*/ 2147483647 w 203"/>
              <a:gd name="T5" fmla="*/ 2147483647 h 213"/>
              <a:gd name="T6" fmla="*/ 2147483647 w 203"/>
              <a:gd name="T7" fmla="*/ 2147483647 h 213"/>
              <a:gd name="T8" fmla="*/ 2147483647 w 203"/>
              <a:gd name="T9" fmla="*/ 2147483647 h 213"/>
              <a:gd name="T10" fmla="*/ 2147483647 w 203"/>
              <a:gd name="T11" fmla="*/ 2147483647 h 213"/>
              <a:gd name="T12" fmla="*/ 2147483647 w 203"/>
              <a:gd name="T13" fmla="*/ 2147483647 h 213"/>
              <a:gd name="T14" fmla="*/ 2147483647 w 203"/>
              <a:gd name="T15" fmla="*/ 2147483647 h 213"/>
              <a:gd name="T16" fmla="*/ 2147483647 w 203"/>
              <a:gd name="T17" fmla="*/ 2147483647 h 213"/>
              <a:gd name="T18" fmla="*/ 2147483647 w 203"/>
              <a:gd name="T19" fmla="*/ 2147483647 h 213"/>
              <a:gd name="T20" fmla="*/ 2147483647 w 203"/>
              <a:gd name="T21" fmla="*/ 2147483647 h 213"/>
              <a:gd name="T22" fmla="*/ 2147483647 w 203"/>
              <a:gd name="T23" fmla="*/ 2147483647 h 213"/>
              <a:gd name="T24" fmla="*/ 2147483647 w 203"/>
              <a:gd name="T25" fmla="*/ 2147483647 h 213"/>
              <a:gd name="T26" fmla="*/ 2147483647 w 203"/>
              <a:gd name="T27" fmla="*/ 2147483647 h 213"/>
              <a:gd name="T28" fmla="*/ 2147483647 w 203"/>
              <a:gd name="T29" fmla="*/ 2147483647 h 213"/>
              <a:gd name="T30" fmla="*/ 2147483647 w 203"/>
              <a:gd name="T31" fmla="*/ 2147483647 h 213"/>
              <a:gd name="T32" fmla="*/ 2147483647 w 203"/>
              <a:gd name="T33" fmla="*/ 2147483647 h 213"/>
              <a:gd name="T34" fmla="*/ 2147483647 w 203"/>
              <a:gd name="T35" fmla="*/ 2147483647 h 213"/>
              <a:gd name="T36" fmla="*/ 2147483647 w 203"/>
              <a:gd name="T37" fmla="*/ 2147483647 h 213"/>
              <a:gd name="T38" fmla="*/ 2147483647 w 203"/>
              <a:gd name="T39" fmla="*/ 2147483647 h 213"/>
              <a:gd name="T40" fmla="*/ 2147483647 w 203"/>
              <a:gd name="T41" fmla="*/ 2147483647 h 213"/>
              <a:gd name="T42" fmla="*/ 2147483647 w 203"/>
              <a:gd name="T43" fmla="*/ 0 h 213"/>
              <a:gd name="T44" fmla="*/ 2147483647 w 203"/>
              <a:gd name="T45" fmla="*/ 2147483647 h 213"/>
              <a:gd name="T46" fmla="*/ 0 w 203"/>
              <a:gd name="T47" fmla="*/ 2147483647 h 2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3"/>
              <a:gd name="T73" fmla="*/ 0 h 213"/>
              <a:gd name="T74" fmla="*/ 203 w 203"/>
              <a:gd name="T75" fmla="*/ 213 h 2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3" h="213">
                <a:moveTo>
                  <a:pt x="0" y="19"/>
                </a:moveTo>
                <a:lnTo>
                  <a:pt x="15" y="43"/>
                </a:lnTo>
                <a:lnTo>
                  <a:pt x="6" y="92"/>
                </a:lnTo>
                <a:lnTo>
                  <a:pt x="15" y="96"/>
                </a:lnTo>
                <a:lnTo>
                  <a:pt x="9" y="102"/>
                </a:lnTo>
                <a:lnTo>
                  <a:pt x="2" y="125"/>
                </a:lnTo>
                <a:lnTo>
                  <a:pt x="19" y="153"/>
                </a:lnTo>
                <a:lnTo>
                  <a:pt x="29" y="212"/>
                </a:lnTo>
                <a:lnTo>
                  <a:pt x="41" y="212"/>
                </a:lnTo>
                <a:lnTo>
                  <a:pt x="58" y="193"/>
                </a:lnTo>
                <a:lnTo>
                  <a:pt x="89" y="209"/>
                </a:lnTo>
                <a:lnTo>
                  <a:pt x="94" y="199"/>
                </a:lnTo>
                <a:lnTo>
                  <a:pt x="118" y="203"/>
                </a:lnTo>
                <a:lnTo>
                  <a:pt x="131" y="160"/>
                </a:lnTo>
                <a:lnTo>
                  <a:pt x="177" y="153"/>
                </a:lnTo>
                <a:lnTo>
                  <a:pt x="195" y="167"/>
                </a:lnTo>
                <a:lnTo>
                  <a:pt x="202" y="134"/>
                </a:lnTo>
                <a:lnTo>
                  <a:pt x="190" y="107"/>
                </a:lnTo>
                <a:lnTo>
                  <a:pt x="161" y="104"/>
                </a:lnTo>
                <a:lnTo>
                  <a:pt x="151" y="63"/>
                </a:lnTo>
                <a:lnTo>
                  <a:pt x="76" y="35"/>
                </a:lnTo>
                <a:lnTo>
                  <a:pt x="71" y="0"/>
                </a:lnTo>
                <a:lnTo>
                  <a:pt x="21" y="21"/>
                </a:lnTo>
                <a:lnTo>
                  <a:pt x="0" y="1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7" name="Freeform 19"/>
          <p:cNvSpPr>
            <a:spLocks/>
          </p:cNvSpPr>
          <p:nvPr/>
        </p:nvSpPr>
        <p:spPr bwMode="auto">
          <a:xfrm>
            <a:off x="4699000" y="4857750"/>
            <a:ext cx="219075" cy="214313"/>
          </a:xfrm>
          <a:custGeom>
            <a:avLst/>
            <a:gdLst>
              <a:gd name="T0" fmla="*/ 0 w 159"/>
              <a:gd name="T1" fmla="*/ 2147483647 h 147"/>
              <a:gd name="T2" fmla="*/ 0 w 159"/>
              <a:gd name="T3" fmla="*/ 2147483647 h 147"/>
              <a:gd name="T4" fmla="*/ 2147483647 w 159"/>
              <a:gd name="T5" fmla="*/ 2147483647 h 147"/>
              <a:gd name="T6" fmla="*/ 2147483647 w 159"/>
              <a:gd name="T7" fmla="*/ 2147483647 h 147"/>
              <a:gd name="T8" fmla="*/ 2147483647 w 159"/>
              <a:gd name="T9" fmla="*/ 2147483647 h 147"/>
              <a:gd name="T10" fmla="*/ 2147483647 w 159"/>
              <a:gd name="T11" fmla="*/ 2147483647 h 147"/>
              <a:gd name="T12" fmla="*/ 2147483647 w 159"/>
              <a:gd name="T13" fmla="*/ 0 h 147"/>
              <a:gd name="T14" fmla="*/ 2147483647 w 159"/>
              <a:gd name="T15" fmla="*/ 2147483647 h 147"/>
              <a:gd name="T16" fmla="*/ 2147483647 w 159"/>
              <a:gd name="T17" fmla="*/ 2147483647 h 147"/>
              <a:gd name="T18" fmla="*/ 2147483647 w 159"/>
              <a:gd name="T19" fmla="*/ 2147483647 h 147"/>
              <a:gd name="T20" fmla="*/ 2147483647 w 159"/>
              <a:gd name="T21" fmla="*/ 2147483647 h 147"/>
              <a:gd name="T22" fmla="*/ 2147483647 w 159"/>
              <a:gd name="T23" fmla="*/ 2147483647 h 147"/>
              <a:gd name="T24" fmla="*/ 2147483647 w 159"/>
              <a:gd name="T25" fmla="*/ 2147483647 h 147"/>
              <a:gd name="T26" fmla="*/ 2147483647 w 159"/>
              <a:gd name="T27" fmla="*/ 2147483647 h 147"/>
              <a:gd name="T28" fmla="*/ 0 w 159"/>
              <a:gd name="T29" fmla="*/ 2147483647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9"/>
              <a:gd name="T46" fmla="*/ 0 h 147"/>
              <a:gd name="T47" fmla="*/ 159 w 159"/>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9" h="147">
                <a:moveTo>
                  <a:pt x="0" y="114"/>
                </a:moveTo>
                <a:lnTo>
                  <a:pt x="0" y="68"/>
                </a:lnTo>
                <a:lnTo>
                  <a:pt x="17" y="67"/>
                </a:lnTo>
                <a:lnTo>
                  <a:pt x="17" y="12"/>
                </a:lnTo>
                <a:lnTo>
                  <a:pt x="49" y="3"/>
                </a:lnTo>
                <a:lnTo>
                  <a:pt x="61" y="13"/>
                </a:lnTo>
                <a:lnTo>
                  <a:pt x="87" y="0"/>
                </a:lnTo>
                <a:lnTo>
                  <a:pt x="134" y="59"/>
                </a:lnTo>
                <a:lnTo>
                  <a:pt x="158" y="70"/>
                </a:lnTo>
                <a:lnTo>
                  <a:pt x="93" y="125"/>
                </a:lnTo>
                <a:lnTo>
                  <a:pt x="58" y="125"/>
                </a:lnTo>
                <a:lnTo>
                  <a:pt x="37" y="145"/>
                </a:lnTo>
                <a:lnTo>
                  <a:pt x="13" y="146"/>
                </a:lnTo>
                <a:lnTo>
                  <a:pt x="15" y="129"/>
                </a:lnTo>
                <a:lnTo>
                  <a:pt x="0" y="11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8" name="Freeform 20"/>
          <p:cNvSpPr>
            <a:spLocks/>
          </p:cNvSpPr>
          <p:nvPr/>
        </p:nvSpPr>
        <p:spPr bwMode="auto">
          <a:xfrm>
            <a:off x="2530475" y="4325938"/>
            <a:ext cx="904875" cy="923925"/>
          </a:xfrm>
          <a:custGeom>
            <a:avLst/>
            <a:gdLst>
              <a:gd name="T0" fmla="*/ 2147483647 w 657"/>
              <a:gd name="T1" fmla="*/ 2147483647 h 632"/>
              <a:gd name="T2" fmla="*/ 2147483647 w 657"/>
              <a:gd name="T3" fmla="*/ 2147483647 h 632"/>
              <a:gd name="T4" fmla="*/ 2147483647 w 657"/>
              <a:gd name="T5" fmla="*/ 2147483647 h 632"/>
              <a:gd name="T6" fmla="*/ 2147483647 w 657"/>
              <a:gd name="T7" fmla="*/ 2147483647 h 632"/>
              <a:gd name="T8" fmla="*/ 2147483647 w 657"/>
              <a:gd name="T9" fmla="*/ 2147483647 h 632"/>
              <a:gd name="T10" fmla="*/ 2147483647 w 657"/>
              <a:gd name="T11" fmla="*/ 2147483647 h 632"/>
              <a:gd name="T12" fmla="*/ 2147483647 w 657"/>
              <a:gd name="T13" fmla="*/ 2147483647 h 632"/>
              <a:gd name="T14" fmla="*/ 2147483647 w 657"/>
              <a:gd name="T15" fmla="*/ 2147483647 h 632"/>
              <a:gd name="T16" fmla="*/ 2147483647 w 657"/>
              <a:gd name="T17" fmla="*/ 2147483647 h 632"/>
              <a:gd name="T18" fmla="*/ 2147483647 w 657"/>
              <a:gd name="T19" fmla="*/ 2147483647 h 632"/>
              <a:gd name="T20" fmla="*/ 2147483647 w 657"/>
              <a:gd name="T21" fmla="*/ 2147483647 h 632"/>
              <a:gd name="T22" fmla="*/ 2147483647 w 657"/>
              <a:gd name="T23" fmla="*/ 2147483647 h 632"/>
              <a:gd name="T24" fmla="*/ 2147483647 w 657"/>
              <a:gd name="T25" fmla="*/ 2147483647 h 632"/>
              <a:gd name="T26" fmla="*/ 2147483647 w 657"/>
              <a:gd name="T27" fmla="*/ 2147483647 h 632"/>
              <a:gd name="T28" fmla="*/ 2147483647 w 657"/>
              <a:gd name="T29" fmla="*/ 2147483647 h 632"/>
              <a:gd name="T30" fmla="*/ 2147483647 w 657"/>
              <a:gd name="T31" fmla="*/ 2147483647 h 632"/>
              <a:gd name="T32" fmla="*/ 2147483647 w 657"/>
              <a:gd name="T33" fmla="*/ 2147483647 h 632"/>
              <a:gd name="T34" fmla="*/ 2147483647 w 657"/>
              <a:gd name="T35" fmla="*/ 2147483647 h 632"/>
              <a:gd name="T36" fmla="*/ 2147483647 w 657"/>
              <a:gd name="T37" fmla="*/ 2147483647 h 632"/>
              <a:gd name="T38" fmla="*/ 2147483647 w 657"/>
              <a:gd name="T39" fmla="*/ 2147483647 h 632"/>
              <a:gd name="T40" fmla="*/ 2147483647 w 657"/>
              <a:gd name="T41" fmla="*/ 2147483647 h 632"/>
              <a:gd name="T42" fmla="*/ 2147483647 w 657"/>
              <a:gd name="T43" fmla="*/ 2147483647 h 632"/>
              <a:gd name="T44" fmla="*/ 2147483647 w 657"/>
              <a:gd name="T45" fmla="*/ 2147483647 h 632"/>
              <a:gd name="T46" fmla="*/ 2147483647 w 657"/>
              <a:gd name="T47" fmla="*/ 2147483647 h 632"/>
              <a:gd name="T48" fmla="*/ 2147483647 w 657"/>
              <a:gd name="T49" fmla="*/ 2147483647 h 632"/>
              <a:gd name="T50" fmla="*/ 2147483647 w 657"/>
              <a:gd name="T51" fmla="*/ 2147483647 h 632"/>
              <a:gd name="T52" fmla="*/ 2147483647 w 657"/>
              <a:gd name="T53" fmla="*/ 2147483647 h 632"/>
              <a:gd name="T54" fmla="*/ 2147483647 w 657"/>
              <a:gd name="T55" fmla="*/ 0 h 632"/>
              <a:gd name="T56" fmla="*/ 2147483647 w 657"/>
              <a:gd name="T57" fmla="*/ 2147483647 h 632"/>
              <a:gd name="T58" fmla="*/ 2147483647 w 657"/>
              <a:gd name="T59" fmla="*/ 2147483647 h 632"/>
              <a:gd name="T60" fmla="*/ 2147483647 w 657"/>
              <a:gd name="T61" fmla="*/ 2147483647 h 632"/>
              <a:gd name="T62" fmla="*/ 2147483647 w 657"/>
              <a:gd name="T63" fmla="*/ 2147483647 h 632"/>
              <a:gd name="T64" fmla="*/ 2147483647 w 657"/>
              <a:gd name="T65" fmla="*/ 2147483647 h 632"/>
              <a:gd name="T66" fmla="*/ 2147483647 w 657"/>
              <a:gd name="T67" fmla="*/ 2147483647 h 632"/>
              <a:gd name="T68" fmla="*/ 0 w 657"/>
              <a:gd name="T69" fmla="*/ 2147483647 h 6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57"/>
              <a:gd name="T106" fmla="*/ 0 h 632"/>
              <a:gd name="T107" fmla="*/ 657 w 657"/>
              <a:gd name="T108" fmla="*/ 632 h 6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57" h="632">
                <a:moveTo>
                  <a:pt x="0" y="201"/>
                </a:moveTo>
                <a:lnTo>
                  <a:pt x="14" y="229"/>
                </a:lnTo>
                <a:lnTo>
                  <a:pt x="36" y="240"/>
                </a:lnTo>
                <a:lnTo>
                  <a:pt x="56" y="227"/>
                </a:lnTo>
                <a:lnTo>
                  <a:pt x="56" y="253"/>
                </a:lnTo>
                <a:lnTo>
                  <a:pt x="69" y="253"/>
                </a:lnTo>
                <a:lnTo>
                  <a:pt x="91" y="255"/>
                </a:lnTo>
                <a:lnTo>
                  <a:pt x="140" y="234"/>
                </a:lnTo>
                <a:lnTo>
                  <a:pt x="145" y="269"/>
                </a:lnTo>
                <a:lnTo>
                  <a:pt x="221" y="297"/>
                </a:lnTo>
                <a:lnTo>
                  <a:pt x="231" y="339"/>
                </a:lnTo>
                <a:lnTo>
                  <a:pt x="259" y="341"/>
                </a:lnTo>
                <a:lnTo>
                  <a:pt x="272" y="369"/>
                </a:lnTo>
                <a:lnTo>
                  <a:pt x="264" y="401"/>
                </a:lnTo>
                <a:lnTo>
                  <a:pt x="269" y="434"/>
                </a:lnTo>
                <a:lnTo>
                  <a:pt x="303" y="437"/>
                </a:lnTo>
                <a:lnTo>
                  <a:pt x="309" y="462"/>
                </a:lnTo>
                <a:lnTo>
                  <a:pt x="327" y="465"/>
                </a:lnTo>
                <a:lnTo>
                  <a:pt x="325" y="492"/>
                </a:lnTo>
                <a:lnTo>
                  <a:pt x="335" y="493"/>
                </a:lnTo>
                <a:lnTo>
                  <a:pt x="337" y="517"/>
                </a:lnTo>
                <a:lnTo>
                  <a:pt x="273" y="571"/>
                </a:lnTo>
                <a:lnTo>
                  <a:pt x="285" y="570"/>
                </a:lnTo>
                <a:lnTo>
                  <a:pt x="336" y="600"/>
                </a:lnTo>
                <a:lnTo>
                  <a:pt x="347" y="615"/>
                </a:lnTo>
                <a:lnTo>
                  <a:pt x="344" y="631"/>
                </a:lnTo>
                <a:lnTo>
                  <a:pt x="424" y="538"/>
                </a:lnTo>
                <a:lnTo>
                  <a:pt x="428" y="489"/>
                </a:lnTo>
                <a:lnTo>
                  <a:pt x="494" y="448"/>
                </a:lnTo>
                <a:lnTo>
                  <a:pt x="532" y="447"/>
                </a:lnTo>
                <a:lnTo>
                  <a:pt x="548" y="433"/>
                </a:lnTo>
                <a:lnTo>
                  <a:pt x="583" y="361"/>
                </a:lnTo>
                <a:lnTo>
                  <a:pt x="587" y="290"/>
                </a:lnTo>
                <a:lnTo>
                  <a:pt x="651" y="223"/>
                </a:lnTo>
                <a:lnTo>
                  <a:pt x="656" y="194"/>
                </a:lnTo>
                <a:lnTo>
                  <a:pt x="646" y="164"/>
                </a:lnTo>
                <a:lnTo>
                  <a:pt x="619" y="160"/>
                </a:lnTo>
                <a:lnTo>
                  <a:pt x="578" y="130"/>
                </a:lnTo>
                <a:lnTo>
                  <a:pt x="496" y="124"/>
                </a:lnTo>
                <a:lnTo>
                  <a:pt x="489" y="106"/>
                </a:lnTo>
                <a:lnTo>
                  <a:pt x="450" y="93"/>
                </a:lnTo>
                <a:lnTo>
                  <a:pt x="434" y="94"/>
                </a:lnTo>
                <a:lnTo>
                  <a:pt x="412" y="121"/>
                </a:lnTo>
                <a:lnTo>
                  <a:pt x="412" y="110"/>
                </a:lnTo>
                <a:lnTo>
                  <a:pt x="377" y="115"/>
                </a:lnTo>
                <a:lnTo>
                  <a:pt x="392" y="109"/>
                </a:lnTo>
                <a:lnTo>
                  <a:pt x="378" y="88"/>
                </a:lnTo>
                <a:lnTo>
                  <a:pt x="403" y="56"/>
                </a:lnTo>
                <a:lnTo>
                  <a:pt x="376" y="19"/>
                </a:lnTo>
                <a:lnTo>
                  <a:pt x="350" y="49"/>
                </a:lnTo>
                <a:lnTo>
                  <a:pt x="327" y="46"/>
                </a:lnTo>
                <a:lnTo>
                  <a:pt x="293" y="51"/>
                </a:lnTo>
                <a:lnTo>
                  <a:pt x="244" y="58"/>
                </a:lnTo>
                <a:lnTo>
                  <a:pt x="236" y="42"/>
                </a:lnTo>
                <a:lnTo>
                  <a:pt x="239" y="12"/>
                </a:lnTo>
                <a:lnTo>
                  <a:pt x="223" y="0"/>
                </a:lnTo>
                <a:lnTo>
                  <a:pt x="182" y="21"/>
                </a:lnTo>
                <a:lnTo>
                  <a:pt x="153" y="14"/>
                </a:lnTo>
                <a:lnTo>
                  <a:pt x="162" y="44"/>
                </a:lnTo>
                <a:lnTo>
                  <a:pt x="176" y="48"/>
                </a:lnTo>
                <a:lnTo>
                  <a:pt x="138" y="70"/>
                </a:lnTo>
                <a:lnTo>
                  <a:pt x="117" y="61"/>
                </a:lnTo>
                <a:lnTo>
                  <a:pt x="107" y="51"/>
                </a:lnTo>
                <a:lnTo>
                  <a:pt x="67" y="56"/>
                </a:lnTo>
                <a:lnTo>
                  <a:pt x="78" y="72"/>
                </a:lnTo>
                <a:lnTo>
                  <a:pt x="63" y="74"/>
                </a:lnTo>
                <a:lnTo>
                  <a:pt x="73" y="101"/>
                </a:lnTo>
                <a:lnTo>
                  <a:pt x="64" y="147"/>
                </a:lnTo>
                <a:lnTo>
                  <a:pt x="22" y="162"/>
                </a:lnTo>
                <a:lnTo>
                  <a:pt x="0" y="20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9" name="Freeform 21"/>
          <p:cNvSpPr>
            <a:spLocks/>
          </p:cNvSpPr>
          <p:nvPr/>
        </p:nvSpPr>
        <p:spPr bwMode="auto">
          <a:xfrm>
            <a:off x="2178050" y="4014788"/>
            <a:ext cx="19050" cy="61912"/>
          </a:xfrm>
          <a:custGeom>
            <a:avLst/>
            <a:gdLst>
              <a:gd name="T0" fmla="*/ 0 w 14"/>
              <a:gd name="T1" fmla="*/ 2147483647 h 42"/>
              <a:gd name="T2" fmla="*/ 2147483647 w 14"/>
              <a:gd name="T3" fmla="*/ 2147483647 h 42"/>
              <a:gd name="T4" fmla="*/ 2147483647 w 14"/>
              <a:gd name="T5" fmla="*/ 0 h 42"/>
              <a:gd name="T6" fmla="*/ 0 w 14"/>
              <a:gd name="T7" fmla="*/ 2147483647 h 42"/>
              <a:gd name="T8" fmla="*/ 0 60000 65536"/>
              <a:gd name="T9" fmla="*/ 0 60000 65536"/>
              <a:gd name="T10" fmla="*/ 0 60000 65536"/>
              <a:gd name="T11" fmla="*/ 0 60000 65536"/>
              <a:gd name="T12" fmla="*/ 0 w 14"/>
              <a:gd name="T13" fmla="*/ 0 h 42"/>
              <a:gd name="T14" fmla="*/ 14 w 14"/>
              <a:gd name="T15" fmla="*/ 42 h 42"/>
            </a:gdLst>
            <a:ahLst/>
            <a:cxnLst>
              <a:cxn ang="T8">
                <a:pos x="T0" y="T1"/>
              </a:cxn>
              <a:cxn ang="T9">
                <a:pos x="T2" y="T3"/>
              </a:cxn>
              <a:cxn ang="T10">
                <a:pos x="T4" y="T5"/>
              </a:cxn>
              <a:cxn ang="T11">
                <a:pos x="T6" y="T7"/>
              </a:cxn>
            </a:cxnLst>
            <a:rect l="T12" t="T13" r="T14" b="T15"/>
            <a:pathLst>
              <a:path w="14" h="42">
                <a:moveTo>
                  <a:pt x="0" y="9"/>
                </a:moveTo>
                <a:lnTo>
                  <a:pt x="4" y="41"/>
                </a:lnTo>
                <a:lnTo>
                  <a:pt x="13" y="0"/>
                </a:lnTo>
                <a:lnTo>
                  <a:pt x="0" y="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0" name="Freeform 22"/>
          <p:cNvSpPr>
            <a:spLocks/>
          </p:cNvSpPr>
          <p:nvPr/>
        </p:nvSpPr>
        <p:spPr bwMode="auto">
          <a:xfrm>
            <a:off x="6873875" y="4330700"/>
            <a:ext cx="31750" cy="22225"/>
          </a:xfrm>
          <a:custGeom>
            <a:avLst/>
            <a:gdLst>
              <a:gd name="T0" fmla="*/ 0 w 23"/>
              <a:gd name="T1" fmla="*/ 2147483647 h 16"/>
              <a:gd name="T2" fmla="*/ 2147483647 w 23"/>
              <a:gd name="T3" fmla="*/ 2147483647 h 16"/>
              <a:gd name="T4" fmla="*/ 2147483647 w 23"/>
              <a:gd name="T5" fmla="*/ 0 h 16"/>
              <a:gd name="T6" fmla="*/ 0 w 23"/>
              <a:gd name="T7" fmla="*/ 2147483647 h 16"/>
              <a:gd name="T8" fmla="*/ 0 60000 65536"/>
              <a:gd name="T9" fmla="*/ 0 60000 65536"/>
              <a:gd name="T10" fmla="*/ 0 60000 65536"/>
              <a:gd name="T11" fmla="*/ 0 60000 65536"/>
              <a:gd name="T12" fmla="*/ 0 w 23"/>
              <a:gd name="T13" fmla="*/ 0 h 16"/>
              <a:gd name="T14" fmla="*/ 23 w 23"/>
              <a:gd name="T15" fmla="*/ 16 h 16"/>
            </a:gdLst>
            <a:ahLst/>
            <a:cxnLst>
              <a:cxn ang="T8">
                <a:pos x="T0" y="T1"/>
              </a:cxn>
              <a:cxn ang="T9">
                <a:pos x="T2" y="T3"/>
              </a:cxn>
              <a:cxn ang="T10">
                <a:pos x="T4" y="T5"/>
              </a:cxn>
              <a:cxn ang="T11">
                <a:pos x="T6" y="T7"/>
              </a:cxn>
            </a:cxnLst>
            <a:rect l="T12" t="T13" r="T14" b="T15"/>
            <a:pathLst>
              <a:path w="23" h="16">
                <a:moveTo>
                  <a:pt x="0" y="6"/>
                </a:moveTo>
                <a:lnTo>
                  <a:pt x="12" y="15"/>
                </a:lnTo>
                <a:lnTo>
                  <a:pt x="22" y="0"/>
                </a:lnTo>
                <a:lnTo>
                  <a:pt x="0" y="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2" name="Freeform 23"/>
          <p:cNvSpPr>
            <a:spLocks/>
          </p:cNvSpPr>
          <p:nvPr/>
        </p:nvSpPr>
        <p:spPr bwMode="auto">
          <a:xfrm>
            <a:off x="4757738" y="3359150"/>
            <a:ext cx="147637" cy="80963"/>
          </a:xfrm>
          <a:custGeom>
            <a:avLst/>
            <a:gdLst>
              <a:gd name="T0" fmla="*/ 0 w 108"/>
              <a:gd name="T1" fmla="*/ 2147483647 h 55"/>
              <a:gd name="T2" fmla="*/ 2147483647 w 108"/>
              <a:gd name="T3" fmla="*/ 0 h 55"/>
              <a:gd name="T4" fmla="*/ 2147483647 w 108"/>
              <a:gd name="T5" fmla="*/ 2147483647 h 55"/>
              <a:gd name="T6" fmla="*/ 2147483647 w 108"/>
              <a:gd name="T7" fmla="*/ 2147483647 h 55"/>
              <a:gd name="T8" fmla="*/ 2147483647 w 108"/>
              <a:gd name="T9" fmla="*/ 2147483647 h 55"/>
              <a:gd name="T10" fmla="*/ 2147483647 w 108"/>
              <a:gd name="T11" fmla="*/ 2147483647 h 55"/>
              <a:gd name="T12" fmla="*/ 2147483647 w 108"/>
              <a:gd name="T13" fmla="*/ 2147483647 h 55"/>
              <a:gd name="T14" fmla="*/ 2147483647 w 108"/>
              <a:gd name="T15" fmla="*/ 2147483647 h 55"/>
              <a:gd name="T16" fmla="*/ 0 w 108"/>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8"/>
              <a:gd name="T28" fmla="*/ 0 h 55"/>
              <a:gd name="T29" fmla="*/ 108 w 108"/>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8" h="55">
                <a:moveTo>
                  <a:pt x="0" y="36"/>
                </a:moveTo>
                <a:lnTo>
                  <a:pt x="6" y="0"/>
                </a:lnTo>
                <a:lnTo>
                  <a:pt x="107" y="8"/>
                </a:lnTo>
                <a:lnTo>
                  <a:pt x="88" y="31"/>
                </a:lnTo>
                <a:lnTo>
                  <a:pt x="96" y="43"/>
                </a:lnTo>
                <a:lnTo>
                  <a:pt x="67" y="45"/>
                </a:lnTo>
                <a:lnTo>
                  <a:pt x="52" y="54"/>
                </a:lnTo>
                <a:lnTo>
                  <a:pt x="9" y="53"/>
                </a:lnTo>
                <a:lnTo>
                  <a:pt x="0" y="3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3" name="Freeform 24"/>
          <p:cNvSpPr>
            <a:spLocks/>
          </p:cNvSpPr>
          <p:nvPr/>
        </p:nvSpPr>
        <p:spPr bwMode="auto">
          <a:xfrm>
            <a:off x="6372225" y="3779838"/>
            <a:ext cx="207963" cy="430212"/>
          </a:xfrm>
          <a:custGeom>
            <a:avLst/>
            <a:gdLst>
              <a:gd name="T0" fmla="*/ 0 w 151"/>
              <a:gd name="T1" fmla="*/ 2147483647 h 294"/>
              <a:gd name="T2" fmla="*/ 2147483647 w 151"/>
              <a:gd name="T3" fmla="*/ 2147483647 h 294"/>
              <a:gd name="T4" fmla="*/ 2147483647 w 151"/>
              <a:gd name="T5" fmla="*/ 2147483647 h 294"/>
              <a:gd name="T6" fmla="*/ 2147483647 w 151"/>
              <a:gd name="T7" fmla="*/ 2147483647 h 294"/>
              <a:gd name="T8" fmla="*/ 2147483647 w 151"/>
              <a:gd name="T9" fmla="*/ 0 h 294"/>
              <a:gd name="T10" fmla="*/ 2147483647 w 151"/>
              <a:gd name="T11" fmla="*/ 2147483647 h 294"/>
              <a:gd name="T12" fmla="*/ 2147483647 w 151"/>
              <a:gd name="T13" fmla="*/ 2147483647 h 294"/>
              <a:gd name="T14" fmla="*/ 2147483647 w 151"/>
              <a:gd name="T15" fmla="*/ 2147483647 h 294"/>
              <a:gd name="T16" fmla="*/ 2147483647 w 151"/>
              <a:gd name="T17" fmla="*/ 2147483647 h 294"/>
              <a:gd name="T18" fmla="*/ 2147483647 w 151"/>
              <a:gd name="T19" fmla="*/ 2147483647 h 294"/>
              <a:gd name="T20" fmla="*/ 2147483647 w 151"/>
              <a:gd name="T21" fmla="*/ 2147483647 h 294"/>
              <a:gd name="T22" fmla="*/ 2147483647 w 151"/>
              <a:gd name="T23" fmla="*/ 2147483647 h 294"/>
              <a:gd name="T24" fmla="*/ 2147483647 w 151"/>
              <a:gd name="T25" fmla="*/ 2147483647 h 294"/>
              <a:gd name="T26" fmla="*/ 2147483647 w 151"/>
              <a:gd name="T27" fmla="*/ 2147483647 h 294"/>
              <a:gd name="T28" fmla="*/ 2147483647 w 151"/>
              <a:gd name="T29" fmla="*/ 2147483647 h 294"/>
              <a:gd name="T30" fmla="*/ 2147483647 w 151"/>
              <a:gd name="T31" fmla="*/ 2147483647 h 294"/>
              <a:gd name="T32" fmla="*/ 2147483647 w 151"/>
              <a:gd name="T33" fmla="*/ 2147483647 h 294"/>
              <a:gd name="T34" fmla="*/ 2147483647 w 151"/>
              <a:gd name="T35" fmla="*/ 2147483647 h 294"/>
              <a:gd name="T36" fmla="*/ 2147483647 w 151"/>
              <a:gd name="T37" fmla="*/ 2147483647 h 294"/>
              <a:gd name="T38" fmla="*/ 2147483647 w 151"/>
              <a:gd name="T39" fmla="*/ 2147483647 h 294"/>
              <a:gd name="T40" fmla="*/ 2147483647 w 151"/>
              <a:gd name="T41" fmla="*/ 2147483647 h 294"/>
              <a:gd name="T42" fmla="*/ 2147483647 w 151"/>
              <a:gd name="T43" fmla="*/ 2147483647 h 294"/>
              <a:gd name="T44" fmla="*/ 2147483647 w 151"/>
              <a:gd name="T45" fmla="*/ 2147483647 h 294"/>
              <a:gd name="T46" fmla="*/ 0 w 151"/>
              <a:gd name="T47" fmla="*/ 2147483647 h 29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1"/>
              <a:gd name="T73" fmla="*/ 0 h 294"/>
              <a:gd name="T74" fmla="*/ 151 w 151"/>
              <a:gd name="T75" fmla="*/ 294 h 29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1" h="294">
                <a:moveTo>
                  <a:pt x="0" y="121"/>
                </a:moveTo>
                <a:lnTo>
                  <a:pt x="6" y="103"/>
                </a:lnTo>
                <a:lnTo>
                  <a:pt x="52" y="28"/>
                </a:lnTo>
                <a:lnTo>
                  <a:pt x="79" y="16"/>
                </a:lnTo>
                <a:lnTo>
                  <a:pt x="86" y="0"/>
                </a:lnTo>
                <a:lnTo>
                  <a:pt x="106" y="9"/>
                </a:lnTo>
                <a:lnTo>
                  <a:pt x="108" y="24"/>
                </a:lnTo>
                <a:lnTo>
                  <a:pt x="90" y="72"/>
                </a:lnTo>
                <a:lnTo>
                  <a:pt x="111" y="67"/>
                </a:lnTo>
                <a:lnTo>
                  <a:pt x="118" y="99"/>
                </a:lnTo>
                <a:lnTo>
                  <a:pt x="150" y="107"/>
                </a:lnTo>
                <a:lnTo>
                  <a:pt x="133" y="123"/>
                </a:lnTo>
                <a:lnTo>
                  <a:pt x="98" y="142"/>
                </a:lnTo>
                <a:lnTo>
                  <a:pt x="90" y="160"/>
                </a:lnTo>
                <a:lnTo>
                  <a:pt x="111" y="198"/>
                </a:lnTo>
                <a:lnTo>
                  <a:pt x="101" y="219"/>
                </a:lnTo>
                <a:lnTo>
                  <a:pt x="124" y="265"/>
                </a:lnTo>
                <a:lnTo>
                  <a:pt x="108" y="293"/>
                </a:lnTo>
                <a:lnTo>
                  <a:pt x="91" y="192"/>
                </a:lnTo>
                <a:lnTo>
                  <a:pt x="75" y="178"/>
                </a:lnTo>
                <a:lnTo>
                  <a:pt x="53" y="203"/>
                </a:lnTo>
                <a:lnTo>
                  <a:pt x="33" y="199"/>
                </a:lnTo>
                <a:lnTo>
                  <a:pt x="37" y="163"/>
                </a:lnTo>
                <a:lnTo>
                  <a:pt x="0" y="12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4" name="Freeform 25"/>
          <p:cNvSpPr>
            <a:spLocks/>
          </p:cNvSpPr>
          <p:nvPr/>
        </p:nvSpPr>
        <p:spPr bwMode="auto">
          <a:xfrm>
            <a:off x="4914900" y="4497388"/>
            <a:ext cx="38100" cy="49212"/>
          </a:xfrm>
          <a:custGeom>
            <a:avLst/>
            <a:gdLst>
              <a:gd name="T0" fmla="*/ 0 w 28"/>
              <a:gd name="T1" fmla="*/ 2147483647 h 33"/>
              <a:gd name="T2" fmla="*/ 2147483647 w 28"/>
              <a:gd name="T3" fmla="*/ 2147483647 h 33"/>
              <a:gd name="T4" fmla="*/ 2147483647 w 28"/>
              <a:gd name="T5" fmla="*/ 2147483647 h 33"/>
              <a:gd name="T6" fmla="*/ 2147483647 w 28"/>
              <a:gd name="T7" fmla="*/ 2147483647 h 33"/>
              <a:gd name="T8" fmla="*/ 2147483647 w 28"/>
              <a:gd name="T9" fmla="*/ 0 h 33"/>
              <a:gd name="T10" fmla="*/ 0 w 28"/>
              <a:gd name="T11" fmla="*/ 2147483647 h 33"/>
              <a:gd name="T12" fmla="*/ 0 60000 65536"/>
              <a:gd name="T13" fmla="*/ 0 60000 65536"/>
              <a:gd name="T14" fmla="*/ 0 60000 65536"/>
              <a:gd name="T15" fmla="*/ 0 60000 65536"/>
              <a:gd name="T16" fmla="*/ 0 60000 65536"/>
              <a:gd name="T17" fmla="*/ 0 60000 65536"/>
              <a:gd name="T18" fmla="*/ 0 w 28"/>
              <a:gd name="T19" fmla="*/ 0 h 33"/>
              <a:gd name="T20" fmla="*/ 28 w 2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8" h="33">
                <a:moveTo>
                  <a:pt x="0" y="5"/>
                </a:moveTo>
                <a:lnTo>
                  <a:pt x="2" y="15"/>
                </a:lnTo>
                <a:lnTo>
                  <a:pt x="7" y="32"/>
                </a:lnTo>
                <a:lnTo>
                  <a:pt x="27" y="11"/>
                </a:lnTo>
                <a:lnTo>
                  <a:pt x="25" y="0"/>
                </a:lnTo>
                <a:lnTo>
                  <a:pt x="0" y="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5" name="Freeform 26"/>
          <p:cNvSpPr>
            <a:spLocks/>
          </p:cNvSpPr>
          <p:nvPr/>
        </p:nvSpPr>
        <p:spPr bwMode="auto">
          <a:xfrm>
            <a:off x="6611938" y="4103688"/>
            <a:ext cx="117475" cy="100012"/>
          </a:xfrm>
          <a:custGeom>
            <a:avLst/>
            <a:gdLst>
              <a:gd name="T0" fmla="*/ 0 w 85"/>
              <a:gd name="T1" fmla="*/ 2147483647 h 69"/>
              <a:gd name="T2" fmla="*/ 2147483647 w 85"/>
              <a:gd name="T3" fmla="*/ 2147483647 h 69"/>
              <a:gd name="T4" fmla="*/ 2147483647 w 85"/>
              <a:gd name="T5" fmla="*/ 2147483647 h 69"/>
              <a:gd name="T6" fmla="*/ 2147483647 w 85"/>
              <a:gd name="T7" fmla="*/ 2147483647 h 69"/>
              <a:gd name="T8" fmla="*/ 2147483647 w 85"/>
              <a:gd name="T9" fmla="*/ 2147483647 h 69"/>
              <a:gd name="T10" fmla="*/ 2147483647 w 85"/>
              <a:gd name="T11" fmla="*/ 0 h 69"/>
              <a:gd name="T12" fmla="*/ 2147483647 w 85"/>
              <a:gd name="T13" fmla="*/ 2147483647 h 69"/>
              <a:gd name="T14" fmla="*/ 2147483647 w 85"/>
              <a:gd name="T15" fmla="*/ 2147483647 h 69"/>
              <a:gd name="T16" fmla="*/ 0 w 85"/>
              <a:gd name="T17" fmla="*/ 2147483647 h 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5"/>
              <a:gd name="T28" fmla="*/ 0 h 69"/>
              <a:gd name="T29" fmla="*/ 85 w 85"/>
              <a:gd name="T30" fmla="*/ 69 h 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5" h="69">
                <a:moveTo>
                  <a:pt x="0" y="14"/>
                </a:moveTo>
                <a:lnTo>
                  <a:pt x="7" y="50"/>
                </a:lnTo>
                <a:lnTo>
                  <a:pt x="17" y="67"/>
                </a:lnTo>
                <a:lnTo>
                  <a:pt x="33" y="68"/>
                </a:lnTo>
                <a:lnTo>
                  <a:pt x="84" y="36"/>
                </a:lnTo>
                <a:lnTo>
                  <a:pt x="83" y="0"/>
                </a:lnTo>
                <a:lnTo>
                  <a:pt x="46" y="7"/>
                </a:lnTo>
                <a:lnTo>
                  <a:pt x="11" y="6"/>
                </a:lnTo>
                <a:lnTo>
                  <a:pt x="0" y="1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6" name="Freeform 27"/>
          <p:cNvSpPr>
            <a:spLocks/>
          </p:cNvSpPr>
          <p:nvPr/>
        </p:nvSpPr>
        <p:spPr bwMode="auto">
          <a:xfrm>
            <a:off x="4435475" y="4148138"/>
            <a:ext cx="176213" cy="258762"/>
          </a:xfrm>
          <a:custGeom>
            <a:avLst/>
            <a:gdLst>
              <a:gd name="T0" fmla="*/ 0 w 128"/>
              <a:gd name="T1" fmla="*/ 2147483647 h 177"/>
              <a:gd name="T2" fmla="*/ 2147483647 w 128"/>
              <a:gd name="T3" fmla="*/ 2147483647 h 177"/>
              <a:gd name="T4" fmla="*/ 2147483647 w 128"/>
              <a:gd name="T5" fmla="*/ 2147483647 h 177"/>
              <a:gd name="T6" fmla="*/ 2147483647 w 128"/>
              <a:gd name="T7" fmla="*/ 2147483647 h 177"/>
              <a:gd name="T8" fmla="*/ 2147483647 w 128"/>
              <a:gd name="T9" fmla="*/ 2147483647 h 177"/>
              <a:gd name="T10" fmla="*/ 2147483647 w 128"/>
              <a:gd name="T11" fmla="*/ 2147483647 h 177"/>
              <a:gd name="T12" fmla="*/ 2147483647 w 128"/>
              <a:gd name="T13" fmla="*/ 0 h 177"/>
              <a:gd name="T14" fmla="*/ 2147483647 w 128"/>
              <a:gd name="T15" fmla="*/ 2147483647 h 177"/>
              <a:gd name="T16" fmla="*/ 2147483647 w 128"/>
              <a:gd name="T17" fmla="*/ 2147483647 h 177"/>
              <a:gd name="T18" fmla="*/ 2147483647 w 128"/>
              <a:gd name="T19" fmla="*/ 2147483647 h 177"/>
              <a:gd name="T20" fmla="*/ 2147483647 w 128"/>
              <a:gd name="T21" fmla="*/ 2147483647 h 177"/>
              <a:gd name="T22" fmla="*/ 2147483647 w 128"/>
              <a:gd name="T23" fmla="*/ 2147483647 h 177"/>
              <a:gd name="T24" fmla="*/ 2147483647 w 128"/>
              <a:gd name="T25" fmla="*/ 2147483647 h 177"/>
              <a:gd name="T26" fmla="*/ 2147483647 w 128"/>
              <a:gd name="T27" fmla="*/ 2147483647 h 177"/>
              <a:gd name="T28" fmla="*/ 2147483647 w 128"/>
              <a:gd name="T29" fmla="*/ 2147483647 h 177"/>
              <a:gd name="T30" fmla="*/ 2147483647 w 128"/>
              <a:gd name="T31" fmla="*/ 2147483647 h 177"/>
              <a:gd name="T32" fmla="*/ 2147483647 w 128"/>
              <a:gd name="T33" fmla="*/ 2147483647 h 177"/>
              <a:gd name="T34" fmla="*/ 0 w 128"/>
              <a:gd name="T35" fmla="*/ 2147483647 h 1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8"/>
              <a:gd name="T55" fmla="*/ 0 h 177"/>
              <a:gd name="T56" fmla="*/ 128 w 128"/>
              <a:gd name="T57" fmla="*/ 177 h 1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8" h="177">
                <a:moveTo>
                  <a:pt x="0" y="127"/>
                </a:moveTo>
                <a:lnTo>
                  <a:pt x="19" y="94"/>
                </a:lnTo>
                <a:lnTo>
                  <a:pt x="48" y="100"/>
                </a:lnTo>
                <a:lnTo>
                  <a:pt x="82" y="29"/>
                </a:lnTo>
                <a:lnTo>
                  <a:pt x="100" y="20"/>
                </a:lnTo>
                <a:lnTo>
                  <a:pt x="93" y="5"/>
                </a:lnTo>
                <a:lnTo>
                  <a:pt x="102" y="0"/>
                </a:lnTo>
                <a:lnTo>
                  <a:pt x="114" y="44"/>
                </a:lnTo>
                <a:lnTo>
                  <a:pt x="93" y="51"/>
                </a:lnTo>
                <a:lnTo>
                  <a:pt x="115" y="86"/>
                </a:lnTo>
                <a:lnTo>
                  <a:pt x="100" y="126"/>
                </a:lnTo>
                <a:lnTo>
                  <a:pt x="127" y="157"/>
                </a:lnTo>
                <a:lnTo>
                  <a:pt x="123" y="176"/>
                </a:lnTo>
                <a:lnTo>
                  <a:pt x="80" y="167"/>
                </a:lnTo>
                <a:lnTo>
                  <a:pt x="46" y="167"/>
                </a:lnTo>
                <a:lnTo>
                  <a:pt x="22" y="168"/>
                </a:lnTo>
                <a:lnTo>
                  <a:pt x="22" y="139"/>
                </a:lnTo>
                <a:lnTo>
                  <a:pt x="0" y="12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7" name="Freeform 28"/>
          <p:cNvSpPr>
            <a:spLocks/>
          </p:cNvSpPr>
          <p:nvPr/>
        </p:nvSpPr>
        <p:spPr bwMode="auto">
          <a:xfrm>
            <a:off x="979488" y="2413000"/>
            <a:ext cx="1973262" cy="1009650"/>
          </a:xfrm>
          <a:custGeom>
            <a:avLst/>
            <a:gdLst>
              <a:gd name="T0" fmla="*/ 2147483647 w 1434"/>
              <a:gd name="T1" fmla="*/ 2147483647 h 690"/>
              <a:gd name="T2" fmla="*/ 2147483647 w 1434"/>
              <a:gd name="T3" fmla="*/ 2147483647 h 690"/>
              <a:gd name="T4" fmla="*/ 2147483647 w 1434"/>
              <a:gd name="T5" fmla="*/ 2147483647 h 690"/>
              <a:gd name="T6" fmla="*/ 2147483647 w 1434"/>
              <a:gd name="T7" fmla="*/ 2147483647 h 690"/>
              <a:gd name="T8" fmla="*/ 2147483647 w 1434"/>
              <a:gd name="T9" fmla="*/ 2147483647 h 690"/>
              <a:gd name="T10" fmla="*/ 2147483647 w 1434"/>
              <a:gd name="T11" fmla="*/ 2147483647 h 690"/>
              <a:gd name="T12" fmla="*/ 2147483647 w 1434"/>
              <a:gd name="T13" fmla="*/ 2147483647 h 690"/>
              <a:gd name="T14" fmla="*/ 2147483647 w 1434"/>
              <a:gd name="T15" fmla="*/ 2147483647 h 690"/>
              <a:gd name="T16" fmla="*/ 2147483647 w 1434"/>
              <a:gd name="T17" fmla="*/ 2147483647 h 690"/>
              <a:gd name="T18" fmla="*/ 2147483647 w 1434"/>
              <a:gd name="T19" fmla="*/ 2147483647 h 690"/>
              <a:gd name="T20" fmla="*/ 2147483647 w 1434"/>
              <a:gd name="T21" fmla="*/ 2147483647 h 690"/>
              <a:gd name="T22" fmla="*/ 2147483647 w 1434"/>
              <a:gd name="T23" fmla="*/ 2147483647 h 690"/>
              <a:gd name="T24" fmla="*/ 2147483647 w 1434"/>
              <a:gd name="T25" fmla="*/ 0 h 690"/>
              <a:gd name="T26" fmla="*/ 2147483647 w 1434"/>
              <a:gd name="T27" fmla="*/ 2147483647 h 690"/>
              <a:gd name="T28" fmla="*/ 2147483647 w 1434"/>
              <a:gd name="T29" fmla="*/ 2147483647 h 690"/>
              <a:gd name="T30" fmla="*/ 2147483647 w 1434"/>
              <a:gd name="T31" fmla="*/ 2147483647 h 690"/>
              <a:gd name="T32" fmla="*/ 2147483647 w 1434"/>
              <a:gd name="T33" fmla="*/ 2147483647 h 690"/>
              <a:gd name="T34" fmla="*/ 2147483647 w 1434"/>
              <a:gd name="T35" fmla="*/ 2147483647 h 690"/>
              <a:gd name="T36" fmla="*/ 2147483647 w 1434"/>
              <a:gd name="T37" fmla="*/ 2147483647 h 690"/>
              <a:gd name="T38" fmla="*/ 2147483647 w 1434"/>
              <a:gd name="T39" fmla="*/ 2147483647 h 690"/>
              <a:gd name="T40" fmla="*/ 2147483647 w 1434"/>
              <a:gd name="T41" fmla="*/ 2147483647 h 690"/>
              <a:gd name="T42" fmla="*/ 2147483647 w 1434"/>
              <a:gd name="T43" fmla="*/ 2147483647 h 690"/>
              <a:gd name="T44" fmla="*/ 2147483647 w 1434"/>
              <a:gd name="T45" fmla="*/ 2147483647 h 690"/>
              <a:gd name="T46" fmla="*/ 2147483647 w 1434"/>
              <a:gd name="T47" fmla="*/ 2147483647 h 690"/>
              <a:gd name="T48" fmla="*/ 2147483647 w 1434"/>
              <a:gd name="T49" fmla="*/ 2147483647 h 690"/>
              <a:gd name="T50" fmla="*/ 2147483647 w 1434"/>
              <a:gd name="T51" fmla="*/ 2147483647 h 690"/>
              <a:gd name="T52" fmla="*/ 2147483647 w 1434"/>
              <a:gd name="T53" fmla="*/ 2147483647 h 690"/>
              <a:gd name="T54" fmla="*/ 2147483647 w 1434"/>
              <a:gd name="T55" fmla="*/ 2147483647 h 690"/>
              <a:gd name="T56" fmla="*/ 2147483647 w 1434"/>
              <a:gd name="T57" fmla="*/ 2147483647 h 690"/>
              <a:gd name="T58" fmla="*/ 2147483647 w 1434"/>
              <a:gd name="T59" fmla="*/ 2147483647 h 690"/>
              <a:gd name="T60" fmla="*/ 2147483647 w 1434"/>
              <a:gd name="T61" fmla="*/ 2147483647 h 690"/>
              <a:gd name="T62" fmla="*/ 2147483647 w 1434"/>
              <a:gd name="T63" fmla="*/ 2147483647 h 690"/>
              <a:gd name="T64" fmla="*/ 2147483647 w 1434"/>
              <a:gd name="T65" fmla="*/ 2147483647 h 690"/>
              <a:gd name="T66" fmla="*/ 2147483647 w 1434"/>
              <a:gd name="T67" fmla="*/ 2147483647 h 690"/>
              <a:gd name="T68" fmla="*/ 2147483647 w 1434"/>
              <a:gd name="T69" fmla="*/ 2147483647 h 690"/>
              <a:gd name="T70" fmla="*/ 2147483647 w 1434"/>
              <a:gd name="T71" fmla="*/ 2147483647 h 690"/>
              <a:gd name="T72" fmla="*/ 2147483647 w 1434"/>
              <a:gd name="T73" fmla="*/ 2147483647 h 690"/>
              <a:gd name="T74" fmla="*/ 2147483647 w 1434"/>
              <a:gd name="T75" fmla="*/ 2147483647 h 690"/>
              <a:gd name="T76" fmla="*/ 2147483647 w 1434"/>
              <a:gd name="T77" fmla="*/ 2147483647 h 690"/>
              <a:gd name="T78" fmla="*/ 2147483647 w 1434"/>
              <a:gd name="T79" fmla="*/ 2147483647 h 690"/>
              <a:gd name="T80" fmla="*/ 2147483647 w 1434"/>
              <a:gd name="T81" fmla="*/ 2147483647 h 690"/>
              <a:gd name="T82" fmla="*/ 2147483647 w 1434"/>
              <a:gd name="T83" fmla="*/ 2147483647 h 690"/>
              <a:gd name="T84" fmla="*/ 2147483647 w 1434"/>
              <a:gd name="T85" fmla="*/ 2147483647 h 690"/>
              <a:gd name="T86" fmla="*/ 2147483647 w 1434"/>
              <a:gd name="T87" fmla="*/ 2147483647 h 690"/>
              <a:gd name="T88" fmla="*/ 2147483647 w 1434"/>
              <a:gd name="T89" fmla="*/ 2147483647 h 690"/>
              <a:gd name="T90" fmla="*/ 2147483647 w 1434"/>
              <a:gd name="T91" fmla="*/ 2147483647 h 690"/>
              <a:gd name="T92" fmla="*/ 2147483647 w 1434"/>
              <a:gd name="T93" fmla="*/ 2147483647 h 690"/>
              <a:gd name="T94" fmla="*/ 2147483647 w 1434"/>
              <a:gd name="T95" fmla="*/ 2147483647 h 690"/>
              <a:gd name="T96" fmla="*/ 2147483647 w 1434"/>
              <a:gd name="T97" fmla="*/ 2147483647 h 690"/>
              <a:gd name="T98" fmla="*/ 2147483647 w 1434"/>
              <a:gd name="T99" fmla="*/ 2147483647 h 690"/>
              <a:gd name="T100" fmla="*/ 2147483647 w 1434"/>
              <a:gd name="T101" fmla="*/ 2147483647 h 690"/>
              <a:gd name="T102" fmla="*/ 2147483647 w 1434"/>
              <a:gd name="T103" fmla="*/ 2147483647 h 690"/>
              <a:gd name="T104" fmla="*/ 2147483647 w 1434"/>
              <a:gd name="T105" fmla="*/ 2147483647 h 690"/>
              <a:gd name="T106" fmla="*/ 2147483647 w 1434"/>
              <a:gd name="T107" fmla="*/ 2147483647 h 690"/>
              <a:gd name="T108" fmla="*/ 2147483647 w 1434"/>
              <a:gd name="T109" fmla="*/ 2147483647 h 690"/>
              <a:gd name="T110" fmla="*/ 2147483647 w 1434"/>
              <a:gd name="T111" fmla="*/ 2147483647 h 690"/>
              <a:gd name="T112" fmla="*/ 2147483647 w 1434"/>
              <a:gd name="T113" fmla="*/ 2147483647 h 690"/>
              <a:gd name="T114" fmla="*/ 2147483647 w 1434"/>
              <a:gd name="T115" fmla="*/ 2147483647 h 690"/>
              <a:gd name="T116" fmla="*/ 2147483647 w 1434"/>
              <a:gd name="T117" fmla="*/ 2147483647 h 690"/>
              <a:gd name="T118" fmla="*/ 2147483647 w 1434"/>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34"/>
              <a:gd name="T181" fmla="*/ 0 h 690"/>
              <a:gd name="T182" fmla="*/ 1434 w 1434"/>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34" h="690">
                <a:moveTo>
                  <a:pt x="0" y="307"/>
                </a:moveTo>
                <a:lnTo>
                  <a:pt x="0" y="64"/>
                </a:lnTo>
                <a:lnTo>
                  <a:pt x="112" y="96"/>
                </a:lnTo>
                <a:lnTo>
                  <a:pt x="107" y="82"/>
                </a:lnTo>
                <a:lnTo>
                  <a:pt x="119" y="76"/>
                </a:lnTo>
                <a:lnTo>
                  <a:pt x="188" y="49"/>
                </a:lnTo>
                <a:lnTo>
                  <a:pt x="135" y="81"/>
                </a:lnTo>
                <a:lnTo>
                  <a:pt x="166" y="71"/>
                </a:lnTo>
                <a:lnTo>
                  <a:pt x="166" y="79"/>
                </a:lnTo>
                <a:lnTo>
                  <a:pt x="224" y="50"/>
                </a:lnTo>
                <a:lnTo>
                  <a:pt x="216" y="40"/>
                </a:lnTo>
                <a:lnTo>
                  <a:pt x="253" y="74"/>
                </a:lnTo>
                <a:lnTo>
                  <a:pt x="278" y="53"/>
                </a:lnTo>
                <a:lnTo>
                  <a:pt x="275" y="74"/>
                </a:lnTo>
                <a:lnTo>
                  <a:pt x="306" y="60"/>
                </a:lnTo>
                <a:lnTo>
                  <a:pt x="392" y="86"/>
                </a:lnTo>
                <a:lnTo>
                  <a:pt x="432" y="86"/>
                </a:lnTo>
                <a:lnTo>
                  <a:pt x="452" y="98"/>
                </a:lnTo>
                <a:lnTo>
                  <a:pt x="426" y="112"/>
                </a:lnTo>
                <a:lnTo>
                  <a:pt x="440" y="116"/>
                </a:lnTo>
                <a:lnTo>
                  <a:pt x="518" y="110"/>
                </a:lnTo>
                <a:lnTo>
                  <a:pt x="552" y="129"/>
                </a:lnTo>
                <a:lnTo>
                  <a:pt x="556" y="144"/>
                </a:lnTo>
                <a:lnTo>
                  <a:pt x="565" y="135"/>
                </a:lnTo>
                <a:lnTo>
                  <a:pt x="552" y="116"/>
                </a:lnTo>
                <a:lnTo>
                  <a:pt x="588" y="93"/>
                </a:lnTo>
                <a:lnTo>
                  <a:pt x="552" y="108"/>
                </a:lnTo>
                <a:lnTo>
                  <a:pt x="540" y="100"/>
                </a:lnTo>
                <a:lnTo>
                  <a:pt x="584" y="85"/>
                </a:lnTo>
                <a:lnTo>
                  <a:pt x="608" y="108"/>
                </a:lnTo>
                <a:lnTo>
                  <a:pt x="631" y="108"/>
                </a:lnTo>
                <a:lnTo>
                  <a:pt x="649" y="120"/>
                </a:lnTo>
                <a:lnTo>
                  <a:pt x="714" y="116"/>
                </a:lnTo>
                <a:lnTo>
                  <a:pt x="713" y="108"/>
                </a:lnTo>
                <a:lnTo>
                  <a:pt x="733" y="122"/>
                </a:lnTo>
                <a:lnTo>
                  <a:pt x="735" y="113"/>
                </a:lnTo>
                <a:lnTo>
                  <a:pt x="720" y="115"/>
                </a:lnTo>
                <a:lnTo>
                  <a:pt x="710" y="100"/>
                </a:lnTo>
                <a:lnTo>
                  <a:pt x="734" y="98"/>
                </a:lnTo>
                <a:lnTo>
                  <a:pt x="742" y="110"/>
                </a:lnTo>
                <a:lnTo>
                  <a:pt x="755" y="105"/>
                </a:lnTo>
                <a:lnTo>
                  <a:pt x="749" y="122"/>
                </a:lnTo>
                <a:lnTo>
                  <a:pt x="766" y="132"/>
                </a:lnTo>
                <a:lnTo>
                  <a:pt x="761" y="108"/>
                </a:lnTo>
                <a:lnTo>
                  <a:pt x="796" y="95"/>
                </a:lnTo>
                <a:lnTo>
                  <a:pt x="788" y="84"/>
                </a:lnTo>
                <a:lnTo>
                  <a:pt x="777" y="92"/>
                </a:lnTo>
                <a:lnTo>
                  <a:pt x="793" y="70"/>
                </a:lnTo>
                <a:lnTo>
                  <a:pt x="745" y="55"/>
                </a:lnTo>
                <a:lnTo>
                  <a:pt x="750" y="21"/>
                </a:lnTo>
                <a:lnTo>
                  <a:pt x="761" y="22"/>
                </a:lnTo>
                <a:lnTo>
                  <a:pt x="768" y="0"/>
                </a:lnTo>
                <a:lnTo>
                  <a:pt x="804" y="21"/>
                </a:lnTo>
                <a:lnTo>
                  <a:pt x="805" y="34"/>
                </a:lnTo>
                <a:lnTo>
                  <a:pt x="830" y="52"/>
                </a:lnTo>
                <a:lnTo>
                  <a:pt x="813" y="51"/>
                </a:lnTo>
                <a:lnTo>
                  <a:pt x="823" y="58"/>
                </a:lnTo>
                <a:lnTo>
                  <a:pt x="810" y="66"/>
                </a:lnTo>
                <a:lnTo>
                  <a:pt x="841" y="70"/>
                </a:lnTo>
                <a:lnTo>
                  <a:pt x="833" y="74"/>
                </a:lnTo>
                <a:lnTo>
                  <a:pt x="850" y="103"/>
                </a:lnTo>
                <a:lnTo>
                  <a:pt x="864" y="78"/>
                </a:lnTo>
                <a:lnTo>
                  <a:pt x="886" y="87"/>
                </a:lnTo>
                <a:lnTo>
                  <a:pt x="892" y="105"/>
                </a:lnTo>
                <a:lnTo>
                  <a:pt x="882" y="113"/>
                </a:lnTo>
                <a:lnTo>
                  <a:pt x="901" y="132"/>
                </a:lnTo>
                <a:lnTo>
                  <a:pt x="913" y="128"/>
                </a:lnTo>
                <a:lnTo>
                  <a:pt x="927" y="94"/>
                </a:lnTo>
                <a:lnTo>
                  <a:pt x="945" y="91"/>
                </a:lnTo>
                <a:lnTo>
                  <a:pt x="933" y="63"/>
                </a:lnTo>
                <a:lnTo>
                  <a:pt x="980" y="65"/>
                </a:lnTo>
                <a:lnTo>
                  <a:pt x="999" y="81"/>
                </a:lnTo>
                <a:lnTo>
                  <a:pt x="991" y="88"/>
                </a:lnTo>
                <a:lnTo>
                  <a:pt x="1003" y="94"/>
                </a:lnTo>
                <a:lnTo>
                  <a:pt x="981" y="99"/>
                </a:lnTo>
                <a:lnTo>
                  <a:pt x="999" y="136"/>
                </a:lnTo>
                <a:lnTo>
                  <a:pt x="969" y="155"/>
                </a:lnTo>
                <a:lnTo>
                  <a:pt x="956" y="146"/>
                </a:lnTo>
                <a:lnTo>
                  <a:pt x="961" y="159"/>
                </a:lnTo>
                <a:lnTo>
                  <a:pt x="914" y="150"/>
                </a:lnTo>
                <a:lnTo>
                  <a:pt x="923" y="163"/>
                </a:lnTo>
                <a:lnTo>
                  <a:pt x="904" y="180"/>
                </a:lnTo>
                <a:lnTo>
                  <a:pt x="855" y="167"/>
                </a:lnTo>
                <a:lnTo>
                  <a:pt x="872" y="181"/>
                </a:lnTo>
                <a:lnTo>
                  <a:pt x="908" y="185"/>
                </a:lnTo>
                <a:lnTo>
                  <a:pt x="885" y="214"/>
                </a:lnTo>
                <a:lnTo>
                  <a:pt x="857" y="211"/>
                </a:lnTo>
                <a:lnTo>
                  <a:pt x="845" y="228"/>
                </a:lnTo>
                <a:lnTo>
                  <a:pt x="798" y="215"/>
                </a:lnTo>
                <a:lnTo>
                  <a:pt x="841" y="228"/>
                </a:lnTo>
                <a:lnTo>
                  <a:pt x="845" y="241"/>
                </a:lnTo>
                <a:lnTo>
                  <a:pt x="813" y="245"/>
                </a:lnTo>
                <a:lnTo>
                  <a:pt x="823" y="250"/>
                </a:lnTo>
                <a:lnTo>
                  <a:pt x="813" y="251"/>
                </a:lnTo>
                <a:lnTo>
                  <a:pt x="813" y="264"/>
                </a:lnTo>
                <a:lnTo>
                  <a:pt x="778" y="280"/>
                </a:lnTo>
                <a:lnTo>
                  <a:pt x="772" y="335"/>
                </a:lnTo>
                <a:lnTo>
                  <a:pt x="783" y="347"/>
                </a:lnTo>
                <a:lnTo>
                  <a:pt x="802" y="342"/>
                </a:lnTo>
                <a:lnTo>
                  <a:pt x="809" y="383"/>
                </a:lnTo>
                <a:lnTo>
                  <a:pt x="836" y="375"/>
                </a:lnTo>
                <a:lnTo>
                  <a:pt x="870" y="386"/>
                </a:lnTo>
                <a:lnTo>
                  <a:pt x="934" y="418"/>
                </a:lnTo>
                <a:lnTo>
                  <a:pt x="927" y="429"/>
                </a:lnTo>
                <a:lnTo>
                  <a:pt x="935" y="419"/>
                </a:lnTo>
                <a:lnTo>
                  <a:pt x="983" y="422"/>
                </a:lnTo>
                <a:lnTo>
                  <a:pt x="983" y="468"/>
                </a:lnTo>
                <a:lnTo>
                  <a:pt x="999" y="485"/>
                </a:lnTo>
                <a:lnTo>
                  <a:pt x="988" y="489"/>
                </a:lnTo>
                <a:lnTo>
                  <a:pt x="1012" y="495"/>
                </a:lnTo>
                <a:lnTo>
                  <a:pt x="1006" y="510"/>
                </a:lnTo>
                <a:lnTo>
                  <a:pt x="1028" y="510"/>
                </a:lnTo>
                <a:lnTo>
                  <a:pt x="1059" y="486"/>
                </a:lnTo>
                <a:lnTo>
                  <a:pt x="1044" y="479"/>
                </a:lnTo>
                <a:lnTo>
                  <a:pt x="1029" y="435"/>
                </a:lnTo>
                <a:lnTo>
                  <a:pt x="1087" y="397"/>
                </a:lnTo>
                <a:lnTo>
                  <a:pt x="1078" y="397"/>
                </a:lnTo>
                <a:lnTo>
                  <a:pt x="1065" y="353"/>
                </a:lnTo>
                <a:lnTo>
                  <a:pt x="1044" y="340"/>
                </a:lnTo>
                <a:lnTo>
                  <a:pt x="1074" y="322"/>
                </a:lnTo>
                <a:lnTo>
                  <a:pt x="1061" y="313"/>
                </a:lnTo>
                <a:lnTo>
                  <a:pt x="1066" y="295"/>
                </a:lnTo>
                <a:lnTo>
                  <a:pt x="1054" y="293"/>
                </a:lnTo>
                <a:lnTo>
                  <a:pt x="1066" y="275"/>
                </a:lnTo>
                <a:lnTo>
                  <a:pt x="1053" y="265"/>
                </a:lnTo>
                <a:lnTo>
                  <a:pt x="1060" y="252"/>
                </a:lnTo>
                <a:lnTo>
                  <a:pt x="1106" y="261"/>
                </a:lnTo>
                <a:lnTo>
                  <a:pt x="1127" y="253"/>
                </a:lnTo>
                <a:lnTo>
                  <a:pt x="1165" y="275"/>
                </a:lnTo>
                <a:lnTo>
                  <a:pt x="1165" y="286"/>
                </a:lnTo>
                <a:lnTo>
                  <a:pt x="1197" y="287"/>
                </a:lnTo>
                <a:lnTo>
                  <a:pt x="1202" y="310"/>
                </a:lnTo>
                <a:lnTo>
                  <a:pt x="1171" y="311"/>
                </a:lnTo>
                <a:lnTo>
                  <a:pt x="1197" y="316"/>
                </a:lnTo>
                <a:lnTo>
                  <a:pt x="1204" y="329"/>
                </a:lnTo>
                <a:lnTo>
                  <a:pt x="1177" y="349"/>
                </a:lnTo>
                <a:lnTo>
                  <a:pt x="1218" y="338"/>
                </a:lnTo>
                <a:lnTo>
                  <a:pt x="1219" y="354"/>
                </a:lnTo>
                <a:lnTo>
                  <a:pt x="1203" y="363"/>
                </a:lnTo>
                <a:lnTo>
                  <a:pt x="1227" y="345"/>
                </a:lnTo>
                <a:lnTo>
                  <a:pt x="1229" y="356"/>
                </a:lnTo>
                <a:lnTo>
                  <a:pt x="1251" y="339"/>
                </a:lnTo>
                <a:lnTo>
                  <a:pt x="1258" y="349"/>
                </a:lnTo>
                <a:lnTo>
                  <a:pt x="1271" y="324"/>
                </a:lnTo>
                <a:lnTo>
                  <a:pt x="1266" y="320"/>
                </a:lnTo>
                <a:lnTo>
                  <a:pt x="1284" y="307"/>
                </a:lnTo>
                <a:lnTo>
                  <a:pt x="1303" y="331"/>
                </a:lnTo>
                <a:lnTo>
                  <a:pt x="1290" y="336"/>
                </a:lnTo>
                <a:lnTo>
                  <a:pt x="1306" y="335"/>
                </a:lnTo>
                <a:lnTo>
                  <a:pt x="1312" y="344"/>
                </a:lnTo>
                <a:lnTo>
                  <a:pt x="1300" y="347"/>
                </a:lnTo>
                <a:lnTo>
                  <a:pt x="1317" y="350"/>
                </a:lnTo>
                <a:lnTo>
                  <a:pt x="1306" y="358"/>
                </a:lnTo>
                <a:lnTo>
                  <a:pt x="1317" y="354"/>
                </a:lnTo>
                <a:lnTo>
                  <a:pt x="1329" y="367"/>
                </a:lnTo>
                <a:lnTo>
                  <a:pt x="1319" y="372"/>
                </a:lnTo>
                <a:lnTo>
                  <a:pt x="1337" y="381"/>
                </a:lnTo>
                <a:lnTo>
                  <a:pt x="1312" y="390"/>
                </a:lnTo>
                <a:lnTo>
                  <a:pt x="1332" y="390"/>
                </a:lnTo>
                <a:lnTo>
                  <a:pt x="1328" y="400"/>
                </a:lnTo>
                <a:lnTo>
                  <a:pt x="1354" y="409"/>
                </a:lnTo>
                <a:lnTo>
                  <a:pt x="1365" y="428"/>
                </a:lnTo>
                <a:lnTo>
                  <a:pt x="1374" y="421"/>
                </a:lnTo>
                <a:lnTo>
                  <a:pt x="1403" y="435"/>
                </a:lnTo>
                <a:lnTo>
                  <a:pt x="1342" y="453"/>
                </a:lnTo>
                <a:lnTo>
                  <a:pt x="1354" y="462"/>
                </a:lnTo>
                <a:lnTo>
                  <a:pt x="1406" y="443"/>
                </a:lnTo>
                <a:lnTo>
                  <a:pt x="1406" y="460"/>
                </a:lnTo>
                <a:lnTo>
                  <a:pt x="1428" y="458"/>
                </a:lnTo>
                <a:lnTo>
                  <a:pt x="1433" y="465"/>
                </a:lnTo>
                <a:lnTo>
                  <a:pt x="1422" y="465"/>
                </a:lnTo>
                <a:lnTo>
                  <a:pt x="1433" y="487"/>
                </a:lnTo>
                <a:lnTo>
                  <a:pt x="1360" y="525"/>
                </a:lnTo>
                <a:lnTo>
                  <a:pt x="1254" y="525"/>
                </a:lnTo>
                <a:lnTo>
                  <a:pt x="1211" y="554"/>
                </a:lnTo>
                <a:lnTo>
                  <a:pt x="1174" y="595"/>
                </a:lnTo>
                <a:lnTo>
                  <a:pt x="1211" y="564"/>
                </a:lnTo>
                <a:lnTo>
                  <a:pt x="1267" y="546"/>
                </a:lnTo>
                <a:lnTo>
                  <a:pt x="1290" y="561"/>
                </a:lnTo>
                <a:lnTo>
                  <a:pt x="1250" y="570"/>
                </a:lnTo>
                <a:lnTo>
                  <a:pt x="1280" y="576"/>
                </a:lnTo>
                <a:lnTo>
                  <a:pt x="1271" y="590"/>
                </a:lnTo>
                <a:lnTo>
                  <a:pt x="1295" y="613"/>
                </a:lnTo>
                <a:lnTo>
                  <a:pt x="1339" y="622"/>
                </a:lnTo>
                <a:lnTo>
                  <a:pt x="1350" y="591"/>
                </a:lnTo>
                <a:lnTo>
                  <a:pt x="1350" y="609"/>
                </a:lnTo>
                <a:lnTo>
                  <a:pt x="1363" y="607"/>
                </a:lnTo>
                <a:lnTo>
                  <a:pt x="1342" y="626"/>
                </a:lnTo>
                <a:lnTo>
                  <a:pt x="1291" y="638"/>
                </a:lnTo>
                <a:lnTo>
                  <a:pt x="1270" y="660"/>
                </a:lnTo>
                <a:lnTo>
                  <a:pt x="1258" y="640"/>
                </a:lnTo>
                <a:lnTo>
                  <a:pt x="1305" y="623"/>
                </a:lnTo>
                <a:lnTo>
                  <a:pt x="1280" y="624"/>
                </a:lnTo>
                <a:lnTo>
                  <a:pt x="1284" y="613"/>
                </a:lnTo>
                <a:lnTo>
                  <a:pt x="1242" y="627"/>
                </a:lnTo>
                <a:lnTo>
                  <a:pt x="1229" y="618"/>
                </a:lnTo>
                <a:lnTo>
                  <a:pt x="1229" y="591"/>
                </a:lnTo>
                <a:lnTo>
                  <a:pt x="1203" y="584"/>
                </a:lnTo>
                <a:lnTo>
                  <a:pt x="1181" y="625"/>
                </a:lnTo>
                <a:lnTo>
                  <a:pt x="1095" y="641"/>
                </a:lnTo>
                <a:lnTo>
                  <a:pt x="1036" y="655"/>
                </a:lnTo>
                <a:lnTo>
                  <a:pt x="1027" y="665"/>
                </a:lnTo>
                <a:lnTo>
                  <a:pt x="1039" y="665"/>
                </a:lnTo>
                <a:lnTo>
                  <a:pt x="1043" y="672"/>
                </a:lnTo>
                <a:lnTo>
                  <a:pt x="972" y="689"/>
                </a:lnTo>
                <a:lnTo>
                  <a:pt x="975" y="681"/>
                </a:lnTo>
                <a:lnTo>
                  <a:pt x="981" y="676"/>
                </a:lnTo>
                <a:lnTo>
                  <a:pt x="983" y="668"/>
                </a:lnTo>
                <a:lnTo>
                  <a:pt x="993" y="662"/>
                </a:lnTo>
                <a:lnTo>
                  <a:pt x="996" y="626"/>
                </a:lnTo>
                <a:lnTo>
                  <a:pt x="1007" y="638"/>
                </a:lnTo>
                <a:lnTo>
                  <a:pt x="1029" y="634"/>
                </a:lnTo>
                <a:lnTo>
                  <a:pt x="1011" y="613"/>
                </a:lnTo>
                <a:lnTo>
                  <a:pt x="950" y="603"/>
                </a:lnTo>
                <a:lnTo>
                  <a:pt x="949" y="603"/>
                </a:lnTo>
                <a:lnTo>
                  <a:pt x="941" y="573"/>
                </a:lnTo>
                <a:lnTo>
                  <a:pt x="927" y="575"/>
                </a:lnTo>
                <a:lnTo>
                  <a:pt x="917" y="557"/>
                </a:lnTo>
                <a:lnTo>
                  <a:pt x="904" y="557"/>
                </a:lnTo>
                <a:lnTo>
                  <a:pt x="904" y="566"/>
                </a:lnTo>
                <a:lnTo>
                  <a:pt x="888" y="552"/>
                </a:lnTo>
                <a:lnTo>
                  <a:pt x="860" y="573"/>
                </a:lnTo>
                <a:lnTo>
                  <a:pt x="780" y="557"/>
                </a:lnTo>
                <a:lnTo>
                  <a:pt x="771" y="544"/>
                </a:lnTo>
                <a:lnTo>
                  <a:pt x="768" y="553"/>
                </a:lnTo>
                <a:lnTo>
                  <a:pt x="305" y="553"/>
                </a:lnTo>
                <a:lnTo>
                  <a:pt x="299" y="538"/>
                </a:lnTo>
                <a:lnTo>
                  <a:pt x="273" y="532"/>
                </a:lnTo>
                <a:lnTo>
                  <a:pt x="274" y="522"/>
                </a:lnTo>
                <a:lnTo>
                  <a:pt x="224" y="508"/>
                </a:lnTo>
                <a:lnTo>
                  <a:pt x="230" y="501"/>
                </a:lnTo>
                <a:lnTo>
                  <a:pt x="217" y="480"/>
                </a:lnTo>
                <a:lnTo>
                  <a:pt x="204" y="479"/>
                </a:lnTo>
                <a:lnTo>
                  <a:pt x="177" y="438"/>
                </a:lnTo>
                <a:lnTo>
                  <a:pt x="182" y="424"/>
                </a:lnTo>
                <a:lnTo>
                  <a:pt x="184" y="403"/>
                </a:lnTo>
                <a:lnTo>
                  <a:pt x="151" y="390"/>
                </a:lnTo>
                <a:lnTo>
                  <a:pt x="93" y="317"/>
                </a:lnTo>
                <a:lnTo>
                  <a:pt x="57" y="338"/>
                </a:lnTo>
                <a:lnTo>
                  <a:pt x="47" y="326"/>
                </a:lnTo>
                <a:lnTo>
                  <a:pt x="44" y="325"/>
                </a:lnTo>
                <a:lnTo>
                  <a:pt x="30" y="307"/>
                </a:lnTo>
                <a:lnTo>
                  <a:pt x="0" y="30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8" name="Freeform 29"/>
          <p:cNvSpPr>
            <a:spLocks/>
          </p:cNvSpPr>
          <p:nvPr/>
        </p:nvSpPr>
        <p:spPr bwMode="auto">
          <a:xfrm>
            <a:off x="1271588" y="3167063"/>
            <a:ext cx="119062" cy="68262"/>
          </a:xfrm>
          <a:custGeom>
            <a:avLst/>
            <a:gdLst>
              <a:gd name="T0" fmla="*/ 0 w 87"/>
              <a:gd name="T1" fmla="*/ 0 h 46"/>
              <a:gd name="T2" fmla="*/ 2147483647 w 87"/>
              <a:gd name="T3" fmla="*/ 2147483647 h 46"/>
              <a:gd name="T4" fmla="*/ 2147483647 w 87"/>
              <a:gd name="T5" fmla="*/ 2147483647 h 46"/>
              <a:gd name="T6" fmla="*/ 2147483647 w 87"/>
              <a:gd name="T7" fmla="*/ 2147483647 h 46"/>
              <a:gd name="T8" fmla="*/ 0 w 87"/>
              <a:gd name="T9" fmla="*/ 0 h 46"/>
              <a:gd name="T10" fmla="*/ 0 60000 65536"/>
              <a:gd name="T11" fmla="*/ 0 60000 65536"/>
              <a:gd name="T12" fmla="*/ 0 60000 65536"/>
              <a:gd name="T13" fmla="*/ 0 60000 65536"/>
              <a:gd name="T14" fmla="*/ 0 60000 65536"/>
              <a:gd name="T15" fmla="*/ 0 w 87"/>
              <a:gd name="T16" fmla="*/ 0 h 46"/>
              <a:gd name="T17" fmla="*/ 87 w 87"/>
              <a:gd name="T18" fmla="*/ 46 h 46"/>
            </a:gdLst>
            <a:ahLst/>
            <a:cxnLst>
              <a:cxn ang="T10">
                <a:pos x="T0" y="T1"/>
              </a:cxn>
              <a:cxn ang="T11">
                <a:pos x="T2" y="T3"/>
              </a:cxn>
              <a:cxn ang="T12">
                <a:pos x="T4" y="T5"/>
              </a:cxn>
              <a:cxn ang="T13">
                <a:pos x="T6" y="T7"/>
              </a:cxn>
              <a:cxn ang="T14">
                <a:pos x="T8" y="T9"/>
              </a:cxn>
            </a:cxnLst>
            <a:rect l="T15" t="T16" r="T17" b="T18"/>
            <a:pathLst>
              <a:path w="87" h="46">
                <a:moveTo>
                  <a:pt x="0" y="0"/>
                </a:moveTo>
                <a:lnTo>
                  <a:pt x="45" y="8"/>
                </a:lnTo>
                <a:lnTo>
                  <a:pt x="86" y="45"/>
                </a:lnTo>
                <a:lnTo>
                  <a:pt x="61" y="38"/>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39" name="Freeform 30"/>
          <p:cNvSpPr>
            <a:spLocks/>
          </p:cNvSpPr>
          <p:nvPr/>
        </p:nvSpPr>
        <p:spPr bwMode="auto">
          <a:xfrm>
            <a:off x="1325563" y="2298700"/>
            <a:ext cx="247650" cy="152400"/>
          </a:xfrm>
          <a:custGeom>
            <a:avLst/>
            <a:gdLst>
              <a:gd name="T0" fmla="*/ 0 w 180"/>
              <a:gd name="T1" fmla="*/ 2147483647 h 104"/>
              <a:gd name="T2" fmla="*/ 2147483647 w 180"/>
              <a:gd name="T3" fmla="*/ 2147483647 h 104"/>
              <a:gd name="T4" fmla="*/ 2147483647 w 180"/>
              <a:gd name="T5" fmla="*/ 2147483647 h 104"/>
              <a:gd name="T6" fmla="*/ 2147483647 w 180"/>
              <a:gd name="T7" fmla="*/ 2147483647 h 104"/>
              <a:gd name="T8" fmla="*/ 2147483647 w 180"/>
              <a:gd name="T9" fmla="*/ 0 h 104"/>
              <a:gd name="T10" fmla="*/ 2147483647 w 180"/>
              <a:gd name="T11" fmla="*/ 2147483647 h 104"/>
              <a:gd name="T12" fmla="*/ 2147483647 w 180"/>
              <a:gd name="T13" fmla="*/ 2147483647 h 104"/>
              <a:gd name="T14" fmla="*/ 2147483647 w 180"/>
              <a:gd name="T15" fmla="*/ 2147483647 h 104"/>
              <a:gd name="T16" fmla="*/ 2147483647 w 180"/>
              <a:gd name="T17" fmla="*/ 2147483647 h 104"/>
              <a:gd name="T18" fmla="*/ 2147483647 w 180"/>
              <a:gd name="T19" fmla="*/ 2147483647 h 104"/>
              <a:gd name="T20" fmla="*/ 2147483647 w 180"/>
              <a:gd name="T21" fmla="*/ 2147483647 h 104"/>
              <a:gd name="T22" fmla="*/ 2147483647 w 180"/>
              <a:gd name="T23" fmla="*/ 2147483647 h 104"/>
              <a:gd name="T24" fmla="*/ 0 w 180"/>
              <a:gd name="T25" fmla="*/ 2147483647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0"/>
              <a:gd name="T40" fmla="*/ 0 h 104"/>
              <a:gd name="T41" fmla="*/ 180 w 180"/>
              <a:gd name="T42" fmla="*/ 104 h 1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0" h="104">
                <a:moveTo>
                  <a:pt x="0" y="78"/>
                </a:moveTo>
                <a:lnTo>
                  <a:pt x="7" y="64"/>
                </a:lnTo>
                <a:lnTo>
                  <a:pt x="35" y="21"/>
                </a:lnTo>
                <a:lnTo>
                  <a:pt x="21" y="5"/>
                </a:lnTo>
                <a:lnTo>
                  <a:pt x="75" y="0"/>
                </a:lnTo>
                <a:lnTo>
                  <a:pt x="114" y="16"/>
                </a:lnTo>
                <a:lnTo>
                  <a:pt x="138" y="8"/>
                </a:lnTo>
                <a:lnTo>
                  <a:pt x="179" y="29"/>
                </a:lnTo>
                <a:lnTo>
                  <a:pt x="97" y="68"/>
                </a:lnTo>
                <a:lnTo>
                  <a:pt x="88" y="90"/>
                </a:lnTo>
                <a:lnTo>
                  <a:pt x="50" y="103"/>
                </a:lnTo>
                <a:lnTo>
                  <a:pt x="30" y="84"/>
                </a:lnTo>
                <a:lnTo>
                  <a:pt x="0" y="7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0" name="Freeform 31"/>
          <p:cNvSpPr>
            <a:spLocks/>
          </p:cNvSpPr>
          <p:nvPr/>
        </p:nvSpPr>
        <p:spPr bwMode="auto">
          <a:xfrm>
            <a:off x="1398588" y="2157413"/>
            <a:ext cx="166687" cy="84137"/>
          </a:xfrm>
          <a:custGeom>
            <a:avLst/>
            <a:gdLst>
              <a:gd name="T0" fmla="*/ 0 w 121"/>
              <a:gd name="T1" fmla="*/ 2147483647 h 58"/>
              <a:gd name="T2" fmla="*/ 2147483647 w 121"/>
              <a:gd name="T3" fmla="*/ 2147483647 h 58"/>
              <a:gd name="T4" fmla="*/ 2147483647 w 121"/>
              <a:gd name="T5" fmla="*/ 2147483647 h 58"/>
              <a:gd name="T6" fmla="*/ 2147483647 w 121"/>
              <a:gd name="T7" fmla="*/ 2147483647 h 58"/>
              <a:gd name="T8" fmla="*/ 2147483647 w 121"/>
              <a:gd name="T9" fmla="*/ 2147483647 h 58"/>
              <a:gd name="T10" fmla="*/ 2147483647 w 121"/>
              <a:gd name="T11" fmla="*/ 2147483647 h 58"/>
              <a:gd name="T12" fmla="*/ 2147483647 w 121"/>
              <a:gd name="T13" fmla="*/ 2147483647 h 58"/>
              <a:gd name="T14" fmla="*/ 2147483647 w 121"/>
              <a:gd name="T15" fmla="*/ 2147483647 h 58"/>
              <a:gd name="T16" fmla="*/ 2147483647 w 121"/>
              <a:gd name="T17" fmla="*/ 2147483647 h 58"/>
              <a:gd name="T18" fmla="*/ 2147483647 w 121"/>
              <a:gd name="T19" fmla="*/ 2147483647 h 58"/>
              <a:gd name="T20" fmla="*/ 2147483647 w 121"/>
              <a:gd name="T21" fmla="*/ 2147483647 h 58"/>
              <a:gd name="T22" fmla="*/ 2147483647 w 121"/>
              <a:gd name="T23" fmla="*/ 2147483647 h 58"/>
              <a:gd name="T24" fmla="*/ 2147483647 w 121"/>
              <a:gd name="T25" fmla="*/ 2147483647 h 58"/>
              <a:gd name="T26" fmla="*/ 2147483647 w 121"/>
              <a:gd name="T27" fmla="*/ 0 h 58"/>
              <a:gd name="T28" fmla="*/ 2147483647 w 121"/>
              <a:gd name="T29" fmla="*/ 2147483647 h 58"/>
              <a:gd name="T30" fmla="*/ 0 w 121"/>
              <a:gd name="T31" fmla="*/ 2147483647 h 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1"/>
              <a:gd name="T49" fmla="*/ 0 h 58"/>
              <a:gd name="T50" fmla="*/ 121 w 121"/>
              <a:gd name="T51" fmla="*/ 58 h 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1" h="58">
                <a:moveTo>
                  <a:pt x="0" y="44"/>
                </a:moveTo>
                <a:lnTo>
                  <a:pt x="27" y="52"/>
                </a:lnTo>
                <a:lnTo>
                  <a:pt x="33" y="44"/>
                </a:lnTo>
                <a:lnTo>
                  <a:pt x="42" y="57"/>
                </a:lnTo>
                <a:lnTo>
                  <a:pt x="54" y="50"/>
                </a:lnTo>
                <a:lnTo>
                  <a:pt x="51" y="40"/>
                </a:lnTo>
                <a:lnTo>
                  <a:pt x="64" y="47"/>
                </a:lnTo>
                <a:lnTo>
                  <a:pt x="73" y="26"/>
                </a:lnTo>
                <a:lnTo>
                  <a:pt x="83" y="24"/>
                </a:lnTo>
                <a:lnTo>
                  <a:pt x="87" y="42"/>
                </a:lnTo>
                <a:lnTo>
                  <a:pt x="113" y="30"/>
                </a:lnTo>
                <a:lnTo>
                  <a:pt x="105" y="14"/>
                </a:lnTo>
                <a:lnTo>
                  <a:pt x="120" y="8"/>
                </a:lnTo>
                <a:lnTo>
                  <a:pt x="103" y="0"/>
                </a:lnTo>
                <a:lnTo>
                  <a:pt x="59" y="8"/>
                </a:lnTo>
                <a:lnTo>
                  <a:pt x="0" y="4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1" name="Freeform 32"/>
          <p:cNvSpPr>
            <a:spLocks/>
          </p:cNvSpPr>
          <p:nvPr/>
        </p:nvSpPr>
        <p:spPr bwMode="auto">
          <a:xfrm>
            <a:off x="1487488" y="2351088"/>
            <a:ext cx="417512" cy="204787"/>
          </a:xfrm>
          <a:custGeom>
            <a:avLst/>
            <a:gdLst>
              <a:gd name="T0" fmla="*/ 0 w 303"/>
              <a:gd name="T1" fmla="*/ 2147483647 h 140"/>
              <a:gd name="T2" fmla="*/ 2147483647 w 303"/>
              <a:gd name="T3" fmla="*/ 2147483647 h 140"/>
              <a:gd name="T4" fmla="*/ 2147483647 w 303"/>
              <a:gd name="T5" fmla="*/ 2147483647 h 140"/>
              <a:gd name="T6" fmla="*/ 2147483647 w 303"/>
              <a:gd name="T7" fmla="*/ 2147483647 h 140"/>
              <a:gd name="T8" fmla="*/ 2147483647 w 303"/>
              <a:gd name="T9" fmla="*/ 0 h 140"/>
              <a:gd name="T10" fmla="*/ 2147483647 w 303"/>
              <a:gd name="T11" fmla="*/ 2147483647 h 140"/>
              <a:gd name="T12" fmla="*/ 2147483647 w 303"/>
              <a:gd name="T13" fmla="*/ 2147483647 h 140"/>
              <a:gd name="T14" fmla="*/ 2147483647 w 303"/>
              <a:gd name="T15" fmla="*/ 2147483647 h 140"/>
              <a:gd name="T16" fmla="*/ 2147483647 w 303"/>
              <a:gd name="T17" fmla="*/ 2147483647 h 140"/>
              <a:gd name="T18" fmla="*/ 2147483647 w 303"/>
              <a:gd name="T19" fmla="*/ 2147483647 h 140"/>
              <a:gd name="T20" fmla="*/ 2147483647 w 303"/>
              <a:gd name="T21" fmla="*/ 2147483647 h 140"/>
              <a:gd name="T22" fmla="*/ 2147483647 w 303"/>
              <a:gd name="T23" fmla="*/ 2147483647 h 140"/>
              <a:gd name="T24" fmla="*/ 2147483647 w 303"/>
              <a:gd name="T25" fmla="*/ 2147483647 h 140"/>
              <a:gd name="T26" fmla="*/ 2147483647 w 303"/>
              <a:gd name="T27" fmla="*/ 2147483647 h 140"/>
              <a:gd name="T28" fmla="*/ 2147483647 w 303"/>
              <a:gd name="T29" fmla="*/ 2147483647 h 140"/>
              <a:gd name="T30" fmla="*/ 2147483647 w 303"/>
              <a:gd name="T31" fmla="*/ 2147483647 h 140"/>
              <a:gd name="T32" fmla="*/ 2147483647 w 303"/>
              <a:gd name="T33" fmla="*/ 2147483647 h 140"/>
              <a:gd name="T34" fmla="*/ 2147483647 w 303"/>
              <a:gd name="T35" fmla="*/ 2147483647 h 140"/>
              <a:gd name="T36" fmla="*/ 2147483647 w 303"/>
              <a:gd name="T37" fmla="*/ 2147483647 h 140"/>
              <a:gd name="T38" fmla="*/ 2147483647 w 303"/>
              <a:gd name="T39" fmla="*/ 2147483647 h 140"/>
              <a:gd name="T40" fmla="*/ 2147483647 w 303"/>
              <a:gd name="T41" fmla="*/ 2147483647 h 140"/>
              <a:gd name="T42" fmla="*/ 2147483647 w 303"/>
              <a:gd name="T43" fmla="*/ 2147483647 h 140"/>
              <a:gd name="T44" fmla="*/ 2147483647 w 303"/>
              <a:gd name="T45" fmla="*/ 2147483647 h 140"/>
              <a:gd name="T46" fmla="*/ 2147483647 w 303"/>
              <a:gd name="T47" fmla="*/ 2147483647 h 140"/>
              <a:gd name="T48" fmla="*/ 2147483647 w 303"/>
              <a:gd name="T49" fmla="*/ 2147483647 h 140"/>
              <a:gd name="T50" fmla="*/ 2147483647 w 303"/>
              <a:gd name="T51" fmla="*/ 2147483647 h 140"/>
              <a:gd name="T52" fmla="*/ 2147483647 w 303"/>
              <a:gd name="T53" fmla="*/ 2147483647 h 140"/>
              <a:gd name="T54" fmla="*/ 2147483647 w 303"/>
              <a:gd name="T55" fmla="*/ 2147483647 h 140"/>
              <a:gd name="T56" fmla="*/ 2147483647 w 303"/>
              <a:gd name="T57" fmla="*/ 2147483647 h 140"/>
              <a:gd name="T58" fmla="*/ 2147483647 w 303"/>
              <a:gd name="T59" fmla="*/ 2147483647 h 140"/>
              <a:gd name="T60" fmla="*/ 2147483647 w 303"/>
              <a:gd name="T61" fmla="*/ 2147483647 h 140"/>
              <a:gd name="T62" fmla="*/ 2147483647 w 303"/>
              <a:gd name="T63" fmla="*/ 2147483647 h 140"/>
              <a:gd name="T64" fmla="*/ 2147483647 w 303"/>
              <a:gd name="T65" fmla="*/ 2147483647 h 140"/>
              <a:gd name="T66" fmla="*/ 2147483647 w 303"/>
              <a:gd name="T67" fmla="*/ 2147483647 h 140"/>
              <a:gd name="T68" fmla="*/ 2147483647 w 303"/>
              <a:gd name="T69" fmla="*/ 2147483647 h 140"/>
              <a:gd name="T70" fmla="*/ 2147483647 w 303"/>
              <a:gd name="T71" fmla="*/ 2147483647 h 140"/>
              <a:gd name="T72" fmla="*/ 2147483647 w 303"/>
              <a:gd name="T73" fmla="*/ 2147483647 h 140"/>
              <a:gd name="T74" fmla="*/ 2147483647 w 303"/>
              <a:gd name="T75" fmla="*/ 2147483647 h 140"/>
              <a:gd name="T76" fmla="*/ 0 w 303"/>
              <a:gd name="T77" fmla="*/ 2147483647 h 1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3"/>
              <a:gd name="T118" fmla="*/ 0 h 140"/>
              <a:gd name="T119" fmla="*/ 303 w 303"/>
              <a:gd name="T120" fmla="*/ 140 h 1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3" h="140">
                <a:moveTo>
                  <a:pt x="0" y="45"/>
                </a:moveTo>
                <a:lnTo>
                  <a:pt x="16" y="35"/>
                </a:lnTo>
                <a:lnTo>
                  <a:pt x="9" y="27"/>
                </a:lnTo>
                <a:lnTo>
                  <a:pt x="44" y="8"/>
                </a:lnTo>
                <a:lnTo>
                  <a:pt x="74" y="0"/>
                </a:lnTo>
                <a:lnTo>
                  <a:pt x="84" y="15"/>
                </a:lnTo>
                <a:lnTo>
                  <a:pt x="71" y="23"/>
                </a:lnTo>
                <a:lnTo>
                  <a:pt x="100" y="10"/>
                </a:lnTo>
                <a:lnTo>
                  <a:pt x="129" y="22"/>
                </a:lnTo>
                <a:lnTo>
                  <a:pt x="118" y="31"/>
                </a:lnTo>
                <a:lnTo>
                  <a:pt x="152" y="23"/>
                </a:lnTo>
                <a:lnTo>
                  <a:pt x="143" y="13"/>
                </a:lnTo>
                <a:lnTo>
                  <a:pt x="158" y="14"/>
                </a:lnTo>
                <a:lnTo>
                  <a:pt x="184" y="52"/>
                </a:lnTo>
                <a:lnTo>
                  <a:pt x="194" y="44"/>
                </a:lnTo>
                <a:lnTo>
                  <a:pt x="182" y="1"/>
                </a:lnTo>
                <a:lnTo>
                  <a:pt x="205" y="2"/>
                </a:lnTo>
                <a:lnTo>
                  <a:pt x="228" y="17"/>
                </a:lnTo>
                <a:lnTo>
                  <a:pt x="243" y="68"/>
                </a:lnTo>
                <a:lnTo>
                  <a:pt x="302" y="93"/>
                </a:lnTo>
                <a:lnTo>
                  <a:pt x="302" y="107"/>
                </a:lnTo>
                <a:lnTo>
                  <a:pt x="286" y="100"/>
                </a:lnTo>
                <a:lnTo>
                  <a:pt x="266" y="110"/>
                </a:lnTo>
                <a:lnTo>
                  <a:pt x="293" y="120"/>
                </a:lnTo>
                <a:lnTo>
                  <a:pt x="270" y="132"/>
                </a:lnTo>
                <a:lnTo>
                  <a:pt x="231" y="127"/>
                </a:lnTo>
                <a:lnTo>
                  <a:pt x="207" y="111"/>
                </a:lnTo>
                <a:lnTo>
                  <a:pt x="159" y="136"/>
                </a:lnTo>
                <a:lnTo>
                  <a:pt x="96" y="139"/>
                </a:lnTo>
                <a:lnTo>
                  <a:pt x="84" y="118"/>
                </a:lnTo>
                <a:lnTo>
                  <a:pt x="49" y="117"/>
                </a:lnTo>
                <a:lnTo>
                  <a:pt x="27" y="96"/>
                </a:lnTo>
                <a:lnTo>
                  <a:pt x="116" y="86"/>
                </a:lnTo>
                <a:lnTo>
                  <a:pt x="23" y="80"/>
                </a:lnTo>
                <a:lnTo>
                  <a:pt x="12" y="68"/>
                </a:lnTo>
                <a:lnTo>
                  <a:pt x="58" y="54"/>
                </a:lnTo>
                <a:lnTo>
                  <a:pt x="16" y="59"/>
                </a:lnTo>
                <a:lnTo>
                  <a:pt x="20" y="52"/>
                </a:lnTo>
                <a:lnTo>
                  <a:pt x="0" y="4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2" name="Freeform 33"/>
          <p:cNvSpPr>
            <a:spLocks/>
          </p:cNvSpPr>
          <p:nvPr/>
        </p:nvSpPr>
        <p:spPr bwMode="auto">
          <a:xfrm>
            <a:off x="1519238" y="2189163"/>
            <a:ext cx="284162" cy="117475"/>
          </a:xfrm>
          <a:custGeom>
            <a:avLst/>
            <a:gdLst>
              <a:gd name="T0" fmla="*/ 0 w 207"/>
              <a:gd name="T1" fmla="*/ 2147483647 h 80"/>
              <a:gd name="T2" fmla="*/ 2147483647 w 207"/>
              <a:gd name="T3" fmla="*/ 2147483647 h 80"/>
              <a:gd name="T4" fmla="*/ 2147483647 w 207"/>
              <a:gd name="T5" fmla="*/ 2147483647 h 80"/>
              <a:gd name="T6" fmla="*/ 2147483647 w 207"/>
              <a:gd name="T7" fmla="*/ 2147483647 h 80"/>
              <a:gd name="T8" fmla="*/ 2147483647 w 207"/>
              <a:gd name="T9" fmla="*/ 2147483647 h 80"/>
              <a:gd name="T10" fmla="*/ 2147483647 w 207"/>
              <a:gd name="T11" fmla="*/ 2147483647 h 80"/>
              <a:gd name="T12" fmla="*/ 2147483647 w 207"/>
              <a:gd name="T13" fmla="*/ 2147483647 h 80"/>
              <a:gd name="T14" fmla="*/ 2147483647 w 207"/>
              <a:gd name="T15" fmla="*/ 2147483647 h 80"/>
              <a:gd name="T16" fmla="*/ 2147483647 w 207"/>
              <a:gd name="T17" fmla="*/ 2147483647 h 80"/>
              <a:gd name="T18" fmla="*/ 2147483647 w 207"/>
              <a:gd name="T19" fmla="*/ 2147483647 h 80"/>
              <a:gd name="T20" fmla="*/ 2147483647 w 207"/>
              <a:gd name="T21" fmla="*/ 2147483647 h 80"/>
              <a:gd name="T22" fmla="*/ 2147483647 w 207"/>
              <a:gd name="T23" fmla="*/ 2147483647 h 80"/>
              <a:gd name="T24" fmla="*/ 2147483647 w 207"/>
              <a:gd name="T25" fmla="*/ 2147483647 h 80"/>
              <a:gd name="T26" fmla="*/ 2147483647 w 207"/>
              <a:gd name="T27" fmla="*/ 2147483647 h 80"/>
              <a:gd name="T28" fmla="*/ 2147483647 w 207"/>
              <a:gd name="T29" fmla="*/ 2147483647 h 80"/>
              <a:gd name="T30" fmla="*/ 2147483647 w 207"/>
              <a:gd name="T31" fmla="*/ 2147483647 h 80"/>
              <a:gd name="T32" fmla="*/ 2147483647 w 207"/>
              <a:gd name="T33" fmla="*/ 0 h 80"/>
              <a:gd name="T34" fmla="*/ 2147483647 w 207"/>
              <a:gd name="T35" fmla="*/ 2147483647 h 80"/>
              <a:gd name="T36" fmla="*/ 2147483647 w 207"/>
              <a:gd name="T37" fmla="*/ 2147483647 h 80"/>
              <a:gd name="T38" fmla="*/ 2147483647 w 207"/>
              <a:gd name="T39" fmla="*/ 2147483647 h 80"/>
              <a:gd name="T40" fmla="*/ 2147483647 w 207"/>
              <a:gd name="T41" fmla="*/ 2147483647 h 80"/>
              <a:gd name="T42" fmla="*/ 2147483647 w 207"/>
              <a:gd name="T43" fmla="*/ 2147483647 h 80"/>
              <a:gd name="T44" fmla="*/ 2147483647 w 207"/>
              <a:gd name="T45" fmla="*/ 2147483647 h 80"/>
              <a:gd name="T46" fmla="*/ 2147483647 w 207"/>
              <a:gd name="T47" fmla="*/ 2147483647 h 80"/>
              <a:gd name="T48" fmla="*/ 2147483647 w 207"/>
              <a:gd name="T49" fmla="*/ 2147483647 h 80"/>
              <a:gd name="T50" fmla="*/ 2147483647 w 207"/>
              <a:gd name="T51" fmla="*/ 2147483647 h 80"/>
              <a:gd name="T52" fmla="*/ 2147483647 w 207"/>
              <a:gd name="T53" fmla="*/ 2147483647 h 80"/>
              <a:gd name="T54" fmla="*/ 2147483647 w 207"/>
              <a:gd name="T55" fmla="*/ 2147483647 h 80"/>
              <a:gd name="T56" fmla="*/ 2147483647 w 207"/>
              <a:gd name="T57" fmla="*/ 2147483647 h 80"/>
              <a:gd name="T58" fmla="*/ 2147483647 w 207"/>
              <a:gd name="T59" fmla="*/ 2147483647 h 80"/>
              <a:gd name="T60" fmla="*/ 2147483647 w 207"/>
              <a:gd name="T61" fmla="*/ 2147483647 h 80"/>
              <a:gd name="T62" fmla="*/ 2147483647 w 207"/>
              <a:gd name="T63" fmla="*/ 2147483647 h 80"/>
              <a:gd name="T64" fmla="*/ 2147483647 w 207"/>
              <a:gd name="T65" fmla="*/ 2147483647 h 80"/>
              <a:gd name="T66" fmla="*/ 0 w 207"/>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7"/>
              <a:gd name="T103" fmla="*/ 0 h 80"/>
              <a:gd name="T104" fmla="*/ 207 w 207"/>
              <a:gd name="T105" fmla="*/ 80 h 8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7" h="80">
                <a:moveTo>
                  <a:pt x="0" y="52"/>
                </a:moveTo>
                <a:lnTo>
                  <a:pt x="6" y="45"/>
                </a:lnTo>
                <a:lnTo>
                  <a:pt x="42" y="38"/>
                </a:lnTo>
                <a:lnTo>
                  <a:pt x="6" y="39"/>
                </a:lnTo>
                <a:lnTo>
                  <a:pt x="48" y="32"/>
                </a:lnTo>
                <a:lnTo>
                  <a:pt x="14" y="32"/>
                </a:lnTo>
                <a:lnTo>
                  <a:pt x="19" y="22"/>
                </a:lnTo>
                <a:lnTo>
                  <a:pt x="48" y="22"/>
                </a:lnTo>
                <a:lnTo>
                  <a:pt x="27" y="20"/>
                </a:lnTo>
                <a:lnTo>
                  <a:pt x="45" y="13"/>
                </a:lnTo>
                <a:lnTo>
                  <a:pt x="84" y="22"/>
                </a:lnTo>
                <a:lnTo>
                  <a:pt x="107" y="44"/>
                </a:lnTo>
                <a:lnTo>
                  <a:pt x="145" y="44"/>
                </a:lnTo>
                <a:lnTo>
                  <a:pt x="129" y="32"/>
                </a:lnTo>
                <a:lnTo>
                  <a:pt x="139" y="24"/>
                </a:lnTo>
                <a:lnTo>
                  <a:pt x="120" y="13"/>
                </a:lnTo>
                <a:lnTo>
                  <a:pt x="149" y="0"/>
                </a:lnTo>
                <a:lnTo>
                  <a:pt x="161" y="19"/>
                </a:lnTo>
                <a:lnTo>
                  <a:pt x="153" y="26"/>
                </a:lnTo>
                <a:lnTo>
                  <a:pt x="169" y="28"/>
                </a:lnTo>
                <a:lnTo>
                  <a:pt x="163" y="35"/>
                </a:lnTo>
                <a:lnTo>
                  <a:pt x="181" y="38"/>
                </a:lnTo>
                <a:lnTo>
                  <a:pt x="191" y="27"/>
                </a:lnTo>
                <a:lnTo>
                  <a:pt x="206" y="40"/>
                </a:lnTo>
                <a:lnTo>
                  <a:pt x="194" y="59"/>
                </a:lnTo>
                <a:lnTo>
                  <a:pt x="151" y="57"/>
                </a:lnTo>
                <a:lnTo>
                  <a:pt x="83" y="79"/>
                </a:lnTo>
                <a:lnTo>
                  <a:pt x="55" y="67"/>
                </a:lnTo>
                <a:lnTo>
                  <a:pt x="112" y="52"/>
                </a:lnTo>
                <a:lnTo>
                  <a:pt x="62" y="59"/>
                </a:lnTo>
                <a:lnTo>
                  <a:pt x="72" y="46"/>
                </a:lnTo>
                <a:lnTo>
                  <a:pt x="47" y="60"/>
                </a:lnTo>
                <a:lnTo>
                  <a:pt x="16" y="57"/>
                </a:lnTo>
                <a:lnTo>
                  <a:pt x="0" y="5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3" name="Freeform 34"/>
          <p:cNvSpPr>
            <a:spLocks/>
          </p:cNvSpPr>
          <p:nvPr/>
        </p:nvSpPr>
        <p:spPr bwMode="auto">
          <a:xfrm>
            <a:off x="1797050" y="2070100"/>
            <a:ext cx="149225" cy="71438"/>
          </a:xfrm>
          <a:custGeom>
            <a:avLst/>
            <a:gdLst>
              <a:gd name="T0" fmla="*/ 0 w 108"/>
              <a:gd name="T1" fmla="*/ 0 h 49"/>
              <a:gd name="T2" fmla="*/ 2147483647 w 108"/>
              <a:gd name="T3" fmla="*/ 2147483647 h 49"/>
              <a:gd name="T4" fmla="*/ 2147483647 w 108"/>
              <a:gd name="T5" fmla="*/ 2147483647 h 49"/>
              <a:gd name="T6" fmla="*/ 2147483647 w 108"/>
              <a:gd name="T7" fmla="*/ 2147483647 h 49"/>
              <a:gd name="T8" fmla="*/ 2147483647 w 108"/>
              <a:gd name="T9" fmla="*/ 2147483647 h 49"/>
              <a:gd name="T10" fmla="*/ 2147483647 w 108"/>
              <a:gd name="T11" fmla="*/ 2147483647 h 49"/>
              <a:gd name="T12" fmla="*/ 2147483647 w 108"/>
              <a:gd name="T13" fmla="*/ 2147483647 h 49"/>
              <a:gd name="T14" fmla="*/ 2147483647 w 108"/>
              <a:gd name="T15" fmla="*/ 2147483647 h 49"/>
              <a:gd name="T16" fmla="*/ 2147483647 w 108"/>
              <a:gd name="T17" fmla="*/ 2147483647 h 49"/>
              <a:gd name="T18" fmla="*/ 2147483647 w 108"/>
              <a:gd name="T19" fmla="*/ 2147483647 h 49"/>
              <a:gd name="T20" fmla="*/ 2147483647 w 108"/>
              <a:gd name="T21" fmla="*/ 2147483647 h 49"/>
              <a:gd name="T22" fmla="*/ 2147483647 w 108"/>
              <a:gd name="T23" fmla="*/ 0 h 49"/>
              <a:gd name="T24" fmla="*/ 0 w 108"/>
              <a:gd name="T25" fmla="*/ 0 h 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8"/>
              <a:gd name="T40" fmla="*/ 0 h 49"/>
              <a:gd name="T41" fmla="*/ 108 w 108"/>
              <a:gd name="T42" fmla="*/ 49 h 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8" h="49">
                <a:moveTo>
                  <a:pt x="0" y="0"/>
                </a:moveTo>
                <a:lnTo>
                  <a:pt x="10" y="18"/>
                </a:lnTo>
                <a:lnTo>
                  <a:pt x="36" y="18"/>
                </a:lnTo>
                <a:lnTo>
                  <a:pt x="26" y="23"/>
                </a:lnTo>
                <a:lnTo>
                  <a:pt x="34" y="27"/>
                </a:lnTo>
                <a:lnTo>
                  <a:pt x="11" y="31"/>
                </a:lnTo>
                <a:lnTo>
                  <a:pt x="50" y="35"/>
                </a:lnTo>
                <a:lnTo>
                  <a:pt x="107" y="48"/>
                </a:lnTo>
                <a:lnTo>
                  <a:pt x="100" y="22"/>
                </a:lnTo>
                <a:lnTo>
                  <a:pt x="57" y="5"/>
                </a:lnTo>
                <a:lnTo>
                  <a:pt x="41" y="11"/>
                </a:lnTo>
                <a:lnTo>
                  <a:pt x="37" y="0"/>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4" name="Freeform 35"/>
          <p:cNvSpPr>
            <a:spLocks/>
          </p:cNvSpPr>
          <p:nvPr/>
        </p:nvSpPr>
        <p:spPr bwMode="auto">
          <a:xfrm>
            <a:off x="1868488" y="2205038"/>
            <a:ext cx="117475" cy="69850"/>
          </a:xfrm>
          <a:custGeom>
            <a:avLst/>
            <a:gdLst>
              <a:gd name="T0" fmla="*/ 0 w 85"/>
              <a:gd name="T1" fmla="*/ 2147483647 h 48"/>
              <a:gd name="T2" fmla="*/ 2147483647 w 85"/>
              <a:gd name="T3" fmla="*/ 2147483647 h 48"/>
              <a:gd name="T4" fmla="*/ 2147483647 w 85"/>
              <a:gd name="T5" fmla="*/ 2147483647 h 48"/>
              <a:gd name="T6" fmla="*/ 2147483647 w 85"/>
              <a:gd name="T7" fmla="*/ 2147483647 h 48"/>
              <a:gd name="T8" fmla="*/ 2147483647 w 85"/>
              <a:gd name="T9" fmla="*/ 2147483647 h 48"/>
              <a:gd name="T10" fmla="*/ 2147483647 w 85"/>
              <a:gd name="T11" fmla="*/ 2147483647 h 48"/>
              <a:gd name="T12" fmla="*/ 2147483647 w 85"/>
              <a:gd name="T13" fmla="*/ 2147483647 h 48"/>
              <a:gd name="T14" fmla="*/ 2147483647 w 85"/>
              <a:gd name="T15" fmla="*/ 0 h 48"/>
              <a:gd name="T16" fmla="*/ 2147483647 w 85"/>
              <a:gd name="T17" fmla="*/ 2147483647 h 48"/>
              <a:gd name="T18" fmla="*/ 2147483647 w 85"/>
              <a:gd name="T19" fmla="*/ 2147483647 h 48"/>
              <a:gd name="T20" fmla="*/ 2147483647 w 85"/>
              <a:gd name="T21" fmla="*/ 2147483647 h 48"/>
              <a:gd name="T22" fmla="*/ 2147483647 w 85"/>
              <a:gd name="T23" fmla="*/ 2147483647 h 48"/>
              <a:gd name="T24" fmla="*/ 2147483647 w 85"/>
              <a:gd name="T25" fmla="*/ 2147483647 h 48"/>
              <a:gd name="T26" fmla="*/ 2147483647 w 85"/>
              <a:gd name="T27" fmla="*/ 2147483647 h 48"/>
              <a:gd name="T28" fmla="*/ 2147483647 w 85"/>
              <a:gd name="T29" fmla="*/ 2147483647 h 48"/>
              <a:gd name="T30" fmla="*/ 0 w 85"/>
              <a:gd name="T31" fmla="*/ 2147483647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5"/>
              <a:gd name="T49" fmla="*/ 0 h 48"/>
              <a:gd name="T50" fmla="*/ 85 w 85"/>
              <a:gd name="T51" fmla="*/ 48 h 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5" h="48">
                <a:moveTo>
                  <a:pt x="0" y="32"/>
                </a:moveTo>
                <a:lnTo>
                  <a:pt x="7" y="21"/>
                </a:lnTo>
                <a:lnTo>
                  <a:pt x="25" y="24"/>
                </a:lnTo>
                <a:lnTo>
                  <a:pt x="5" y="11"/>
                </a:lnTo>
                <a:lnTo>
                  <a:pt x="9" y="2"/>
                </a:lnTo>
                <a:lnTo>
                  <a:pt x="44" y="17"/>
                </a:lnTo>
                <a:lnTo>
                  <a:pt x="25" y="2"/>
                </a:lnTo>
                <a:lnTo>
                  <a:pt x="75" y="0"/>
                </a:lnTo>
                <a:lnTo>
                  <a:pt x="84" y="36"/>
                </a:lnTo>
                <a:lnTo>
                  <a:pt x="74" y="31"/>
                </a:lnTo>
                <a:lnTo>
                  <a:pt x="73" y="47"/>
                </a:lnTo>
                <a:lnTo>
                  <a:pt x="32" y="47"/>
                </a:lnTo>
                <a:lnTo>
                  <a:pt x="40" y="41"/>
                </a:lnTo>
                <a:lnTo>
                  <a:pt x="30" y="34"/>
                </a:lnTo>
                <a:lnTo>
                  <a:pt x="59" y="24"/>
                </a:lnTo>
                <a:lnTo>
                  <a:pt x="0" y="3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5" name="Freeform 36"/>
          <p:cNvSpPr>
            <a:spLocks/>
          </p:cNvSpPr>
          <p:nvPr/>
        </p:nvSpPr>
        <p:spPr bwMode="auto">
          <a:xfrm>
            <a:off x="1868488" y="2328863"/>
            <a:ext cx="139700" cy="112712"/>
          </a:xfrm>
          <a:custGeom>
            <a:avLst/>
            <a:gdLst>
              <a:gd name="T0" fmla="*/ 0 w 102"/>
              <a:gd name="T1" fmla="*/ 2147483647 h 78"/>
              <a:gd name="T2" fmla="*/ 2147483647 w 102"/>
              <a:gd name="T3" fmla="*/ 2147483647 h 78"/>
              <a:gd name="T4" fmla="*/ 2147483647 w 102"/>
              <a:gd name="T5" fmla="*/ 2147483647 h 78"/>
              <a:gd name="T6" fmla="*/ 2147483647 w 102"/>
              <a:gd name="T7" fmla="*/ 2147483647 h 78"/>
              <a:gd name="T8" fmla="*/ 2147483647 w 102"/>
              <a:gd name="T9" fmla="*/ 2147483647 h 78"/>
              <a:gd name="T10" fmla="*/ 2147483647 w 102"/>
              <a:gd name="T11" fmla="*/ 2147483647 h 78"/>
              <a:gd name="T12" fmla="*/ 2147483647 w 102"/>
              <a:gd name="T13" fmla="*/ 2147483647 h 78"/>
              <a:gd name="T14" fmla="*/ 2147483647 w 102"/>
              <a:gd name="T15" fmla="*/ 2147483647 h 78"/>
              <a:gd name="T16" fmla="*/ 2147483647 w 102"/>
              <a:gd name="T17" fmla="*/ 0 h 78"/>
              <a:gd name="T18" fmla="*/ 2147483647 w 102"/>
              <a:gd name="T19" fmla="*/ 2147483647 h 78"/>
              <a:gd name="T20" fmla="*/ 2147483647 w 102"/>
              <a:gd name="T21" fmla="*/ 2147483647 h 78"/>
              <a:gd name="T22" fmla="*/ 2147483647 w 102"/>
              <a:gd name="T23" fmla="*/ 2147483647 h 78"/>
              <a:gd name="T24" fmla="*/ 2147483647 w 102"/>
              <a:gd name="T25" fmla="*/ 2147483647 h 78"/>
              <a:gd name="T26" fmla="*/ 2147483647 w 102"/>
              <a:gd name="T27" fmla="*/ 2147483647 h 78"/>
              <a:gd name="T28" fmla="*/ 2147483647 w 102"/>
              <a:gd name="T29" fmla="*/ 2147483647 h 78"/>
              <a:gd name="T30" fmla="*/ 0 w 102"/>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2"/>
              <a:gd name="T49" fmla="*/ 0 h 78"/>
              <a:gd name="T50" fmla="*/ 102 w 102"/>
              <a:gd name="T51" fmla="*/ 78 h 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2" h="78">
                <a:moveTo>
                  <a:pt x="0" y="39"/>
                </a:moveTo>
                <a:lnTo>
                  <a:pt x="5" y="28"/>
                </a:lnTo>
                <a:lnTo>
                  <a:pt x="39" y="36"/>
                </a:lnTo>
                <a:lnTo>
                  <a:pt x="35" y="23"/>
                </a:lnTo>
                <a:lnTo>
                  <a:pt x="45" y="24"/>
                </a:lnTo>
                <a:lnTo>
                  <a:pt x="20" y="17"/>
                </a:lnTo>
                <a:lnTo>
                  <a:pt x="32" y="14"/>
                </a:lnTo>
                <a:lnTo>
                  <a:pt x="21" y="7"/>
                </a:lnTo>
                <a:lnTo>
                  <a:pt x="86" y="0"/>
                </a:lnTo>
                <a:lnTo>
                  <a:pt x="89" y="17"/>
                </a:lnTo>
                <a:lnTo>
                  <a:pt x="69" y="31"/>
                </a:lnTo>
                <a:lnTo>
                  <a:pt x="97" y="36"/>
                </a:lnTo>
                <a:lnTo>
                  <a:pt x="101" y="62"/>
                </a:lnTo>
                <a:lnTo>
                  <a:pt x="59" y="77"/>
                </a:lnTo>
                <a:lnTo>
                  <a:pt x="39" y="54"/>
                </a:lnTo>
                <a:lnTo>
                  <a:pt x="0" y="3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6" name="Freeform 37"/>
          <p:cNvSpPr>
            <a:spLocks/>
          </p:cNvSpPr>
          <p:nvPr/>
        </p:nvSpPr>
        <p:spPr bwMode="auto">
          <a:xfrm>
            <a:off x="1966913" y="2090738"/>
            <a:ext cx="80962" cy="55562"/>
          </a:xfrm>
          <a:custGeom>
            <a:avLst/>
            <a:gdLst>
              <a:gd name="T0" fmla="*/ 0 w 59"/>
              <a:gd name="T1" fmla="*/ 0 h 38"/>
              <a:gd name="T2" fmla="*/ 2147483647 w 59"/>
              <a:gd name="T3" fmla="*/ 2147483647 h 38"/>
              <a:gd name="T4" fmla="*/ 2147483647 w 59"/>
              <a:gd name="T5" fmla="*/ 2147483647 h 38"/>
              <a:gd name="T6" fmla="*/ 2147483647 w 59"/>
              <a:gd name="T7" fmla="*/ 2147483647 h 38"/>
              <a:gd name="T8" fmla="*/ 2147483647 w 59"/>
              <a:gd name="T9" fmla="*/ 2147483647 h 38"/>
              <a:gd name="T10" fmla="*/ 2147483647 w 59"/>
              <a:gd name="T11" fmla="*/ 2147483647 h 38"/>
              <a:gd name="T12" fmla="*/ 2147483647 w 59"/>
              <a:gd name="T13" fmla="*/ 2147483647 h 38"/>
              <a:gd name="T14" fmla="*/ 0 w 59"/>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8"/>
              <a:gd name="T26" fmla="*/ 59 w 59"/>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8">
                <a:moveTo>
                  <a:pt x="0" y="0"/>
                </a:moveTo>
                <a:lnTo>
                  <a:pt x="6" y="21"/>
                </a:lnTo>
                <a:lnTo>
                  <a:pt x="26" y="24"/>
                </a:lnTo>
                <a:lnTo>
                  <a:pt x="9" y="28"/>
                </a:lnTo>
                <a:lnTo>
                  <a:pt x="19" y="37"/>
                </a:lnTo>
                <a:lnTo>
                  <a:pt x="57" y="31"/>
                </a:lnTo>
                <a:lnTo>
                  <a:pt x="58" y="17"/>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7" name="Freeform 38"/>
          <p:cNvSpPr>
            <a:spLocks/>
          </p:cNvSpPr>
          <p:nvPr/>
        </p:nvSpPr>
        <p:spPr bwMode="auto">
          <a:xfrm>
            <a:off x="1998663" y="2178050"/>
            <a:ext cx="400050" cy="128588"/>
          </a:xfrm>
          <a:custGeom>
            <a:avLst/>
            <a:gdLst>
              <a:gd name="T0" fmla="*/ 0 w 291"/>
              <a:gd name="T1" fmla="*/ 2147483647 h 88"/>
              <a:gd name="T2" fmla="*/ 2147483647 w 291"/>
              <a:gd name="T3" fmla="*/ 0 h 88"/>
              <a:gd name="T4" fmla="*/ 2147483647 w 291"/>
              <a:gd name="T5" fmla="*/ 2147483647 h 88"/>
              <a:gd name="T6" fmla="*/ 2147483647 w 291"/>
              <a:gd name="T7" fmla="*/ 2147483647 h 88"/>
              <a:gd name="T8" fmla="*/ 2147483647 w 291"/>
              <a:gd name="T9" fmla="*/ 2147483647 h 88"/>
              <a:gd name="T10" fmla="*/ 2147483647 w 291"/>
              <a:gd name="T11" fmla="*/ 2147483647 h 88"/>
              <a:gd name="T12" fmla="*/ 2147483647 w 291"/>
              <a:gd name="T13" fmla="*/ 2147483647 h 88"/>
              <a:gd name="T14" fmla="*/ 2147483647 w 291"/>
              <a:gd name="T15" fmla="*/ 2147483647 h 88"/>
              <a:gd name="T16" fmla="*/ 2147483647 w 291"/>
              <a:gd name="T17" fmla="*/ 2147483647 h 88"/>
              <a:gd name="T18" fmla="*/ 2147483647 w 291"/>
              <a:gd name="T19" fmla="*/ 2147483647 h 88"/>
              <a:gd name="T20" fmla="*/ 2147483647 w 291"/>
              <a:gd name="T21" fmla="*/ 2147483647 h 88"/>
              <a:gd name="T22" fmla="*/ 2147483647 w 291"/>
              <a:gd name="T23" fmla="*/ 2147483647 h 88"/>
              <a:gd name="T24" fmla="*/ 2147483647 w 291"/>
              <a:gd name="T25" fmla="*/ 2147483647 h 88"/>
              <a:gd name="T26" fmla="*/ 2147483647 w 291"/>
              <a:gd name="T27" fmla="*/ 2147483647 h 88"/>
              <a:gd name="T28" fmla="*/ 2147483647 w 291"/>
              <a:gd name="T29" fmla="*/ 2147483647 h 88"/>
              <a:gd name="T30" fmla="*/ 2147483647 w 291"/>
              <a:gd name="T31" fmla="*/ 2147483647 h 88"/>
              <a:gd name="T32" fmla="*/ 2147483647 w 291"/>
              <a:gd name="T33" fmla="*/ 2147483647 h 88"/>
              <a:gd name="T34" fmla="*/ 2147483647 w 291"/>
              <a:gd name="T35" fmla="*/ 2147483647 h 88"/>
              <a:gd name="T36" fmla="*/ 2147483647 w 291"/>
              <a:gd name="T37" fmla="*/ 2147483647 h 88"/>
              <a:gd name="T38" fmla="*/ 2147483647 w 291"/>
              <a:gd name="T39" fmla="*/ 2147483647 h 88"/>
              <a:gd name="T40" fmla="*/ 2147483647 w 291"/>
              <a:gd name="T41" fmla="*/ 2147483647 h 88"/>
              <a:gd name="T42" fmla="*/ 2147483647 w 291"/>
              <a:gd name="T43" fmla="*/ 2147483647 h 88"/>
              <a:gd name="T44" fmla="*/ 2147483647 w 291"/>
              <a:gd name="T45" fmla="*/ 2147483647 h 88"/>
              <a:gd name="T46" fmla="*/ 2147483647 w 291"/>
              <a:gd name="T47" fmla="*/ 2147483647 h 88"/>
              <a:gd name="T48" fmla="*/ 2147483647 w 291"/>
              <a:gd name="T49" fmla="*/ 2147483647 h 88"/>
              <a:gd name="T50" fmla="*/ 2147483647 w 291"/>
              <a:gd name="T51" fmla="*/ 2147483647 h 88"/>
              <a:gd name="T52" fmla="*/ 2147483647 w 291"/>
              <a:gd name="T53" fmla="*/ 2147483647 h 88"/>
              <a:gd name="T54" fmla="*/ 2147483647 w 291"/>
              <a:gd name="T55" fmla="*/ 2147483647 h 88"/>
              <a:gd name="T56" fmla="*/ 2147483647 w 291"/>
              <a:gd name="T57" fmla="*/ 2147483647 h 88"/>
              <a:gd name="T58" fmla="*/ 2147483647 w 291"/>
              <a:gd name="T59" fmla="*/ 2147483647 h 88"/>
              <a:gd name="T60" fmla="*/ 2147483647 w 291"/>
              <a:gd name="T61" fmla="*/ 2147483647 h 88"/>
              <a:gd name="T62" fmla="*/ 0 w 291"/>
              <a:gd name="T63" fmla="*/ 2147483647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1"/>
              <a:gd name="T97" fmla="*/ 0 h 88"/>
              <a:gd name="T98" fmla="*/ 291 w 291"/>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1" h="88">
                <a:moveTo>
                  <a:pt x="0" y="13"/>
                </a:moveTo>
                <a:lnTo>
                  <a:pt x="17" y="0"/>
                </a:lnTo>
                <a:lnTo>
                  <a:pt x="43" y="7"/>
                </a:lnTo>
                <a:lnTo>
                  <a:pt x="59" y="13"/>
                </a:lnTo>
                <a:lnTo>
                  <a:pt x="54" y="24"/>
                </a:lnTo>
                <a:lnTo>
                  <a:pt x="89" y="15"/>
                </a:lnTo>
                <a:lnTo>
                  <a:pt x="107" y="21"/>
                </a:lnTo>
                <a:lnTo>
                  <a:pt x="91" y="21"/>
                </a:lnTo>
                <a:lnTo>
                  <a:pt x="128" y="31"/>
                </a:lnTo>
                <a:lnTo>
                  <a:pt x="89" y="33"/>
                </a:lnTo>
                <a:lnTo>
                  <a:pt x="107" y="36"/>
                </a:lnTo>
                <a:lnTo>
                  <a:pt x="94" y="46"/>
                </a:lnTo>
                <a:lnTo>
                  <a:pt x="114" y="40"/>
                </a:lnTo>
                <a:lnTo>
                  <a:pt x="132" y="58"/>
                </a:lnTo>
                <a:lnTo>
                  <a:pt x="136" y="48"/>
                </a:lnTo>
                <a:lnTo>
                  <a:pt x="188" y="58"/>
                </a:lnTo>
                <a:lnTo>
                  <a:pt x="244" y="42"/>
                </a:lnTo>
                <a:lnTo>
                  <a:pt x="290" y="60"/>
                </a:lnTo>
                <a:lnTo>
                  <a:pt x="273" y="67"/>
                </a:lnTo>
                <a:lnTo>
                  <a:pt x="280" y="83"/>
                </a:lnTo>
                <a:lnTo>
                  <a:pt x="252" y="87"/>
                </a:lnTo>
                <a:lnTo>
                  <a:pt x="222" y="73"/>
                </a:lnTo>
                <a:lnTo>
                  <a:pt x="222" y="83"/>
                </a:lnTo>
                <a:lnTo>
                  <a:pt x="209" y="85"/>
                </a:lnTo>
                <a:lnTo>
                  <a:pt x="142" y="87"/>
                </a:lnTo>
                <a:lnTo>
                  <a:pt x="135" y="75"/>
                </a:lnTo>
                <a:lnTo>
                  <a:pt x="121" y="85"/>
                </a:lnTo>
                <a:lnTo>
                  <a:pt x="100" y="75"/>
                </a:lnTo>
                <a:lnTo>
                  <a:pt x="88" y="82"/>
                </a:lnTo>
                <a:lnTo>
                  <a:pt x="62" y="27"/>
                </a:lnTo>
                <a:lnTo>
                  <a:pt x="33" y="31"/>
                </a:lnTo>
                <a:lnTo>
                  <a:pt x="0" y="1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8" name="Freeform 39"/>
          <p:cNvSpPr>
            <a:spLocks/>
          </p:cNvSpPr>
          <p:nvPr/>
        </p:nvSpPr>
        <p:spPr bwMode="auto">
          <a:xfrm>
            <a:off x="2012950" y="1962150"/>
            <a:ext cx="261938" cy="169863"/>
          </a:xfrm>
          <a:custGeom>
            <a:avLst/>
            <a:gdLst>
              <a:gd name="T0" fmla="*/ 0 w 190"/>
              <a:gd name="T1" fmla="*/ 2147483647 h 116"/>
              <a:gd name="T2" fmla="*/ 2147483647 w 190"/>
              <a:gd name="T3" fmla="*/ 2147483647 h 116"/>
              <a:gd name="T4" fmla="*/ 2147483647 w 190"/>
              <a:gd name="T5" fmla="*/ 2147483647 h 116"/>
              <a:gd name="T6" fmla="*/ 2147483647 w 190"/>
              <a:gd name="T7" fmla="*/ 2147483647 h 116"/>
              <a:gd name="T8" fmla="*/ 2147483647 w 190"/>
              <a:gd name="T9" fmla="*/ 0 h 116"/>
              <a:gd name="T10" fmla="*/ 2147483647 w 190"/>
              <a:gd name="T11" fmla="*/ 2147483647 h 116"/>
              <a:gd name="T12" fmla="*/ 2147483647 w 190"/>
              <a:gd name="T13" fmla="*/ 2147483647 h 116"/>
              <a:gd name="T14" fmla="*/ 2147483647 w 190"/>
              <a:gd name="T15" fmla="*/ 2147483647 h 116"/>
              <a:gd name="T16" fmla="*/ 2147483647 w 190"/>
              <a:gd name="T17" fmla="*/ 2147483647 h 116"/>
              <a:gd name="T18" fmla="*/ 2147483647 w 190"/>
              <a:gd name="T19" fmla="*/ 2147483647 h 116"/>
              <a:gd name="T20" fmla="*/ 2147483647 w 190"/>
              <a:gd name="T21" fmla="*/ 2147483647 h 116"/>
              <a:gd name="T22" fmla="*/ 2147483647 w 190"/>
              <a:gd name="T23" fmla="*/ 2147483647 h 116"/>
              <a:gd name="T24" fmla="*/ 2147483647 w 190"/>
              <a:gd name="T25" fmla="*/ 2147483647 h 116"/>
              <a:gd name="T26" fmla="*/ 2147483647 w 190"/>
              <a:gd name="T27" fmla="*/ 2147483647 h 116"/>
              <a:gd name="T28" fmla="*/ 2147483647 w 190"/>
              <a:gd name="T29" fmla="*/ 2147483647 h 116"/>
              <a:gd name="T30" fmla="*/ 2147483647 w 190"/>
              <a:gd name="T31" fmla="*/ 2147483647 h 116"/>
              <a:gd name="T32" fmla="*/ 2147483647 w 190"/>
              <a:gd name="T33" fmla="*/ 2147483647 h 116"/>
              <a:gd name="T34" fmla="*/ 2147483647 w 190"/>
              <a:gd name="T35" fmla="*/ 2147483647 h 116"/>
              <a:gd name="T36" fmla="*/ 2147483647 w 190"/>
              <a:gd name="T37" fmla="*/ 2147483647 h 116"/>
              <a:gd name="T38" fmla="*/ 2147483647 w 190"/>
              <a:gd name="T39" fmla="*/ 2147483647 h 116"/>
              <a:gd name="T40" fmla="*/ 2147483647 w 190"/>
              <a:gd name="T41" fmla="*/ 2147483647 h 116"/>
              <a:gd name="T42" fmla="*/ 2147483647 w 190"/>
              <a:gd name="T43" fmla="*/ 2147483647 h 116"/>
              <a:gd name="T44" fmla="*/ 2147483647 w 190"/>
              <a:gd name="T45" fmla="*/ 2147483647 h 116"/>
              <a:gd name="T46" fmla="*/ 2147483647 w 190"/>
              <a:gd name="T47" fmla="*/ 2147483647 h 116"/>
              <a:gd name="T48" fmla="*/ 2147483647 w 190"/>
              <a:gd name="T49" fmla="*/ 2147483647 h 116"/>
              <a:gd name="T50" fmla="*/ 2147483647 w 190"/>
              <a:gd name="T51" fmla="*/ 2147483647 h 116"/>
              <a:gd name="T52" fmla="*/ 2147483647 w 190"/>
              <a:gd name="T53" fmla="*/ 2147483647 h 116"/>
              <a:gd name="T54" fmla="*/ 2147483647 w 190"/>
              <a:gd name="T55" fmla="*/ 2147483647 h 116"/>
              <a:gd name="T56" fmla="*/ 2147483647 w 190"/>
              <a:gd name="T57" fmla="*/ 2147483647 h 116"/>
              <a:gd name="T58" fmla="*/ 2147483647 w 190"/>
              <a:gd name="T59" fmla="*/ 2147483647 h 116"/>
              <a:gd name="T60" fmla="*/ 2147483647 w 190"/>
              <a:gd name="T61" fmla="*/ 2147483647 h 116"/>
              <a:gd name="T62" fmla="*/ 2147483647 w 190"/>
              <a:gd name="T63" fmla="*/ 2147483647 h 116"/>
              <a:gd name="T64" fmla="*/ 2147483647 w 190"/>
              <a:gd name="T65" fmla="*/ 2147483647 h 116"/>
              <a:gd name="T66" fmla="*/ 2147483647 w 190"/>
              <a:gd name="T67" fmla="*/ 2147483647 h 116"/>
              <a:gd name="T68" fmla="*/ 2147483647 w 190"/>
              <a:gd name="T69" fmla="*/ 2147483647 h 116"/>
              <a:gd name="T70" fmla="*/ 2147483647 w 190"/>
              <a:gd name="T71" fmla="*/ 2147483647 h 116"/>
              <a:gd name="T72" fmla="*/ 2147483647 w 190"/>
              <a:gd name="T73" fmla="*/ 2147483647 h 116"/>
              <a:gd name="T74" fmla="*/ 0 w 190"/>
              <a:gd name="T75" fmla="*/ 2147483647 h 11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0"/>
              <a:gd name="T115" fmla="*/ 0 h 116"/>
              <a:gd name="T116" fmla="*/ 190 w 190"/>
              <a:gd name="T117" fmla="*/ 116 h 11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0" h="116">
                <a:moveTo>
                  <a:pt x="0" y="36"/>
                </a:moveTo>
                <a:lnTo>
                  <a:pt x="46" y="29"/>
                </a:lnTo>
                <a:lnTo>
                  <a:pt x="23" y="14"/>
                </a:lnTo>
                <a:lnTo>
                  <a:pt x="61" y="7"/>
                </a:lnTo>
                <a:lnTo>
                  <a:pt x="31" y="0"/>
                </a:lnTo>
                <a:lnTo>
                  <a:pt x="80" y="8"/>
                </a:lnTo>
                <a:lnTo>
                  <a:pt x="95" y="30"/>
                </a:lnTo>
                <a:lnTo>
                  <a:pt x="121" y="30"/>
                </a:lnTo>
                <a:lnTo>
                  <a:pt x="130" y="45"/>
                </a:lnTo>
                <a:lnTo>
                  <a:pt x="133" y="35"/>
                </a:lnTo>
                <a:lnTo>
                  <a:pt x="147" y="36"/>
                </a:lnTo>
                <a:lnTo>
                  <a:pt x="140" y="45"/>
                </a:lnTo>
                <a:lnTo>
                  <a:pt x="156" y="52"/>
                </a:lnTo>
                <a:lnTo>
                  <a:pt x="146" y="64"/>
                </a:lnTo>
                <a:lnTo>
                  <a:pt x="175" y="63"/>
                </a:lnTo>
                <a:lnTo>
                  <a:pt x="189" y="76"/>
                </a:lnTo>
                <a:lnTo>
                  <a:pt x="153" y="82"/>
                </a:lnTo>
                <a:lnTo>
                  <a:pt x="143" y="96"/>
                </a:lnTo>
                <a:lnTo>
                  <a:pt x="136" y="81"/>
                </a:lnTo>
                <a:lnTo>
                  <a:pt x="127" y="114"/>
                </a:lnTo>
                <a:lnTo>
                  <a:pt x="104" y="98"/>
                </a:lnTo>
                <a:lnTo>
                  <a:pt x="115" y="115"/>
                </a:lnTo>
                <a:lnTo>
                  <a:pt x="73" y="113"/>
                </a:lnTo>
                <a:lnTo>
                  <a:pt x="58" y="103"/>
                </a:lnTo>
                <a:lnTo>
                  <a:pt x="78" y="101"/>
                </a:lnTo>
                <a:lnTo>
                  <a:pt x="56" y="99"/>
                </a:lnTo>
                <a:lnTo>
                  <a:pt x="49" y="94"/>
                </a:lnTo>
                <a:lnTo>
                  <a:pt x="61" y="92"/>
                </a:lnTo>
                <a:lnTo>
                  <a:pt x="42" y="85"/>
                </a:lnTo>
                <a:lnTo>
                  <a:pt x="103" y="73"/>
                </a:lnTo>
                <a:lnTo>
                  <a:pt x="31" y="76"/>
                </a:lnTo>
                <a:lnTo>
                  <a:pt x="16" y="66"/>
                </a:lnTo>
                <a:lnTo>
                  <a:pt x="42" y="60"/>
                </a:lnTo>
                <a:lnTo>
                  <a:pt x="5" y="52"/>
                </a:lnTo>
                <a:lnTo>
                  <a:pt x="11" y="51"/>
                </a:lnTo>
                <a:lnTo>
                  <a:pt x="1" y="43"/>
                </a:lnTo>
                <a:lnTo>
                  <a:pt x="46" y="43"/>
                </a:lnTo>
                <a:lnTo>
                  <a:pt x="0" y="3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49" name="Freeform 40"/>
          <p:cNvSpPr>
            <a:spLocks/>
          </p:cNvSpPr>
          <p:nvPr/>
        </p:nvSpPr>
        <p:spPr bwMode="auto">
          <a:xfrm>
            <a:off x="2012950" y="2254250"/>
            <a:ext cx="65088" cy="38100"/>
          </a:xfrm>
          <a:custGeom>
            <a:avLst/>
            <a:gdLst>
              <a:gd name="T0" fmla="*/ 0 w 47"/>
              <a:gd name="T1" fmla="*/ 2147483647 h 27"/>
              <a:gd name="T2" fmla="*/ 2147483647 w 47"/>
              <a:gd name="T3" fmla="*/ 0 h 27"/>
              <a:gd name="T4" fmla="*/ 2147483647 w 47"/>
              <a:gd name="T5" fmla="*/ 2147483647 h 27"/>
              <a:gd name="T6" fmla="*/ 2147483647 w 47"/>
              <a:gd name="T7" fmla="*/ 2147483647 h 27"/>
              <a:gd name="T8" fmla="*/ 0 w 47"/>
              <a:gd name="T9" fmla="*/ 2147483647 h 27"/>
              <a:gd name="T10" fmla="*/ 0 60000 65536"/>
              <a:gd name="T11" fmla="*/ 0 60000 65536"/>
              <a:gd name="T12" fmla="*/ 0 60000 65536"/>
              <a:gd name="T13" fmla="*/ 0 60000 65536"/>
              <a:gd name="T14" fmla="*/ 0 60000 65536"/>
              <a:gd name="T15" fmla="*/ 0 w 47"/>
              <a:gd name="T16" fmla="*/ 0 h 27"/>
              <a:gd name="T17" fmla="*/ 47 w 47"/>
              <a:gd name="T18" fmla="*/ 27 h 27"/>
            </a:gdLst>
            <a:ahLst/>
            <a:cxnLst>
              <a:cxn ang="T10">
                <a:pos x="T0" y="T1"/>
              </a:cxn>
              <a:cxn ang="T11">
                <a:pos x="T2" y="T3"/>
              </a:cxn>
              <a:cxn ang="T12">
                <a:pos x="T4" y="T5"/>
              </a:cxn>
              <a:cxn ang="T13">
                <a:pos x="T6" y="T7"/>
              </a:cxn>
              <a:cxn ang="T14">
                <a:pos x="T8" y="T9"/>
              </a:cxn>
            </a:cxnLst>
            <a:rect l="T15" t="T16" r="T17" b="T18"/>
            <a:pathLst>
              <a:path w="47" h="27">
                <a:moveTo>
                  <a:pt x="0" y="18"/>
                </a:moveTo>
                <a:lnTo>
                  <a:pt x="9" y="0"/>
                </a:lnTo>
                <a:lnTo>
                  <a:pt x="40" y="5"/>
                </a:lnTo>
                <a:lnTo>
                  <a:pt x="46" y="26"/>
                </a:lnTo>
                <a:lnTo>
                  <a:pt x="0" y="1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0" name="Freeform 41"/>
          <p:cNvSpPr>
            <a:spLocks/>
          </p:cNvSpPr>
          <p:nvPr/>
        </p:nvSpPr>
        <p:spPr bwMode="auto">
          <a:xfrm>
            <a:off x="2014538" y="2144713"/>
            <a:ext cx="69850" cy="19050"/>
          </a:xfrm>
          <a:custGeom>
            <a:avLst/>
            <a:gdLst>
              <a:gd name="T0" fmla="*/ 0 w 51"/>
              <a:gd name="T1" fmla="*/ 2147483647 h 13"/>
              <a:gd name="T2" fmla="*/ 2147483647 w 51"/>
              <a:gd name="T3" fmla="*/ 2147483647 h 13"/>
              <a:gd name="T4" fmla="*/ 2147483647 w 51"/>
              <a:gd name="T5" fmla="*/ 2147483647 h 13"/>
              <a:gd name="T6" fmla="*/ 2147483647 w 51"/>
              <a:gd name="T7" fmla="*/ 0 h 13"/>
              <a:gd name="T8" fmla="*/ 0 w 51"/>
              <a:gd name="T9" fmla="*/ 2147483647 h 13"/>
              <a:gd name="T10" fmla="*/ 0 60000 65536"/>
              <a:gd name="T11" fmla="*/ 0 60000 65536"/>
              <a:gd name="T12" fmla="*/ 0 60000 65536"/>
              <a:gd name="T13" fmla="*/ 0 60000 65536"/>
              <a:gd name="T14" fmla="*/ 0 60000 65536"/>
              <a:gd name="T15" fmla="*/ 0 w 51"/>
              <a:gd name="T16" fmla="*/ 0 h 13"/>
              <a:gd name="T17" fmla="*/ 51 w 51"/>
              <a:gd name="T18" fmla="*/ 13 h 13"/>
            </a:gdLst>
            <a:ahLst/>
            <a:cxnLst>
              <a:cxn ang="T10">
                <a:pos x="T0" y="T1"/>
              </a:cxn>
              <a:cxn ang="T11">
                <a:pos x="T2" y="T3"/>
              </a:cxn>
              <a:cxn ang="T12">
                <a:pos x="T4" y="T5"/>
              </a:cxn>
              <a:cxn ang="T13">
                <a:pos x="T6" y="T7"/>
              </a:cxn>
              <a:cxn ang="T14">
                <a:pos x="T8" y="T9"/>
              </a:cxn>
            </a:cxnLst>
            <a:rect l="T15" t="T16" r="T17" b="T18"/>
            <a:pathLst>
              <a:path w="51" h="13">
                <a:moveTo>
                  <a:pt x="0" y="6"/>
                </a:moveTo>
                <a:lnTo>
                  <a:pt x="11" y="12"/>
                </a:lnTo>
                <a:lnTo>
                  <a:pt x="50" y="6"/>
                </a:lnTo>
                <a:lnTo>
                  <a:pt x="13" y="0"/>
                </a:lnTo>
                <a:lnTo>
                  <a:pt x="0" y="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1" name="Freeform 42"/>
          <p:cNvSpPr>
            <a:spLocks/>
          </p:cNvSpPr>
          <p:nvPr/>
        </p:nvSpPr>
        <p:spPr bwMode="auto">
          <a:xfrm>
            <a:off x="2025650" y="2322513"/>
            <a:ext cx="127000" cy="90487"/>
          </a:xfrm>
          <a:custGeom>
            <a:avLst/>
            <a:gdLst>
              <a:gd name="T0" fmla="*/ 0 w 92"/>
              <a:gd name="T1" fmla="*/ 2147483647 h 62"/>
              <a:gd name="T2" fmla="*/ 2147483647 w 92"/>
              <a:gd name="T3" fmla="*/ 2147483647 h 62"/>
              <a:gd name="T4" fmla="*/ 2147483647 w 92"/>
              <a:gd name="T5" fmla="*/ 2147483647 h 62"/>
              <a:gd name="T6" fmla="*/ 2147483647 w 92"/>
              <a:gd name="T7" fmla="*/ 2147483647 h 62"/>
              <a:gd name="T8" fmla="*/ 2147483647 w 92"/>
              <a:gd name="T9" fmla="*/ 2147483647 h 62"/>
              <a:gd name="T10" fmla="*/ 2147483647 w 92"/>
              <a:gd name="T11" fmla="*/ 2147483647 h 62"/>
              <a:gd name="T12" fmla="*/ 2147483647 w 92"/>
              <a:gd name="T13" fmla="*/ 2147483647 h 62"/>
              <a:gd name="T14" fmla="*/ 2147483647 w 92"/>
              <a:gd name="T15" fmla="*/ 2147483647 h 62"/>
              <a:gd name="T16" fmla="*/ 2147483647 w 92"/>
              <a:gd name="T17" fmla="*/ 2147483647 h 62"/>
              <a:gd name="T18" fmla="*/ 2147483647 w 92"/>
              <a:gd name="T19" fmla="*/ 0 h 62"/>
              <a:gd name="T20" fmla="*/ 2147483647 w 92"/>
              <a:gd name="T21" fmla="*/ 2147483647 h 62"/>
              <a:gd name="T22" fmla="*/ 0 w 92"/>
              <a:gd name="T23" fmla="*/ 2147483647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2"/>
              <a:gd name="T37" fmla="*/ 0 h 62"/>
              <a:gd name="T38" fmla="*/ 92 w 92"/>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2" h="62">
                <a:moveTo>
                  <a:pt x="0" y="12"/>
                </a:moveTo>
                <a:lnTo>
                  <a:pt x="1" y="40"/>
                </a:lnTo>
                <a:lnTo>
                  <a:pt x="14" y="43"/>
                </a:lnTo>
                <a:lnTo>
                  <a:pt x="9" y="61"/>
                </a:lnTo>
                <a:lnTo>
                  <a:pt x="22" y="61"/>
                </a:lnTo>
                <a:lnTo>
                  <a:pt x="37" y="47"/>
                </a:lnTo>
                <a:lnTo>
                  <a:pt x="22" y="40"/>
                </a:lnTo>
                <a:lnTo>
                  <a:pt x="60" y="40"/>
                </a:lnTo>
                <a:lnTo>
                  <a:pt x="91" y="5"/>
                </a:lnTo>
                <a:lnTo>
                  <a:pt x="6" y="0"/>
                </a:lnTo>
                <a:lnTo>
                  <a:pt x="19" y="13"/>
                </a:lnTo>
                <a:lnTo>
                  <a:pt x="0" y="1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2" name="Freeform 43"/>
          <p:cNvSpPr>
            <a:spLocks/>
          </p:cNvSpPr>
          <p:nvPr/>
        </p:nvSpPr>
        <p:spPr bwMode="auto">
          <a:xfrm>
            <a:off x="2114550" y="1863725"/>
            <a:ext cx="709613" cy="363538"/>
          </a:xfrm>
          <a:custGeom>
            <a:avLst/>
            <a:gdLst>
              <a:gd name="T0" fmla="*/ 2147483647 w 515"/>
              <a:gd name="T1" fmla="*/ 2147483647 h 249"/>
              <a:gd name="T2" fmla="*/ 2147483647 w 515"/>
              <a:gd name="T3" fmla="*/ 2147483647 h 249"/>
              <a:gd name="T4" fmla="*/ 2147483647 w 515"/>
              <a:gd name="T5" fmla="*/ 2147483647 h 249"/>
              <a:gd name="T6" fmla="*/ 2147483647 w 515"/>
              <a:gd name="T7" fmla="*/ 2147483647 h 249"/>
              <a:gd name="T8" fmla="*/ 2147483647 w 515"/>
              <a:gd name="T9" fmla="*/ 2147483647 h 249"/>
              <a:gd name="T10" fmla="*/ 2147483647 w 515"/>
              <a:gd name="T11" fmla="*/ 2147483647 h 249"/>
              <a:gd name="T12" fmla="*/ 2147483647 w 515"/>
              <a:gd name="T13" fmla="*/ 2147483647 h 249"/>
              <a:gd name="T14" fmla="*/ 2147483647 w 515"/>
              <a:gd name="T15" fmla="*/ 2147483647 h 249"/>
              <a:gd name="T16" fmla="*/ 2147483647 w 515"/>
              <a:gd name="T17" fmla="*/ 2147483647 h 249"/>
              <a:gd name="T18" fmla="*/ 2147483647 w 515"/>
              <a:gd name="T19" fmla="*/ 2147483647 h 249"/>
              <a:gd name="T20" fmla="*/ 2147483647 w 515"/>
              <a:gd name="T21" fmla="*/ 2147483647 h 249"/>
              <a:gd name="T22" fmla="*/ 2147483647 w 515"/>
              <a:gd name="T23" fmla="*/ 2147483647 h 249"/>
              <a:gd name="T24" fmla="*/ 2147483647 w 515"/>
              <a:gd name="T25" fmla="*/ 2147483647 h 249"/>
              <a:gd name="T26" fmla="*/ 2147483647 w 515"/>
              <a:gd name="T27" fmla="*/ 2147483647 h 249"/>
              <a:gd name="T28" fmla="*/ 2147483647 w 515"/>
              <a:gd name="T29" fmla="*/ 2147483647 h 249"/>
              <a:gd name="T30" fmla="*/ 2147483647 w 515"/>
              <a:gd name="T31" fmla="*/ 2147483647 h 249"/>
              <a:gd name="T32" fmla="*/ 2147483647 w 515"/>
              <a:gd name="T33" fmla="*/ 2147483647 h 249"/>
              <a:gd name="T34" fmla="*/ 2147483647 w 515"/>
              <a:gd name="T35" fmla="*/ 2147483647 h 249"/>
              <a:gd name="T36" fmla="*/ 2147483647 w 515"/>
              <a:gd name="T37" fmla="*/ 2147483647 h 249"/>
              <a:gd name="T38" fmla="*/ 2147483647 w 515"/>
              <a:gd name="T39" fmla="*/ 2147483647 h 249"/>
              <a:gd name="T40" fmla="*/ 2147483647 w 515"/>
              <a:gd name="T41" fmla="*/ 2147483647 h 249"/>
              <a:gd name="T42" fmla="*/ 2147483647 w 515"/>
              <a:gd name="T43" fmla="*/ 2147483647 h 249"/>
              <a:gd name="T44" fmla="*/ 2147483647 w 515"/>
              <a:gd name="T45" fmla="*/ 2147483647 h 249"/>
              <a:gd name="T46" fmla="*/ 2147483647 w 515"/>
              <a:gd name="T47" fmla="*/ 2147483647 h 249"/>
              <a:gd name="T48" fmla="*/ 2147483647 w 515"/>
              <a:gd name="T49" fmla="*/ 2147483647 h 249"/>
              <a:gd name="T50" fmla="*/ 2147483647 w 515"/>
              <a:gd name="T51" fmla="*/ 2147483647 h 249"/>
              <a:gd name="T52" fmla="*/ 2147483647 w 515"/>
              <a:gd name="T53" fmla="*/ 2147483647 h 249"/>
              <a:gd name="T54" fmla="*/ 2147483647 w 515"/>
              <a:gd name="T55" fmla="*/ 2147483647 h 249"/>
              <a:gd name="T56" fmla="*/ 2147483647 w 515"/>
              <a:gd name="T57" fmla="*/ 2147483647 h 249"/>
              <a:gd name="T58" fmla="*/ 2147483647 w 515"/>
              <a:gd name="T59" fmla="*/ 2147483647 h 249"/>
              <a:gd name="T60" fmla="*/ 2147483647 w 515"/>
              <a:gd name="T61" fmla="*/ 2147483647 h 249"/>
              <a:gd name="T62" fmla="*/ 2147483647 w 515"/>
              <a:gd name="T63" fmla="*/ 2147483647 h 249"/>
              <a:gd name="T64" fmla="*/ 2147483647 w 515"/>
              <a:gd name="T65" fmla="*/ 2147483647 h 249"/>
              <a:gd name="T66" fmla="*/ 2147483647 w 515"/>
              <a:gd name="T67" fmla="*/ 2147483647 h 249"/>
              <a:gd name="T68" fmla="*/ 2147483647 w 515"/>
              <a:gd name="T69" fmla="*/ 2147483647 h 249"/>
              <a:gd name="T70" fmla="*/ 2147483647 w 515"/>
              <a:gd name="T71" fmla="*/ 2147483647 h 249"/>
              <a:gd name="T72" fmla="*/ 2147483647 w 515"/>
              <a:gd name="T73" fmla="*/ 2147483647 h 249"/>
              <a:gd name="T74" fmla="*/ 2147483647 w 515"/>
              <a:gd name="T75" fmla="*/ 0 h 249"/>
              <a:gd name="T76" fmla="*/ 2147483647 w 515"/>
              <a:gd name="T77" fmla="*/ 2147483647 h 249"/>
              <a:gd name="T78" fmla="*/ 2147483647 w 515"/>
              <a:gd name="T79" fmla="*/ 2147483647 h 249"/>
              <a:gd name="T80" fmla="*/ 2147483647 w 515"/>
              <a:gd name="T81" fmla="*/ 2147483647 h 249"/>
              <a:gd name="T82" fmla="*/ 2147483647 w 515"/>
              <a:gd name="T83" fmla="*/ 2147483647 h 249"/>
              <a:gd name="T84" fmla="*/ 2147483647 w 515"/>
              <a:gd name="T85" fmla="*/ 2147483647 h 249"/>
              <a:gd name="T86" fmla="*/ 2147483647 w 515"/>
              <a:gd name="T87" fmla="*/ 2147483647 h 2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15"/>
              <a:gd name="T133" fmla="*/ 0 h 249"/>
              <a:gd name="T134" fmla="*/ 515 w 515"/>
              <a:gd name="T135" fmla="*/ 249 h 2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15" h="249">
                <a:moveTo>
                  <a:pt x="0" y="58"/>
                </a:moveTo>
                <a:lnTo>
                  <a:pt x="44" y="58"/>
                </a:lnTo>
                <a:lnTo>
                  <a:pt x="28" y="67"/>
                </a:lnTo>
                <a:lnTo>
                  <a:pt x="92" y="61"/>
                </a:lnTo>
                <a:lnTo>
                  <a:pt x="37" y="68"/>
                </a:lnTo>
                <a:lnTo>
                  <a:pt x="54" y="71"/>
                </a:lnTo>
                <a:lnTo>
                  <a:pt x="35" y="74"/>
                </a:lnTo>
                <a:lnTo>
                  <a:pt x="41" y="80"/>
                </a:lnTo>
                <a:lnTo>
                  <a:pt x="126" y="71"/>
                </a:lnTo>
                <a:lnTo>
                  <a:pt x="44" y="85"/>
                </a:lnTo>
                <a:lnTo>
                  <a:pt x="79" y="97"/>
                </a:lnTo>
                <a:lnTo>
                  <a:pt x="111" y="80"/>
                </a:lnTo>
                <a:lnTo>
                  <a:pt x="165" y="76"/>
                </a:lnTo>
                <a:lnTo>
                  <a:pt x="108" y="82"/>
                </a:lnTo>
                <a:lnTo>
                  <a:pt x="94" y="97"/>
                </a:lnTo>
                <a:lnTo>
                  <a:pt x="128" y="99"/>
                </a:lnTo>
                <a:lnTo>
                  <a:pt x="164" y="83"/>
                </a:lnTo>
                <a:lnTo>
                  <a:pt x="141" y="97"/>
                </a:lnTo>
                <a:lnTo>
                  <a:pt x="165" y="97"/>
                </a:lnTo>
                <a:lnTo>
                  <a:pt x="202" y="87"/>
                </a:lnTo>
                <a:lnTo>
                  <a:pt x="197" y="75"/>
                </a:lnTo>
                <a:lnTo>
                  <a:pt x="239" y="64"/>
                </a:lnTo>
                <a:lnTo>
                  <a:pt x="210" y="87"/>
                </a:lnTo>
                <a:lnTo>
                  <a:pt x="274" y="82"/>
                </a:lnTo>
                <a:lnTo>
                  <a:pt x="143" y="105"/>
                </a:lnTo>
                <a:lnTo>
                  <a:pt x="173" y="129"/>
                </a:lnTo>
                <a:lnTo>
                  <a:pt x="198" y="129"/>
                </a:lnTo>
                <a:lnTo>
                  <a:pt x="184" y="134"/>
                </a:lnTo>
                <a:lnTo>
                  <a:pt x="133" y="109"/>
                </a:lnTo>
                <a:lnTo>
                  <a:pt x="91" y="105"/>
                </a:lnTo>
                <a:lnTo>
                  <a:pt x="89" y="116"/>
                </a:lnTo>
                <a:lnTo>
                  <a:pt x="110" y="119"/>
                </a:lnTo>
                <a:lnTo>
                  <a:pt x="90" y="123"/>
                </a:lnTo>
                <a:lnTo>
                  <a:pt x="143" y="151"/>
                </a:lnTo>
                <a:lnTo>
                  <a:pt x="120" y="152"/>
                </a:lnTo>
                <a:lnTo>
                  <a:pt x="174" y="153"/>
                </a:lnTo>
                <a:lnTo>
                  <a:pt x="144" y="160"/>
                </a:lnTo>
                <a:lnTo>
                  <a:pt x="160" y="169"/>
                </a:lnTo>
                <a:lnTo>
                  <a:pt x="112" y="156"/>
                </a:lnTo>
                <a:lnTo>
                  <a:pt x="85" y="160"/>
                </a:lnTo>
                <a:lnTo>
                  <a:pt x="74" y="183"/>
                </a:lnTo>
                <a:lnTo>
                  <a:pt x="101" y="175"/>
                </a:lnTo>
                <a:lnTo>
                  <a:pt x="96" y="184"/>
                </a:lnTo>
                <a:lnTo>
                  <a:pt x="107" y="184"/>
                </a:lnTo>
                <a:lnTo>
                  <a:pt x="122" y="167"/>
                </a:lnTo>
                <a:lnTo>
                  <a:pt x="118" y="181"/>
                </a:lnTo>
                <a:lnTo>
                  <a:pt x="131" y="182"/>
                </a:lnTo>
                <a:lnTo>
                  <a:pt x="102" y="190"/>
                </a:lnTo>
                <a:lnTo>
                  <a:pt x="120" y="190"/>
                </a:lnTo>
                <a:lnTo>
                  <a:pt x="107" y="192"/>
                </a:lnTo>
                <a:lnTo>
                  <a:pt x="118" y="202"/>
                </a:lnTo>
                <a:lnTo>
                  <a:pt x="141" y="202"/>
                </a:lnTo>
                <a:lnTo>
                  <a:pt x="160" y="187"/>
                </a:lnTo>
                <a:lnTo>
                  <a:pt x="126" y="209"/>
                </a:lnTo>
                <a:lnTo>
                  <a:pt x="90" y="191"/>
                </a:lnTo>
                <a:lnTo>
                  <a:pt x="60" y="194"/>
                </a:lnTo>
                <a:lnTo>
                  <a:pt x="86" y="216"/>
                </a:lnTo>
                <a:lnTo>
                  <a:pt x="41" y="225"/>
                </a:lnTo>
                <a:lnTo>
                  <a:pt x="48" y="240"/>
                </a:lnTo>
                <a:lnTo>
                  <a:pt x="54" y="227"/>
                </a:lnTo>
                <a:lnTo>
                  <a:pt x="55" y="240"/>
                </a:lnTo>
                <a:lnTo>
                  <a:pt x="86" y="233"/>
                </a:lnTo>
                <a:lnTo>
                  <a:pt x="108" y="246"/>
                </a:lnTo>
                <a:lnTo>
                  <a:pt x="122" y="245"/>
                </a:lnTo>
                <a:lnTo>
                  <a:pt x="112" y="234"/>
                </a:lnTo>
                <a:lnTo>
                  <a:pt x="143" y="239"/>
                </a:lnTo>
                <a:lnTo>
                  <a:pt x="141" y="229"/>
                </a:lnTo>
                <a:lnTo>
                  <a:pt x="153" y="241"/>
                </a:lnTo>
                <a:lnTo>
                  <a:pt x="161" y="236"/>
                </a:lnTo>
                <a:lnTo>
                  <a:pt x="157" y="231"/>
                </a:lnTo>
                <a:lnTo>
                  <a:pt x="181" y="236"/>
                </a:lnTo>
                <a:lnTo>
                  <a:pt x="182" y="248"/>
                </a:lnTo>
                <a:lnTo>
                  <a:pt x="226" y="236"/>
                </a:lnTo>
                <a:lnTo>
                  <a:pt x="232" y="224"/>
                </a:lnTo>
                <a:lnTo>
                  <a:pt x="213" y="227"/>
                </a:lnTo>
                <a:lnTo>
                  <a:pt x="213" y="214"/>
                </a:lnTo>
                <a:lnTo>
                  <a:pt x="165" y="213"/>
                </a:lnTo>
                <a:lnTo>
                  <a:pt x="229" y="209"/>
                </a:lnTo>
                <a:lnTo>
                  <a:pt x="238" y="200"/>
                </a:lnTo>
                <a:lnTo>
                  <a:pt x="229" y="188"/>
                </a:lnTo>
                <a:lnTo>
                  <a:pt x="266" y="190"/>
                </a:lnTo>
                <a:lnTo>
                  <a:pt x="274" y="184"/>
                </a:lnTo>
                <a:lnTo>
                  <a:pt x="250" y="181"/>
                </a:lnTo>
                <a:lnTo>
                  <a:pt x="281" y="177"/>
                </a:lnTo>
                <a:lnTo>
                  <a:pt x="260" y="172"/>
                </a:lnTo>
                <a:lnTo>
                  <a:pt x="290" y="166"/>
                </a:lnTo>
                <a:lnTo>
                  <a:pt x="287" y="159"/>
                </a:lnTo>
                <a:lnTo>
                  <a:pt x="235" y="156"/>
                </a:lnTo>
                <a:lnTo>
                  <a:pt x="264" y="148"/>
                </a:lnTo>
                <a:lnTo>
                  <a:pt x="235" y="147"/>
                </a:lnTo>
                <a:lnTo>
                  <a:pt x="290" y="152"/>
                </a:lnTo>
                <a:lnTo>
                  <a:pt x="290" y="145"/>
                </a:lnTo>
                <a:lnTo>
                  <a:pt x="234" y="141"/>
                </a:lnTo>
                <a:lnTo>
                  <a:pt x="307" y="134"/>
                </a:lnTo>
                <a:lnTo>
                  <a:pt x="287" y="125"/>
                </a:lnTo>
                <a:lnTo>
                  <a:pt x="338" y="127"/>
                </a:lnTo>
                <a:lnTo>
                  <a:pt x="354" y="116"/>
                </a:lnTo>
                <a:lnTo>
                  <a:pt x="328" y="114"/>
                </a:lnTo>
                <a:lnTo>
                  <a:pt x="361" y="111"/>
                </a:lnTo>
                <a:lnTo>
                  <a:pt x="356" y="102"/>
                </a:lnTo>
                <a:lnTo>
                  <a:pt x="372" y="104"/>
                </a:lnTo>
                <a:lnTo>
                  <a:pt x="459" y="65"/>
                </a:lnTo>
                <a:lnTo>
                  <a:pt x="364" y="79"/>
                </a:lnTo>
                <a:lnTo>
                  <a:pt x="418" y="61"/>
                </a:lnTo>
                <a:lnTo>
                  <a:pt x="383" y="63"/>
                </a:lnTo>
                <a:lnTo>
                  <a:pt x="377" y="54"/>
                </a:lnTo>
                <a:lnTo>
                  <a:pt x="436" y="58"/>
                </a:lnTo>
                <a:lnTo>
                  <a:pt x="514" y="37"/>
                </a:lnTo>
                <a:lnTo>
                  <a:pt x="512" y="27"/>
                </a:lnTo>
                <a:lnTo>
                  <a:pt x="479" y="27"/>
                </a:lnTo>
                <a:lnTo>
                  <a:pt x="472" y="9"/>
                </a:lnTo>
                <a:lnTo>
                  <a:pt x="383" y="20"/>
                </a:lnTo>
                <a:lnTo>
                  <a:pt x="422" y="6"/>
                </a:lnTo>
                <a:lnTo>
                  <a:pt x="306" y="0"/>
                </a:lnTo>
                <a:lnTo>
                  <a:pt x="295" y="8"/>
                </a:lnTo>
                <a:lnTo>
                  <a:pt x="304" y="15"/>
                </a:lnTo>
                <a:lnTo>
                  <a:pt x="281" y="3"/>
                </a:lnTo>
                <a:lnTo>
                  <a:pt x="229" y="6"/>
                </a:lnTo>
                <a:lnTo>
                  <a:pt x="267" y="22"/>
                </a:lnTo>
                <a:lnTo>
                  <a:pt x="255" y="27"/>
                </a:lnTo>
                <a:lnTo>
                  <a:pt x="235" y="9"/>
                </a:lnTo>
                <a:lnTo>
                  <a:pt x="186" y="7"/>
                </a:lnTo>
                <a:lnTo>
                  <a:pt x="197" y="16"/>
                </a:lnTo>
                <a:lnTo>
                  <a:pt x="160" y="14"/>
                </a:lnTo>
                <a:lnTo>
                  <a:pt x="180" y="24"/>
                </a:lnTo>
                <a:lnTo>
                  <a:pt x="150" y="20"/>
                </a:lnTo>
                <a:lnTo>
                  <a:pt x="158" y="24"/>
                </a:lnTo>
                <a:lnTo>
                  <a:pt x="142" y="28"/>
                </a:lnTo>
                <a:lnTo>
                  <a:pt x="180" y="45"/>
                </a:lnTo>
                <a:lnTo>
                  <a:pt x="97" y="25"/>
                </a:lnTo>
                <a:lnTo>
                  <a:pt x="78" y="37"/>
                </a:lnTo>
                <a:lnTo>
                  <a:pt x="111" y="45"/>
                </a:lnTo>
                <a:lnTo>
                  <a:pt x="55" y="39"/>
                </a:lnTo>
                <a:lnTo>
                  <a:pt x="0" y="5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3" name="Freeform 45"/>
          <p:cNvSpPr>
            <a:spLocks/>
          </p:cNvSpPr>
          <p:nvPr/>
        </p:nvSpPr>
        <p:spPr bwMode="auto">
          <a:xfrm>
            <a:off x="2220913" y="2657475"/>
            <a:ext cx="153987" cy="100013"/>
          </a:xfrm>
          <a:custGeom>
            <a:avLst/>
            <a:gdLst>
              <a:gd name="T0" fmla="*/ 0 w 112"/>
              <a:gd name="T1" fmla="*/ 2147483647 h 69"/>
              <a:gd name="T2" fmla="*/ 2147483647 w 112"/>
              <a:gd name="T3" fmla="*/ 2147483647 h 69"/>
              <a:gd name="T4" fmla="*/ 2147483647 w 112"/>
              <a:gd name="T5" fmla="*/ 0 h 69"/>
              <a:gd name="T6" fmla="*/ 2147483647 w 112"/>
              <a:gd name="T7" fmla="*/ 2147483647 h 69"/>
              <a:gd name="T8" fmla="*/ 2147483647 w 112"/>
              <a:gd name="T9" fmla="*/ 2147483647 h 69"/>
              <a:gd name="T10" fmla="*/ 2147483647 w 112"/>
              <a:gd name="T11" fmla="*/ 2147483647 h 69"/>
              <a:gd name="T12" fmla="*/ 2147483647 w 112"/>
              <a:gd name="T13" fmla="*/ 2147483647 h 69"/>
              <a:gd name="T14" fmla="*/ 2147483647 w 112"/>
              <a:gd name="T15" fmla="*/ 2147483647 h 69"/>
              <a:gd name="T16" fmla="*/ 2147483647 w 112"/>
              <a:gd name="T17" fmla="*/ 2147483647 h 69"/>
              <a:gd name="T18" fmla="*/ 2147483647 w 112"/>
              <a:gd name="T19" fmla="*/ 2147483647 h 69"/>
              <a:gd name="T20" fmla="*/ 0 w 112"/>
              <a:gd name="T21" fmla="*/ 2147483647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2"/>
              <a:gd name="T34" fmla="*/ 0 h 69"/>
              <a:gd name="T35" fmla="*/ 112 w 11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2" h="69">
                <a:moveTo>
                  <a:pt x="0" y="56"/>
                </a:moveTo>
                <a:lnTo>
                  <a:pt x="17" y="44"/>
                </a:lnTo>
                <a:lnTo>
                  <a:pt x="28" y="0"/>
                </a:lnTo>
                <a:lnTo>
                  <a:pt x="37" y="15"/>
                </a:lnTo>
                <a:lnTo>
                  <a:pt x="63" y="18"/>
                </a:lnTo>
                <a:lnTo>
                  <a:pt x="111" y="51"/>
                </a:lnTo>
                <a:lnTo>
                  <a:pt x="105" y="60"/>
                </a:lnTo>
                <a:lnTo>
                  <a:pt x="60" y="45"/>
                </a:lnTo>
                <a:lnTo>
                  <a:pt x="33" y="68"/>
                </a:lnTo>
                <a:lnTo>
                  <a:pt x="25" y="51"/>
                </a:lnTo>
                <a:lnTo>
                  <a:pt x="0" y="5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4" name="Freeform 46"/>
          <p:cNvSpPr>
            <a:spLocks/>
          </p:cNvSpPr>
          <p:nvPr/>
        </p:nvSpPr>
        <p:spPr bwMode="auto">
          <a:xfrm>
            <a:off x="2865438" y="3140075"/>
            <a:ext cx="157162" cy="149225"/>
          </a:xfrm>
          <a:custGeom>
            <a:avLst/>
            <a:gdLst>
              <a:gd name="T0" fmla="*/ 0 w 114"/>
              <a:gd name="T1" fmla="*/ 2147483647 h 102"/>
              <a:gd name="T2" fmla="*/ 2147483647 w 114"/>
              <a:gd name="T3" fmla="*/ 2147483647 h 102"/>
              <a:gd name="T4" fmla="*/ 2147483647 w 114"/>
              <a:gd name="T5" fmla="*/ 0 h 102"/>
              <a:gd name="T6" fmla="*/ 2147483647 w 114"/>
              <a:gd name="T7" fmla="*/ 2147483647 h 102"/>
              <a:gd name="T8" fmla="*/ 2147483647 w 114"/>
              <a:gd name="T9" fmla="*/ 2147483647 h 102"/>
              <a:gd name="T10" fmla="*/ 2147483647 w 114"/>
              <a:gd name="T11" fmla="*/ 2147483647 h 102"/>
              <a:gd name="T12" fmla="*/ 2147483647 w 114"/>
              <a:gd name="T13" fmla="*/ 2147483647 h 102"/>
              <a:gd name="T14" fmla="*/ 2147483647 w 114"/>
              <a:gd name="T15" fmla="*/ 2147483647 h 102"/>
              <a:gd name="T16" fmla="*/ 2147483647 w 114"/>
              <a:gd name="T17" fmla="*/ 2147483647 h 102"/>
              <a:gd name="T18" fmla="*/ 2147483647 w 114"/>
              <a:gd name="T19" fmla="*/ 2147483647 h 102"/>
              <a:gd name="T20" fmla="*/ 2147483647 w 114"/>
              <a:gd name="T21" fmla="*/ 2147483647 h 102"/>
              <a:gd name="T22" fmla="*/ 2147483647 w 114"/>
              <a:gd name="T23" fmla="*/ 2147483647 h 102"/>
              <a:gd name="T24" fmla="*/ 2147483647 w 114"/>
              <a:gd name="T25" fmla="*/ 2147483647 h 102"/>
              <a:gd name="T26" fmla="*/ 2147483647 w 114"/>
              <a:gd name="T27" fmla="*/ 2147483647 h 102"/>
              <a:gd name="T28" fmla="*/ 2147483647 w 114"/>
              <a:gd name="T29" fmla="*/ 2147483647 h 102"/>
              <a:gd name="T30" fmla="*/ 2147483647 w 114"/>
              <a:gd name="T31" fmla="*/ 2147483647 h 102"/>
              <a:gd name="T32" fmla="*/ 2147483647 w 114"/>
              <a:gd name="T33" fmla="*/ 2147483647 h 102"/>
              <a:gd name="T34" fmla="*/ 2147483647 w 114"/>
              <a:gd name="T35" fmla="*/ 2147483647 h 102"/>
              <a:gd name="T36" fmla="*/ 2147483647 w 114"/>
              <a:gd name="T37" fmla="*/ 2147483647 h 102"/>
              <a:gd name="T38" fmla="*/ 2147483647 w 114"/>
              <a:gd name="T39" fmla="*/ 2147483647 h 102"/>
              <a:gd name="T40" fmla="*/ 0 w 114"/>
              <a:gd name="T41" fmla="*/ 2147483647 h 1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4"/>
              <a:gd name="T64" fmla="*/ 0 h 102"/>
              <a:gd name="T65" fmla="*/ 114 w 114"/>
              <a:gd name="T66" fmla="*/ 102 h 1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4" h="102">
                <a:moveTo>
                  <a:pt x="0" y="80"/>
                </a:moveTo>
                <a:lnTo>
                  <a:pt x="46" y="7"/>
                </a:lnTo>
                <a:lnTo>
                  <a:pt x="65" y="0"/>
                </a:lnTo>
                <a:lnTo>
                  <a:pt x="45" y="41"/>
                </a:lnTo>
                <a:lnTo>
                  <a:pt x="56" y="31"/>
                </a:lnTo>
                <a:lnTo>
                  <a:pt x="68" y="49"/>
                </a:lnTo>
                <a:lnTo>
                  <a:pt x="99" y="49"/>
                </a:lnTo>
                <a:lnTo>
                  <a:pt x="91" y="64"/>
                </a:lnTo>
                <a:lnTo>
                  <a:pt x="107" y="64"/>
                </a:lnTo>
                <a:lnTo>
                  <a:pt x="94" y="78"/>
                </a:lnTo>
                <a:lnTo>
                  <a:pt x="109" y="71"/>
                </a:lnTo>
                <a:lnTo>
                  <a:pt x="113" y="87"/>
                </a:lnTo>
                <a:lnTo>
                  <a:pt x="101" y="101"/>
                </a:lnTo>
                <a:lnTo>
                  <a:pt x="97" y="92"/>
                </a:lnTo>
                <a:lnTo>
                  <a:pt x="89" y="96"/>
                </a:lnTo>
                <a:lnTo>
                  <a:pt x="89" y="78"/>
                </a:lnTo>
                <a:lnTo>
                  <a:pt x="63" y="96"/>
                </a:lnTo>
                <a:lnTo>
                  <a:pt x="77" y="84"/>
                </a:lnTo>
                <a:lnTo>
                  <a:pt x="56" y="85"/>
                </a:lnTo>
                <a:lnTo>
                  <a:pt x="62" y="78"/>
                </a:lnTo>
                <a:lnTo>
                  <a:pt x="0" y="8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5" name="Freeform 47"/>
          <p:cNvSpPr>
            <a:spLocks/>
          </p:cNvSpPr>
          <p:nvPr/>
        </p:nvSpPr>
        <p:spPr bwMode="auto">
          <a:xfrm>
            <a:off x="4573588" y="4189413"/>
            <a:ext cx="304800" cy="192087"/>
          </a:xfrm>
          <a:custGeom>
            <a:avLst/>
            <a:gdLst>
              <a:gd name="T0" fmla="*/ 0 w 222"/>
              <a:gd name="T1" fmla="*/ 2147483647 h 131"/>
              <a:gd name="T2" fmla="*/ 2147483647 w 222"/>
              <a:gd name="T3" fmla="*/ 2147483647 h 131"/>
              <a:gd name="T4" fmla="*/ 2147483647 w 222"/>
              <a:gd name="T5" fmla="*/ 2147483647 h 131"/>
              <a:gd name="T6" fmla="*/ 2147483647 w 222"/>
              <a:gd name="T7" fmla="*/ 2147483647 h 131"/>
              <a:gd name="T8" fmla="*/ 2147483647 w 222"/>
              <a:gd name="T9" fmla="*/ 2147483647 h 131"/>
              <a:gd name="T10" fmla="*/ 2147483647 w 222"/>
              <a:gd name="T11" fmla="*/ 0 h 131"/>
              <a:gd name="T12" fmla="*/ 2147483647 w 222"/>
              <a:gd name="T13" fmla="*/ 2147483647 h 131"/>
              <a:gd name="T14" fmla="*/ 2147483647 w 222"/>
              <a:gd name="T15" fmla="*/ 2147483647 h 131"/>
              <a:gd name="T16" fmla="*/ 2147483647 w 222"/>
              <a:gd name="T17" fmla="*/ 2147483647 h 131"/>
              <a:gd name="T18" fmla="*/ 2147483647 w 222"/>
              <a:gd name="T19" fmla="*/ 2147483647 h 131"/>
              <a:gd name="T20" fmla="*/ 2147483647 w 222"/>
              <a:gd name="T21" fmla="*/ 2147483647 h 131"/>
              <a:gd name="T22" fmla="*/ 2147483647 w 222"/>
              <a:gd name="T23" fmla="*/ 2147483647 h 131"/>
              <a:gd name="T24" fmla="*/ 2147483647 w 222"/>
              <a:gd name="T25" fmla="*/ 2147483647 h 131"/>
              <a:gd name="T26" fmla="*/ 2147483647 w 222"/>
              <a:gd name="T27" fmla="*/ 2147483647 h 131"/>
              <a:gd name="T28" fmla="*/ 0 w 222"/>
              <a:gd name="T29" fmla="*/ 2147483647 h 1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2"/>
              <a:gd name="T46" fmla="*/ 0 h 131"/>
              <a:gd name="T47" fmla="*/ 222 w 222"/>
              <a:gd name="T48" fmla="*/ 131 h 1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2" h="131">
                <a:moveTo>
                  <a:pt x="0" y="99"/>
                </a:moveTo>
                <a:lnTo>
                  <a:pt x="15" y="58"/>
                </a:lnTo>
                <a:lnTo>
                  <a:pt x="71" y="48"/>
                </a:lnTo>
                <a:lnTo>
                  <a:pt x="76" y="34"/>
                </a:lnTo>
                <a:lnTo>
                  <a:pt x="102" y="30"/>
                </a:lnTo>
                <a:lnTo>
                  <a:pt x="139" y="0"/>
                </a:lnTo>
                <a:lnTo>
                  <a:pt x="153" y="34"/>
                </a:lnTo>
                <a:lnTo>
                  <a:pt x="181" y="48"/>
                </a:lnTo>
                <a:lnTo>
                  <a:pt x="221" y="93"/>
                </a:lnTo>
                <a:lnTo>
                  <a:pt x="120" y="107"/>
                </a:lnTo>
                <a:lnTo>
                  <a:pt x="86" y="93"/>
                </a:lnTo>
                <a:lnTo>
                  <a:pt x="71" y="116"/>
                </a:lnTo>
                <a:lnTo>
                  <a:pt x="42" y="117"/>
                </a:lnTo>
                <a:lnTo>
                  <a:pt x="27" y="130"/>
                </a:lnTo>
                <a:lnTo>
                  <a:pt x="0" y="9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6" name="Freeform 48"/>
          <p:cNvSpPr>
            <a:spLocks/>
          </p:cNvSpPr>
          <p:nvPr/>
        </p:nvSpPr>
        <p:spPr bwMode="auto">
          <a:xfrm>
            <a:off x="6086475" y="4219575"/>
            <a:ext cx="44450" cy="85725"/>
          </a:xfrm>
          <a:custGeom>
            <a:avLst/>
            <a:gdLst>
              <a:gd name="T0" fmla="*/ 0 w 33"/>
              <a:gd name="T1" fmla="*/ 0 h 58"/>
              <a:gd name="T2" fmla="*/ 2147483647 w 33"/>
              <a:gd name="T3" fmla="*/ 2147483647 h 58"/>
              <a:gd name="T4" fmla="*/ 2147483647 w 33"/>
              <a:gd name="T5" fmla="*/ 2147483647 h 58"/>
              <a:gd name="T6" fmla="*/ 2147483647 w 33"/>
              <a:gd name="T7" fmla="*/ 2147483647 h 58"/>
              <a:gd name="T8" fmla="*/ 0 w 33"/>
              <a:gd name="T9" fmla="*/ 0 h 58"/>
              <a:gd name="T10" fmla="*/ 0 60000 65536"/>
              <a:gd name="T11" fmla="*/ 0 60000 65536"/>
              <a:gd name="T12" fmla="*/ 0 60000 65536"/>
              <a:gd name="T13" fmla="*/ 0 60000 65536"/>
              <a:gd name="T14" fmla="*/ 0 60000 65536"/>
              <a:gd name="T15" fmla="*/ 0 w 33"/>
              <a:gd name="T16" fmla="*/ 0 h 58"/>
              <a:gd name="T17" fmla="*/ 33 w 33"/>
              <a:gd name="T18" fmla="*/ 58 h 58"/>
            </a:gdLst>
            <a:ahLst/>
            <a:cxnLst>
              <a:cxn ang="T10">
                <a:pos x="T0" y="T1"/>
              </a:cxn>
              <a:cxn ang="T11">
                <a:pos x="T2" y="T3"/>
              </a:cxn>
              <a:cxn ang="T12">
                <a:pos x="T4" y="T5"/>
              </a:cxn>
              <a:cxn ang="T13">
                <a:pos x="T6" y="T7"/>
              </a:cxn>
              <a:cxn ang="T14">
                <a:pos x="T8" y="T9"/>
              </a:cxn>
            </a:cxnLst>
            <a:rect l="T15" t="T16" r="T17" b="T18"/>
            <a:pathLst>
              <a:path w="33" h="58">
                <a:moveTo>
                  <a:pt x="0" y="0"/>
                </a:moveTo>
                <a:lnTo>
                  <a:pt x="6" y="57"/>
                </a:lnTo>
                <a:lnTo>
                  <a:pt x="32" y="47"/>
                </a:lnTo>
                <a:lnTo>
                  <a:pt x="18" y="13"/>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7" name="Freeform 49"/>
          <p:cNvSpPr>
            <a:spLocks/>
          </p:cNvSpPr>
          <p:nvPr/>
        </p:nvSpPr>
        <p:spPr bwMode="auto">
          <a:xfrm>
            <a:off x="4549775" y="3897313"/>
            <a:ext cx="247650" cy="377825"/>
          </a:xfrm>
          <a:custGeom>
            <a:avLst/>
            <a:gdLst>
              <a:gd name="T0" fmla="*/ 0 w 180"/>
              <a:gd name="T1" fmla="*/ 2147483647 h 259"/>
              <a:gd name="T2" fmla="*/ 2147483647 w 180"/>
              <a:gd name="T3" fmla="*/ 2147483647 h 259"/>
              <a:gd name="T4" fmla="*/ 2147483647 w 180"/>
              <a:gd name="T5" fmla="*/ 2147483647 h 259"/>
              <a:gd name="T6" fmla="*/ 2147483647 w 180"/>
              <a:gd name="T7" fmla="*/ 2147483647 h 259"/>
              <a:gd name="T8" fmla="*/ 2147483647 w 180"/>
              <a:gd name="T9" fmla="*/ 2147483647 h 259"/>
              <a:gd name="T10" fmla="*/ 2147483647 w 180"/>
              <a:gd name="T11" fmla="*/ 2147483647 h 259"/>
              <a:gd name="T12" fmla="*/ 2147483647 w 180"/>
              <a:gd name="T13" fmla="*/ 2147483647 h 259"/>
              <a:gd name="T14" fmla="*/ 2147483647 w 180"/>
              <a:gd name="T15" fmla="*/ 2147483647 h 259"/>
              <a:gd name="T16" fmla="*/ 2147483647 w 180"/>
              <a:gd name="T17" fmla="*/ 2147483647 h 259"/>
              <a:gd name="T18" fmla="*/ 2147483647 w 180"/>
              <a:gd name="T19" fmla="*/ 2147483647 h 259"/>
              <a:gd name="T20" fmla="*/ 2147483647 w 180"/>
              <a:gd name="T21" fmla="*/ 2147483647 h 259"/>
              <a:gd name="T22" fmla="*/ 2147483647 w 180"/>
              <a:gd name="T23" fmla="*/ 2147483647 h 259"/>
              <a:gd name="T24" fmla="*/ 2147483647 w 180"/>
              <a:gd name="T25" fmla="*/ 2147483647 h 259"/>
              <a:gd name="T26" fmla="*/ 2147483647 w 180"/>
              <a:gd name="T27" fmla="*/ 2147483647 h 259"/>
              <a:gd name="T28" fmla="*/ 2147483647 w 180"/>
              <a:gd name="T29" fmla="*/ 0 h 259"/>
              <a:gd name="T30" fmla="*/ 2147483647 w 180"/>
              <a:gd name="T31" fmla="*/ 2147483647 h 259"/>
              <a:gd name="T32" fmla="*/ 2147483647 w 180"/>
              <a:gd name="T33" fmla="*/ 2147483647 h 259"/>
              <a:gd name="T34" fmla="*/ 2147483647 w 180"/>
              <a:gd name="T35" fmla="*/ 2147483647 h 259"/>
              <a:gd name="T36" fmla="*/ 2147483647 w 180"/>
              <a:gd name="T37" fmla="*/ 2147483647 h 259"/>
              <a:gd name="T38" fmla="*/ 0 w 180"/>
              <a:gd name="T39" fmla="*/ 2147483647 h 2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0"/>
              <a:gd name="T61" fmla="*/ 0 h 259"/>
              <a:gd name="T62" fmla="*/ 180 w 180"/>
              <a:gd name="T63" fmla="*/ 259 h 2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0" h="259">
                <a:moveTo>
                  <a:pt x="0" y="149"/>
                </a:moveTo>
                <a:lnTo>
                  <a:pt x="27" y="162"/>
                </a:lnTo>
                <a:lnTo>
                  <a:pt x="20" y="172"/>
                </a:lnTo>
                <a:lnTo>
                  <a:pt x="32" y="216"/>
                </a:lnTo>
                <a:lnTo>
                  <a:pt x="11" y="223"/>
                </a:lnTo>
                <a:lnTo>
                  <a:pt x="33" y="258"/>
                </a:lnTo>
                <a:lnTo>
                  <a:pt x="88" y="248"/>
                </a:lnTo>
                <a:lnTo>
                  <a:pt x="93" y="234"/>
                </a:lnTo>
                <a:lnTo>
                  <a:pt x="119" y="230"/>
                </a:lnTo>
                <a:lnTo>
                  <a:pt x="156" y="200"/>
                </a:lnTo>
                <a:lnTo>
                  <a:pt x="142" y="170"/>
                </a:lnTo>
                <a:lnTo>
                  <a:pt x="162" y="127"/>
                </a:lnTo>
                <a:lnTo>
                  <a:pt x="178" y="124"/>
                </a:lnTo>
                <a:lnTo>
                  <a:pt x="179" y="65"/>
                </a:lnTo>
                <a:lnTo>
                  <a:pt x="44" y="0"/>
                </a:lnTo>
                <a:lnTo>
                  <a:pt x="27" y="7"/>
                </a:lnTo>
                <a:lnTo>
                  <a:pt x="27" y="30"/>
                </a:lnTo>
                <a:lnTo>
                  <a:pt x="44" y="49"/>
                </a:lnTo>
                <a:lnTo>
                  <a:pt x="33" y="106"/>
                </a:lnTo>
                <a:lnTo>
                  <a:pt x="0" y="14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8" name="Freeform 50"/>
          <p:cNvSpPr>
            <a:spLocks/>
          </p:cNvSpPr>
          <p:nvPr/>
        </p:nvSpPr>
        <p:spPr bwMode="auto">
          <a:xfrm>
            <a:off x="2490788" y="4851400"/>
            <a:ext cx="195262" cy="968375"/>
          </a:xfrm>
          <a:custGeom>
            <a:avLst/>
            <a:gdLst>
              <a:gd name="T0" fmla="*/ 0 w 142"/>
              <a:gd name="T1" fmla="*/ 2147483647 h 662"/>
              <a:gd name="T2" fmla="*/ 2147483647 w 142"/>
              <a:gd name="T3" fmla="*/ 2147483647 h 662"/>
              <a:gd name="T4" fmla="*/ 2147483647 w 142"/>
              <a:gd name="T5" fmla="*/ 2147483647 h 662"/>
              <a:gd name="T6" fmla="*/ 2147483647 w 142"/>
              <a:gd name="T7" fmla="*/ 2147483647 h 662"/>
              <a:gd name="T8" fmla="*/ 2147483647 w 142"/>
              <a:gd name="T9" fmla="*/ 2147483647 h 662"/>
              <a:gd name="T10" fmla="*/ 2147483647 w 142"/>
              <a:gd name="T11" fmla="*/ 2147483647 h 662"/>
              <a:gd name="T12" fmla="*/ 2147483647 w 142"/>
              <a:gd name="T13" fmla="*/ 2147483647 h 662"/>
              <a:gd name="T14" fmla="*/ 2147483647 w 142"/>
              <a:gd name="T15" fmla="*/ 2147483647 h 662"/>
              <a:gd name="T16" fmla="*/ 2147483647 w 142"/>
              <a:gd name="T17" fmla="*/ 2147483647 h 662"/>
              <a:gd name="T18" fmla="*/ 2147483647 w 142"/>
              <a:gd name="T19" fmla="*/ 2147483647 h 662"/>
              <a:gd name="T20" fmla="*/ 2147483647 w 142"/>
              <a:gd name="T21" fmla="*/ 2147483647 h 662"/>
              <a:gd name="T22" fmla="*/ 2147483647 w 142"/>
              <a:gd name="T23" fmla="*/ 2147483647 h 662"/>
              <a:gd name="T24" fmla="*/ 2147483647 w 142"/>
              <a:gd name="T25" fmla="*/ 0 h 662"/>
              <a:gd name="T26" fmla="*/ 2147483647 w 142"/>
              <a:gd name="T27" fmla="*/ 2147483647 h 662"/>
              <a:gd name="T28" fmla="*/ 2147483647 w 142"/>
              <a:gd name="T29" fmla="*/ 2147483647 h 662"/>
              <a:gd name="T30" fmla="*/ 2147483647 w 142"/>
              <a:gd name="T31" fmla="*/ 2147483647 h 662"/>
              <a:gd name="T32" fmla="*/ 2147483647 w 142"/>
              <a:gd name="T33" fmla="*/ 2147483647 h 662"/>
              <a:gd name="T34" fmla="*/ 2147483647 w 142"/>
              <a:gd name="T35" fmla="*/ 2147483647 h 662"/>
              <a:gd name="T36" fmla="*/ 2147483647 w 142"/>
              <a:gd name="T37" fmla="*/ 2147483647 h 662"/>
              <a:gd name="T38" fmla="*/ 2147483647 w 142"/>
              <a:gd name="T39" fmla="*/ 2147483647 h 662"/>
              <a:gd name="T40" fmla="*/ 2147483647 w 142"/>
              <a:gd name="T41" fmla="*/ 2147483647 h 662"/>
              <a:gd name="T42" fmla="*/ 2147483647 w 142"/>
              <a:gd name="T43" fmla="*/ 2147483647 h 662"/>
              <a:gd name="T44" fmla="*/ 2147483647 w 142"/>
              <a:gd name="T45" fmla="*/ 2147483647 h 662"/>
              <a:gd name="T46" fmla="*/ 2147483647 w 142"/>
              <a:gd name="T47" fmla="*/ 2147483647 h 662"/>
              <a:gd name="T48" fmla="*/ 2147483647 w 142"/>
              <a:gd name="T49" fmla="*/ 2147483647 h 662"/>
              <a:gd name="T50" fmla="*/ 2147483647 w 142"/>
              <a:gd name="T51" fmla="*/ 2147483647 h 662"/>
              <a:gd name="T52" fmla="*/ 2147483647 w 142"/>
              <a:gd name="T53" fmla="*/ 2147483647 h 662"/>
              <a:gd name="T54" fmla="*/ 2147483647 w 142"/>
              <a:gd name="T55" fmla="*/ 2147483647 h 662"/>
              <a:gd name="T56" fmla="*/ 2147483647 w 142"/>
              <a:gd name="T57" fmla="*/ 2147483647 h 662"/>
              <a:gd name="T58" fmla="*/ 2147483647 w 142"/>
              <a:gd name="T59" fmla="*/ 2147483647 h 662"/>
              <a:gd name="T60" fmla="*/ 2147483647 w 142"/>
              <a:gd name="T61" fmla="*/ 2147483647 h 662"/>
              <a:gd name="T62" fmla="*/ 2147483647 w 142"/>
              <a:gd name="T63" fmla="*/ 2147483647 h 662"/>
              <a:gd name="T64" fmla="*/ 2147483647 w 142"/>
              <a:gd name="T65" fmla="*/ 2147483647 h 662"/>
              <a:gd name="T66" fmla="*/ 2147483647 w 142"/>
              <a:gd name="T67" fmla="*/ 2147483647 h 662"/>
              <a:gd name="T68" fmla="*/ 2147483647 w 142"/>
              <a:gd name="T69" fmla="*/ 2147483647 h 662"/>
              <a:gd name="T70" fmla="*/ 2147483647 w 142"/>
              <a:gd name="T71" fmla="*/ 2147483647 h 662"/>
              <a:gd name="T72" fmla="*/ 2147483647 w 142"/>
              <a:gd name="T73" fmla="*/ 2147483647 h 662"/>
              <a:gd name="T74" fmla="*/ 2147483647 w 142"/>
              <a:gd name="T75" fmla="*/ 2147483647 h 662"/>
              <a:gd name="T76" fmla="*/ 2147483647 w 142"/>
              <a:gd name="T77" fmla="*/ 2147483647 h 662"/>
              <a:gd name="T78" fmla="*/ 2147483647 w 142"/>
              <a:gd name="T79" fmla="*/ 2147483647 h 662"/>
              <a:gd name="T80" fmla="*/ 2147483647 w 142"/>
              <a:gd name="T81" fmla="*/ 2147483647 h 662"/>
              <a:gd name="T82" fmla="*/ 2147483647 w 142"/>
              <a:gd name="T83" fmla="*/ 2147483647 h 662"/>
              <a:gd name="T84" fmla="*/ 2147483647 w 142"/>
              <a:gd name="T85" fmla="*/ 2147483647 h 662"/>
              <a:gd name="T86" fmla="*/ 2147483647 w 142"/>
              <a:gd name="T87" fmla="*/ 2147483647 h 662"/>
              <a:gd name="T88" fmla="*/ 2147483647 w 142"/>
              <a:gd name="T89" fmla="*/ 2147483647 h 662"/>
              <a:gd name="T90" fmla="*/ 2147483647 w 142"/>
              <a:gd name="T91" fmla="*/ 2147483647 h 662"/>
              <a:gd name="T92" fmla="*/ 2147483647 w 142"/>
              <a:gd name="T93" fmla="*/ 2147483647 h 662"/>
              <a:gd name="T94" fmla="*/ 0 w 142"/>
              <a:gd name="T95" fmla="*/ 2147483647 h 66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2"/>
              <a:gd name="T145" fmla="*/ 0 h 662"/>
              <a:gd name="T146" fmla="*/ 142 w 142"/>
              <a:gd name="T147" fmla="*/ 662 h 66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2" h="662">
                <a:moveTo>
                  <a:pt x="0" y="516"/>
                </a:moveTo>
                <a:lnTo>
                  <a:pt x="12" y="498"/>
                </a:lnTo>
                <a:lnTo>
                  <a:pt x="30" y="510"/>
                </a:lnTo>
                <a:lnTo>
                  <a:pt x="49" y="476"/>
                </a:lnTo>
                <a:lnTo>
                  <a:pt x="40" y="464"/>
                </a:lnTo>
                <a:lnTo>
                  <a:pt x="55" y="416"/>
                </a:lnTo>
                <a:lnTo>
                  <a:pt x="30" y="412"/>
                </a:lnTo>
                <a:lnTo>
                  <a:pt x="34" y="337"/>
                </a:lnTo>
                <a:lnTo>
                  <a:pt x="67" y="258"/>
                </a:lnTo>
                <a:lnTo>
                  <a:pt x="67" y="192"/>
                </a:lnTo>
                <a:lnTo>
                  <a:pt x="91" y="66"/>
                </a:lnTo>
                <a:lnTo>
                  <a:pt x="85" y="9"/>
                </a:lnTo>
                <a:lnTo>
                  <a:pt x="102" y="0"/>
                </a:lnTo>
                <a:lnTo>
                  <a:pt x="119" y="28"/>
                </a:lnTo>
                <a:lnTo>
                  <a:pt x="129" y="87"/>
                </a:lnTo>
                <a:lnTo>
                  <a:pt x="141" y="87"/>
                </a:lnTo>
                <a:lnTo>
                  <a:pt x="141" y="106"/>
                </a:lnTo>
                <a:lnTo>
                  <a:pt x="121" y="115"/>
                </a:lnTo>
                <a:lnTo>
                  <a:pt x="122" y="155"/>
                </a:lnTo>
                <a:lnTo>
                  <a:pt x="102" y="175"/>
                </a:lnTo>
                <a:lnTo>
                  <a:pt x="86" y="230"/>
                </a:lnTo>
                <a:lnTo>
                  <a:pt x="96" y="279"/>
                </a:lnTo>
                <a:lnTo>
                  <a:pt x="75" y="325"/>
                </a:lnTo>
                <a:lnTo>
                  <a:pt x="60" y="432"/>
                </a:lnTo>
                <a:lnTo>
                  <a:pt x="72" y="474"/>
                </a:lnTo>
                <a:lnTo>
                  <a:pt x="60" y="476"/>
                </a:lnTo>
                <a:lnTo>
                  <a:pt x="66" y="512"/>
                </a:lnTo>
                <a:lnTo>
                  <a:pt x="37" y="584"/>
                </a:lnTo>
                <a:lnTo>
                  <a:pt x="39" y="597"/>
                </a:lnTo>
                <a:lnTo>
                  <a:pt x="55" y="595"/>
                </a:lnTo>
                <a:lnTo>
                  <a:pt x="60" y="622"/>
                </a:lnTo>
                <a:lnTo>
                  <a:pt x="122" y="627"/>
                </a:lnTo>
                <a:lnTo>
                  <a:pt x="80" y="638"/>
                </a:lnTo>
                <a:lnTo>
                  <a:pt x="75" y="661"/>
                </a:lnTo>
                <a:lnTo>
                  <a:pt x="57" y="654"/>
                </a:lnTo>
                <a:lnTo>
                  <a:pt x="76" y="640"/>
                </a:lnTo>
                <a:lnTo>
                  <a:pt x="47" y="633"/>
                </a:lnTo>
                <a:lnTo>
                  <a:pt x="45" y="611"/>
                </a:lnTo>
                <a:lnTo>
                  <a:pt x="35" y="623"/>
                </a:lnTo>
                <a:lnTo>
                  <a:pt x="25" y="599"/>
                </a:lnTo>
                <a:lnTo>
                  <a:pt x="31" y="595"/>
                </a:lnTo>
                <a:lnTo>
                  <a:pt x="17" y="583"/>
                </a:lnTo>
                <a:lnTo>
                  <a:pt x="30" y="572"/>
                </a:lnTo>
                <a:lnTo>
                  <a:pt x="17" y="539"/>
                </a:lnTo>
                <a:lnTo>
                  <a:pt x="37" y="544"/>
                </a:lnTo>
                <a:lnTo>
                  <a:pt x="17" y="527"/>
                </a:lnTo>
                <a:lnTo>
                  <a:pt x="21" y="515"/>
                </a:lnTo>
                <a:lnTo>
                  <a:pt x="0" y="51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59" name="Freeform 51"/>
          <p:cNvSpPr>
            <a:spLocks/>
          </p:cNvSpPr>
          <p:nvPr/>
        </p:nvSpPr>
        <p:spPr bwMode="auto">
          <a:xfrm>
            <a:off x="2498725" y="5661025"/>
            <a:ext cx="19050" cy="38100"/>
          </a:xfrm>
          <a:custGeom>
            <a:avLst/>
            <a:gdLst>
              <a:gd name="T0" fmla="*/ 0 w 14"/>
              <a:gd name="T1" fmla="*/ 2147483647 h 26"/>
              <a:gd name="T2" fmla="*/ 2147483647 w 14"/>
              <a:gd name="T3" fmla="*/ 0 h 26"/>
              <a:gd name="T4" fmla="*/ 2147483647 w 14"/>
              <a:gd name="T5" fmla="*/ 2147483647 h 26"/>
              <a:gd name="T6" fmla="*/ 0 w 14"/>
              <a:gd name="T7" fmla="*/ 2147483647 h 26"/>
              <a:gd name="T8" fmla="*/ 0 60000 65536"/>
              <a:gd name="T9" fmla="*/ 0 60000 65536"/>
              <a:gd name="T10" fmla="*/ 0 60000 65536"/>
              <a:gd name="T11" fmla="*/ 0 60000 65536"/>
              <a:gd name="T12" fmla="*/ 0 w 14"/>
              <a:gd name="T13" fmla="*/ 0 h 26"/>
              <a:gd name="T14" fmla="*/ 14 w 14"/>
              <a:gd name="T15" fmla="*/ 26 h 26"/>
            </a:gdLst>
            <a:ahLst/>
            <a:cxnLst>
              <a:cxn ang="T8">
                <a:pos x="T0" y="T1"/>
              </a:cxn>
              <a:cxn ang="T9">
                <a:pos x="T2" y="T3"/>
              </a:cxn>
              <a:cxn ang="T10">
                <a:pos x="T4" y="T5"/>
              </a:cxn>
              <a:cxn ang="T11">
                <a:pos x="T6" y="T7"/>
              </a:cxn>
            </a:cxnLst>
            <a:rect l="T12" t="T13" r="T14" b="T15"/>
            <a:pathLst>
              <a:path w="14" h="26">
                <a:moveTo>
                  <a:pt x="0" y="13"/>
                </a:moveTo>
                <a:lnTo>
                  <a:pt x="7" y="0"/>
                </a:lnTo>
                <a:lnTo>
                  <a:pt x="13" y="25"/>
                </a:lnTo>
                <a:lnTo>
                  <a:pt x="0" y="1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0" name="Freeform 52"/>
          <p:cNvSpPr>
            <a:spLocks/>
          </p:cNvSpPr>
          <p:nvPr/>
        </p:nvSpPr>
        <p:spPr bwMode="auto">
          <a:xfrm>
            <a:off x="2517775" y="5462588"/>
            <a:ext cx="14288" cy="49212"/>
          </a:xfrm>
          <a:custGeom>
            <a:avLst/>
            <a:gdLst>
              <a:gd name="T0" fmla="*/ 0 w 11"/>
              <a:gd name="T1" fmla="*/ 2147483647 h 33"/>
              <a:gd name="T2" fmla="*/ 2147483647 w 11"/>
              <a:gd name="T3" fmla="*/ 0 h 33"/>
              <a:gd name="T4" fmla="*/ 2147483647 w 11"/>
              <a:gd name="T5" fmla="*/ 2147483647 h 33"/>
              <a:gd name="T6" fmla="*/ 0 w 11"/>
              <a:gd name="T7" fmla="*/ 2147483647 h 33"/>
              <a:gd name="T8" fmla="*/ 0 60000 65536"/>
              <a:gd name="T9" fmla="*/ 0 60000 65536"/>
              <a:gd name="T10" fmla="*/ 0 60000 65536"/>
              <a:gd name="T11" fmla="*/ 0 60000 65536"/>
              <a:gd name="T12" fmla="*/ 0 w 11"/>
              <a:gd name="T13" fmla="*/ 0 h 33"/>
              <a:gd name="T14" fmla="*/ 11 w 11"/>
              <a:gd name="T15" fmla="*/ 33 h 33"/>
            </a:gdLst>
            <a:ahLst/>
            <a:cxnLst>
              <a:cxn ang="T8">
                <a:pos x="T0" y="T1"/>
              </a:cxn>
              <a:cxn ang="T9">
                <a:pos x="T2" y="T3"/>
              </a:cxn>
              <a:cxn ang="T10">
                <a:pos x="T4" y="T5"/>
              </a:cxn>
              <a:cxn ang="T11">
                <a:pos x="T6" y="T7"/>
              </a:cxn>
            </a:cxnLst>
            <a:rect l="T12" t="T13" r="T14" b="T15"/>
            <a:pathLst>
              <a:path w="11" h="33">
                <a:moveTo>
                  <a:pt x="0" y="26"/>
                </a:moveTo>
                <a:lnTo>
                  <a:pt x="10" y="0"/>
                </a:lnTo>
                <a:lnTo>
                  <a:pt x="10" y="32"/>
                </a:lnTo>
                <a:lnTo>
                  <a:pt x="0" y="2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1" name="Freeform 53"/>
          <p:cNvSpPr>
            <a:spLocks/>
          </p:cNvSpPr>
          <p:nvPr/>
        </p:nvSpPr>
        <p:spPr bwMode="auto">
          <a:xfrm>
            <a:off x="2536825" y="5805488"/>
            <a:ext cx="28575" cy="20637"/>
          </a:xfrm>
          <a:custGeom>
            <a:avLst/>
            <a:gdLst>
              <a:gd name="T0" fmla="*/ 0 w 21"/>
              <a:gd name="T1" fmla="*/ 0 h 14"/>
              <a:gd name="T2" fmla="*/ 2147483647 w 21"/>
              <a:gd name="T3" fmla="*/ 2147483647 h 14"/>
              <a:gd name="T4" fmla="*/ 2147483647 w 21"/>
              <a:gd name="T5" fmla="*/ 2147483647 h 14"/>
              <a:gd name="T6" fmla="*/ 0 w 21"/>
              <a:gd name="T7" fmla="*/ 0 h 14"/>
              <a:gd name="T8" fmla="*/ 0 60000 65536"/>
              <a:gd name="T9" fmla="*/ 0 60000 65536"/>
              <a:gd name="T10" fmla="*/ 0 60000 65536"/>
              <a:gd name="T11" fmla="*/ 0 60000 65536"/>
              <a:gd name="T12" fmla="*/ 0 w 21"/>
              <a:gd name="T13" fmla="*/ 0 h 14"/>
              <a:gd name="T14" fmla="*/ 21 w 21"/>
              <a:gd name="T15" fmla="*/ 14 h 14"/>
            </a:gdLst>
            <a:ahLst/>
            <a:cxnLst>
              <a:cxn ang="T8">
                <a:pos x="T0" y="T1"/>
              </a:cxn>
              <a:cxn ang="T9">
                <a:pos x="T2" y="T3"/>
              </a:cxn>
              <a:cxn ang="T10">
                <a:pos x="T4" y="T5"/>
              </a:cxn>
              <a:cxn ang="T11">
                <a:pos x="T6" y="T7"/>
              </a:cxn>
            </a:cxnLst>
            <a:rect l="T12" t="T13" r="T14" b="T15"/>
            <a:pathLst>
              <a:path w="21" h="14">
                <a:moveTo>
                  <a:pt x="0" y="0"/>
                </a:moveTo>
                <a:lnTo>
                  <a:pt x="19" y="3"/>
                </a:lnTo>
                <a:lnTo>
                  <a:pt x="20" y="13"/>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2" name="Freeform 54"/>
          <p:cNvSpPr>
            <a:spLocks/>
          </p:cNvSpPr>
          <p:nvPr/>
        </p:nvSpPr>
        <p:spPr bwMode="auto">
          <a:xfrm>
            <a:off x="2538413" y="5759450"/>
            <a:ext cx="50800" cy="49213"/>
          </a:xfrm>
          <a:custGeom>
            <a:avLst/>
            <a:gdLst>
              <a:gd name="T0" fmla="*/ 0 w 37"/>
              <a:gd name="T1" fmla="*/ 2147483647 h 33"/>
              <a:gd name="T2" fmla="*/ 2147483647 w 37"/>
              <a:gd name="T3" fmla="*/ 0 h 33"/>
              <a:gd name="T4" fmla="*/ 2147483647 w 37"/>
              <a:gd name="T5" fmla="*/ 2147483647 h 33"/>
              <a:gd name="T6" fmla="*/ 2147483647 w 37"/>
              <a:gd name="T7" fmla="*/ 2147483647 h 33"/>
              <a:gd name="T8" fmla="*/ 2147483647 w 37"/>
              <a:gd name="T9" fmla="*/ 2147483647 h 33"/>
              <a:gd name="T10" fmla="*/ 0 w 37"/>
              <a:gd name="T11" fmla="*/ 2147483647 h 33"/>
              <a:gd name="T12" fmla="*/ 0 60000 65536"/>
              <a:gd name="T13" fmla="*/ 0 60000 65536"/>
              <a:gd name="T14" fmla="*/ 0 60000 65536"/>
              <a:gd name="T15" fmla="*/ 0 60000 65536"/>
              <a:gd name="T16" fmla="*/ 0 60000 65536"/>
              <a:gd name="T17" fmla="*/ 0 60000 65536"/>
              <a:gd name="T18" fmla="*/ 0 w 37"/>
              <a:gd name="T19" fmla="*/ 0 h 33"/>
              <a:gd name="T20" fmla="*/ 37 w 3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7" h="33">
                <a:moveTo>
                  <a:pt x="0" y="5"/>
                </a:moveTo>
                <a:lnTo>
                  <a:pt x="11" y="0"/>
                </a:lnTo>
                <a:lnTo>
                  <a:pt x="11" y="14"/>
                </a:lnTo>
                <a:lnTo>
                  <a:pt x="36" y="20"/>
                </a:lnTo>
                <a:lnTo>
                  <a:pt x="19" y="32"/>
                </a:lnTo>
                <a:lnTo>
                  <a:pt x="0" y="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3" name="Freeform 55"/>
          <p:cNvSpPr>
            <a:spLocks/>
          </p:cNvSpPr>
          <p:nvPr/>
        </p:nvSpPr>
        <p:spPr bwMode="auto">
          <a:xfrm>
            <a:off x="2574925" y="5821363"/>
            <a:ext cx="23813" cy="11112"/>
          </a:xfrm>
          <a:custGeom>
            <a:avLst/>
            <a:gdLst>
              <a:gd name="T0" fmla="*/ 0 w 17"/>
              <a:gd name="T1" fmla="*/ 2147483647 h 8"/>
              <a:gd name="T2" fmla="*/ 2147483647 w 17"/>
              <a:gd name="T3" fmla="*/ 0 h 8"/>
              <a:gd name="T4" fmla="*/ 2147483647 w 17"/>
              <a:gd name="T5" fmla="*/ 2147483647 h 8"/>
              <a:gd name="T6" fmla="*/ 0 w 17"/>
              <a:gd name="T7" fmla="*/ 2147483647 h 8"/>
              <a:gd name="T8" fmla="*/ 0 60000 65536"/>
              <a:gd name="T9" fmla="*/ 0 60000 65536"/>
              <a:gd name="T10" fmla="*/ 0 60000 65536"/>
              <a:gd name="T11" fmla="*/ 0 60000 65536"/>
              <a:gd name="T12" fmla="*/ 0 w 17"/>
              <a:gd name="T13" fmla="*/ 0 h 8"/>
              <a:gd name="T14" fmla="*/ 17 w 17"/>
              <a:gd name="T15" fmla="*/ 8 h 8"/>
            </a:gdLst>
            <a:ahLst/>
            <a:cxnLst>
              <a:cxn ang="T8">
                <a:pos x="T0" y="T1"/>
              </a:cxn>
              <a:cxn ang="T9">
                <a:pos x="T2" y="T3"/>
              </a:cxn>
              <a:cxn ang="T10">
                <a:pos x="T4" y="T5"/>
              </a:cxn>
              <a:cxn ang="T11">
                <a:pos x="T6" y="T7"/>
              </a:cxn>
            </a:cxnLst>
            <a:rect l="T12" t="T13" r="T14" b="T15"/>
            <a:pathLst>
              <a:path w="17" h="8">
                <a:moveTo>
                  <a:pt x="0" y="4"/>
                </a:moveTo>
                <a:lnTo>
                  <a:pt x="5" y="0"/>
                </a:lnTo>
                <a:lnTo>
                  <a:pt x="16" y="7"/>
                </a:lnTo>
                <a:lnTo>
                  <a:pt x="0" y="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4" name="Freeform 56"/>
          <p:cNvSpPr>
            <a:spLocks/>
          </p:cNvSpPr>
          <p:nvPr/>
        </p:nvSpPr>
        <p:spPr bwMode="auto">
          <a:xfrm>
            <a:off x="2589213" y="5780088"/>
            <a:ext cx="65087" cy="69850"/>
          </a:xfrm>
          <a:custGeom>
            <a:avLst/>
            <a:gdLst>
              <a:gd name="T0" fmla="*/ 0 w 47"/>
              <a:gd name="T1" fmla="*/ 2147483647 h 48"/>
              <a:gd name="T2" fmla="*/ 2147483647 w 47"/>
              <a:gd name="T3" fmla="*/ 2147483647 h 48"/>
              <a:gd name="T4" fmla="*/ 2147483647 w 47"/>
              <a:gd name="T5" fmla="*/ 2147483647 h 48"/>
              <a:gd name="T6" fmla="*/ 2147483647 w 47"/>
              <a:gd name="T7" fmla="*/ 2147483647 h 48"/>
              <a:gd name="T8" fmla="*/ 2147483647 w 47"/>
              <a:gd name="T9" fmla="*/ 2147483647 h 48"/>
              <a:gd name="T10" fmla="*/ 2147483647 w 47"/>
              <a:gd name="T11" fmla="*/ 2147483647 h 48"/>
              <a:gd name="T12" fmla="*/ 2147483647 w 47"/>
              <a:gd name="T13" fmla="*/ 2147483647 h 48"/>
              <a:gd name="T14" fmla="*/ 2147483647 w 47"/>
              <a:gd name="T15" fmla="*/ 0 h 48"/>
              <a:gd name="T16" fmla="*/ 2147483647 w 47"/>
              <a:gd name="T17" fmla="*/ 2147483647 h 48"/>
              <a:gd name="T18" fmla="*/ 0 w 47"/>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
              <a:gd name="T31" fmla="*/ 0 h 48"/>
              <a:gd name="T32" fmla="*/ 47 w 47"/>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 h="48">
                <a:moveTo>
                  <a:pt x="0" y="39"/>
                </a:moveTo>
                <a:lnTo>
                  <a:pt x="7" y="31"/>
                </a:lnTo>
                <a:lnTo>
                  <a:pt x="34" y="36"/>
                </a:lnTo>
                <a:lnTo>
                  <a:pt x="20" y="24"/>
                </a:lnTo>
                <a:lnTo>
                  <a:pt x="34" y="16"/>
                </a:lnTo>
                <a:lnTo>
                  <a:pt x="15" y="14"/>
                </a:lnTo>
                <a:lnTo>
                  <a:pt x="15" y="2"/>
                </a:lnTo>
                <a:lnTo>
                  <a:pt x="44" y="0"/>
                </a:lnTo>
                <a:lnTo>
                  <a:pt x="46" y="47"/>
                </a:lnTo>
                <a:lnTo>
                  <a:pt x="0" y="3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5" name="Freeform 57"/>
          <p:cNvSpPr>
            <a:spLocks/>
          </p:cNvSpPr>
          <p:nvPr/>
        </p:nvSpPr>
        <p:spPr bwMode="auto">
          <a:xfrm>
            <a:off x="2620963" y="5862638"/>
            <a:ext cx="52387" cy="14287"/>
          </a:xfrm>
          <a:custGeom>
            <a:avLst/>
            <a:gdLst>
              <a:gd name="T0" fmla="*/ 0 w 38"/>
              <a:gd name="T1" fmla="*/ 0 h 10"/>
              <a:gd name="T2" fmla="*/ 2147483647 w 38"/>
              <a:gd name="T3" fmla="*/ 2147483647 h 10"/>
              <a:gd name="T4" fmla="*/ 2147483647 w 38"/>
              <a:gd name="T5" fmla="*/ 2147483647 h 10"/>
              <a:gd name="T6" fmla="*/ 0 w 38"/>
              <a:gd name="T7" fmla="*/ 0 h 10"/>
              <a:gd name="T8" fmla="*/ 0 60000 65536"/>
              <a:gd name="T9" fmla="*/ 0 60000 65536"/>
              <a:gd name="T10" fmla="*/ 0 60000 65536"/>
              <a:gd name="T11" fmla="*/ 0 60000 65536"/>
              <a:gd name="T12" fmla="*/ 0 w 38"/>
              <a:gd name="T13" fmla="*/ 0 h 10"/>
              <a:gd name="T14" fmla="*/ 38 w 38"/>
              <a:gd name="T15" fmla="*/ 10 h 10"/>
            </a:gdLst>
            <a:ahLst/>
            <a:cxnLst>
              <a:cxn ang="T8">
                <a:pos x="T0" y="T1"/>
              </a:cxn>
              <a:cxn ang="T9">
                <a:pos x="T2" y="T3"/>
              </a:cxn>
              <a:cxn ang="T10">
                <a:pos x="T4" y="T5"/>
              </a:cxn>
              <a:cxn ang="T11">
                <a:pos x="T6" y="T7"/>
              </a:cxn>
            </a:cxnLst>
            <a:rect l="T12" t="T13" r="T14" b="T15"/>
            <a:pathLst>
              <a:path w="38" h="10">
                <a:moveTo>
                  <a:pt x="0" y="0"/>
                </a:moveTo>
                <a:lnTo>
                  <a:pt x="31" y="1"/>
                </a:lnTo>
                <a:lnTo>
                  <a:pt x="37" y="9"/>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6" name="Freeform 58"/>
          <p:cNvSpPr>
            <a:spLocks/>
          </p:cNvSpPr>
          <p:nvPr/>
        </p:nvSpPr>
        <p:spPr bwMode="auto">
          <a:xfrm>
            <a:off x="2667000" y="5849938"/>
            <a:ext cx="22225" cy="14287"/>
          </a:xfrm>
          <a:custGeom>
            <a:avLst/>
            <a:gdLst>
              <a:gd name="T0" fmla="*/ 0 w 16"/>
              <a:gd name="T1" fmla="*/ 2147483647 h 9"/>
              <a:gd name="T2" fmla="*/ 2147483647 w 16"/>
              <a:gd name="T3" fmla="*/ 0 h 9"/>
              <a:gd name="T4" fmla="*/ 2147483647 w 16"/>
              <a:gd name="T5" fmla="*/ 2147483647 h 9"/>
              <a:gd name="T6" fmla="*/ 0 w 16"/>
              <a:gd name="T7" fmla="*/ 2147483647 h 9"/>
              <a:gd name="T8" fmla="*/ 0 60000 65536"/>
              <a:gd name="T9" fmla="*/ 0 60000 65536"/>
              <a:gd name="T10" fmla="*/ 0 60000 65536"/>
              <a:gd name="T11" fmla="*/ 0 60000 65536"/>
              <a:gd name="T12" fmla="*/ 0 w 16"/>
              <a:gd name="T13" fmla="*/ 0 h 9"/>
              <a:gd name="T14" fmla="*/ 16 w 16"/>
              <a:gd name="T15" fmla="*/ 9 h 9"/>
            </a:gdLst>
            <a:ahLst/>
            <a:cxnLst>
              <a:cxn ang="T8">
                <a:pos x="T0" y="T1"/>
              </a:cxn>
              <a:cxn ang="T9">
                <a:pos x="T2" y="T3"/>
              </a:cxn>
              <a:cxn ang="T10">
                <a:pos x="T4" y="T5"/>
              </a:cxn>
              <a:cxn ang="T11">
                <a:pos x="T6" y="T7"/>
              </a:cxn>
            </a:cxnLst>
            <a:rect l="T12" t="T13" r="T14" b="T15"/>
            <a:pathLst>
              <a:path w="16" h="9">
                <a:moveTo>
                  <a:pt x="0" y="8"/>
                </a:moveTo>
                <a:lnTo>
                  <a:pt x="3" y="0"/>
                </a:lnTo>
                <a:lnTo>
                  <a:pt x="15" y="8"/>
                </a:lnTo>
                <a:lnTo>
                  <a:pt x="0" y="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7" name="Freeform 59"/>
          <p:cNvSpPr>
            <a:spLocks/>
          </p:cNvSpPr>
          <p:nvPr/>
        </p:nvSpPr>
        <p:spPr bwMode="auto">
          <a:xfrm>
            <a:off x="5945188" y="3084513"/>
            <a:ext cx="1412875" cy="889000"/>
          </a:xfrm>
          <a:custGeom>
            <a:avLst/>
            <a:gdLst>
              <a:gd name="T0" fmla="*/ 2147483647 w 1026"/>
              <a:gd name="T1" fmla="*/ 2147483647 h 608"/>
              <a:gd name="T2" fmla="*/ 2147483647 w 1026"/>
              <a:gd name="T3" fmla="*/ 2147483647 h 608"/>
              <a:gd name="T4" fmla="*/ 2147483647 w 1026"/>
              <a:gd name="T5" fmla="*/ 2147483647 h 608"/>
              <a:gd name="T6" fmla="*/ 2147483647 w 1026"/>
              <a:gd name="T7" fmla="*/ 2147483647 h 608"/>
              <a:gd name="T8" fmla="*/ 2147483647 w 1026"/>
              <a:gd name="T9" fmla="*/ 2147483647 h 608"/>
              <a:gd name="T10" fmla="*/ 2147483647 w 1026"/>
              <a:gd name="T11" fmla="*/ 2147483647 h 608"/>
              <a:gd name="T12" fmla="*/ 2147483647 w 1026"/>
              <a:gd name="T13" fmla="*/ 2147483647 h 608"/>
              <a:gd name="T14" fmla="*/ 2147483647 w 1026"/>
              <a:gd name="T15" fmla="*/ 2147483647 h 608"/>
              <a:gd name="T16" fmla="*/ 2147483647 w 1026"/>
              <a:gd name="T17" fmla="*/ 2147483647 h 608"/>
              <a:gd name="T18" fmla="*/ 2147483647 w 1026"/>
              <a:gd name="T19" fmla="*/ 2147483647 h 608"/>
              <a:gd name="T20" fmla="*/ 2147483647 w 1026"/>
              <a:gd name="T21" fmla="*/ 2147483647 h 608"/>
              <a:gd name="T22" fmla="*/ 2147483647 w 1026"/>
              <a:gd name="T23" fmla="*/ 2147483647 h 608"/>
              <a:gd name="T24" fmla="*/ 2147483647 w 1026"/>
              <a:gd name="T25" fmla="*/ 2147483647 h 608"/>
              <a:gd name="T26" fmla="*/ 2147483647 w 1026"/>
              <a:gd name="T27" fmla="*/ 2147483647 h 608"/>
              <a:gd name="T28" fmla="*/ 2147483647 w 1026"/>
              <a:gd name="T29" fmla="*/ 2147483647 h 608"/>
              <a:gd name="T30" fmla="*/ 2147483647 w 1026"/>
              <a:gd name="T31" fmla="*/ 2147483647 h 608"/>
              <a:gd name="T32" fmla="*/ 2147483647 w 1026"/>
              <a:gd name="T33" fmla="*/ 2147483647 h 608"/>
              <a:gd name="T34" fmla="*/ 2147483647 w 1026"/>
              <a:gd name="T35" fmla="*/ 2147483647 h 608"/>
              <a:gd name="T36" fmla="*/ 2147483647 w 1026"/>
              <a:gd name="T37" fmla="*/ 2147483647 h 608"/>
              <a:gd name="T38" fmla="*/ 2147483647 w 1026"/>
              <a:gd name="T39" fmla="*/ 2147483647 h 608"/>
              <a:gd name="T40" fmla="*/ 2147483647 w 1026"/>
              <a:gd name="T41" fmla="*/ 2147483647 h 608"/>
              <a:gd name="T42" fmla="*/ 2147483647 w 1026"/>
              <a:gd name="T43" fmla="*/ 2147483647 h 608"/>
              <a:gd name="T44" fmla="*/ 2147483647 w 1026"/>
              <a:gd name="T45" fmla="*/ 2147483647 h 608"/>
              <a:gd name="T46" fmla="*/ 2147483647 w 1026"/>
              <a:gd name="T47" fmla="*/ 2147483647 h 608"/>
              <a:gd name="T48" fmla="*/ 2147483647 w 1026"/>
              <a:gd name="T49" fmla="*/ 2147483647 h 608"/>
              <a:gd name="T50" fmla="*/ 2147483647 w 1026"/>
              <a:gd name="T51" fmla="*/ 2147483647 h 608"/>
              <a:gd name="T52" fmla="*/ 2147483647 w 1026"/>
              <a:gd name="T53" fmla="*/ 2147483647 h 608"/>
              <a:gd name="T54" fmla="*/ 2147483647 w 1026"/>
              <a:gd name="T55" fmla="*/ 2147483647 h 608"/>
              <a:gd name="T56" fmla="*/ 2147483647 w 1026"/>
              <a:gd name="T57" fmla="*/ 2147483647 h 608"/>
              <a:gd name="T58" fmla="*/ 2147483647 w 1026"/>
              <a:gd name="T59" fmla="*/ 2147483647 h 608"/>
              <a:gd name="T60" fmla="*/ 2147483647 w 1026"/>
              <a:gd name="T61" fmla="*/ 2147483647 h 608"/>
              <a:gd name="T62" fmla="*/ 2147483647 w 1026"/>
              <a:gd name="T63" fmla="*/ 2147483647 h 608"/>
              <a:gd name="T64" fmla="*/ 2147483647 w 1026"/>
              <a:gd name="T65" fmla="*/ 2147483647 h 608"/>
              <a:gd name="T66" fmla="*/ 2147483647 w 1026"/>
              <a:gd name="T67" fmla="*/ 2147483647 h 608"/>
              <a:gd name="T68" fmla="*/ 2147483647 w 1026"/>
              <a:gd name="T69" fmla="*/ 2147483647 h 608"/>
              <a:gd name="T70" fmla="*/ 2147483647 w 1026"/>
              <a:gd name="T71" fmla="*/ 2147483647 h 608"/>
              <a:gd name="T72" fmla="*/ 2147483647 w 1026"/>
              <a:gd name="T73" fmla="*/ 2147483647 h 608"/>
              <a:gd name="T74" fmla="*/ 2147483647 w 1026"/>
              <a:gd name="T75" fmla="*/ 2147483647 h 608"/>
              <a:gd name="T76" fmla="*/ 2147483647 w 1026"/>
              <a:gd name="T77" fmla="*/ 2147483647 h 608"/>
              <a:gd name="T78" fmla="*/ 2147483647 w 1026"/>
              <a:gd name="T79" fmla="*/ 2147483647 h 608"/>
              <a:gd name="T80" fmla="*/ 2147483647 w 1026"/>
              <a:gd name="T81" fmla="*/ 2147483647 h 608"/>
              <a:gd name="T82" fmla="*/ 2147483647 w 1026"/>
              <a:gd name="T83" fmla="*/ 2147483647 h 608"/>
              <a:gd name="T84" fmla="*/ 2147483647 w 1026"/>
              <a:gd name="T85" fmla="*/ 2147483647 h 608"/>
              <a:gd name="T86" fmla="*/ 2147483647 w 1026"/>
              <a:gd name="T87" fmla="*/ 2147483647 h 608"/>
              <a:gd name="T88" fmla="*/ 2147483647 w 1026"/>
              <a:gd name="T89" fmla="*/ 2147483647 h 608"/>
              <a:gd name="T90" fmla="*/ 2147483647 w 1026"/>
              <a:gd name="T91" fmla="*/ 2147483647 h 608"/>
              <a:gd name="T92" fmla="*/ 2147483647 w 1026"/>
              <a:gd name="T93" fmla="*/ 2147483647 h 608"/>
              <a:gd name="T94" fmla="*/ 2147483647 w 1026"/>
              <a:gd name="T95" fmla="*/ 2147483647 h 608"/>
              <a:gd name="T96" fmla="*/ 2147483647 w 1026"/>
              <a:gd name="T97" fmla="*/ 2147483647 h 608"/>
              <a:gd name="T98" fmla="*/ 2147483647 w 1026"/>
              <a:gd name="T99" fmla="*/ 2147483647 h 608"/>
              <a:gd name="T100" fmla="*/ 2147483647 w 1026"/>
              <a:gd name="T101" fmla="*/ 2147483647 h 608"/>
              <a:gd name="T102" fmla="*/ 0 w 1026"/>
              <a:gd name="T103" fmla="*/ 2147483647 h 60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26"/>
              <a:gd name="T157" fmla="*/ 0 h 608"/>
              <a:gd name="T158" fmla="*/ 1026 w 1026"/>
              <a:gd name="T159" fmla="*/ 608 h 60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26" h="608">
                <a:moveTo>
                  <a:pt x="0" y="288"/>
                </a:moveTo>
                <a:lnTo>
                  <a:pt x="5" y="266"/>
                </a:lnTo>
                <a:lnTo>
                  <a:pt x="44" y="260"/>
                </a:lnTo>
                <a:lnTo>
                  <a:pt x="109" y="229"/>
                </a:lnTo>
                <a:lnTo>
                  <a:pt x="117" y="203"/>
                </a:lnTo>
                <a:lnTo>
                  <a:pt x="105" y="175"/>
                </a:lnTo>
                <a:lnTo>
                  <a:pt x="146" y="167"/>
                </a:lnTo>
                <a:lnTo>
                  <a:pt x="155" y="130"/>
                </a:lnTo>
                <a:lnTo>
                  <a:pt x="199" y="131"/>
                </a:lnTo>
                <a:lnTo>
                  <a:pt x="204" y="104"/>
                </a:lnTo>
                <a:lnTo>
                  <a:pt x="237" y="93"/>
                </a:lnTo>
                <a:lnTo>
                  <a:pt x="254" y="114"/>
                </a:lnTo>
                <a:lnTo>
                  <a:pt x="278" y="122"/>
                </a:lnTo>
                <a:lnTo>
                  <a:pt x="287" y="168"/>
                </a:lnTo>
                <a:lnTo>
                  <a:pt x="363" y="185"/>
                </a:lnTo>
                <a:lnTo>
                  <a:pt x="392" y="216"/>
                </a:lnTo>
                <a:lnTo>
                  <a:pt x="454" y="212"/>
                </a:lnTo>
                <a:lnTo>
                  <a:pt x="522" y="237"/>
                </a:lnTo>
                <a:lnTo>
                  <a:pt x="614" y="216"/>
                </a:lnTo>
                <a:lnTo>
                  <a:pt x="641" y="196"/>
                </a:lnTo>
                <a:lnTo>
                  <a:pt x="641" y="172"/>
                </a:lnTo>
                <a:lnTo>
                  <a:pt x="667" y="176"/>
                </a:lnTo>
                <a:lnTo>
                  <a:pt x="723" y="140"/>
                </a:lnTo>
                <a:lnTo>
                  <a:pt x="767" y="139"/>
                </a:lnTo>
                <a:lnTo>
                  <a:pt x="746" y="111"/>
                </a:lnTo>
                <a:lnTo>
                  <a:pt x="704" y="120"/>
                </a:lnTo>
                <a:lnTo>
                  <a:pt x="703" y="88"/>
                </a:lnTo>
                <a:lnTo>
                  <a:pt x="715" y="73"/>
                </a:lnTo>
                <a:lnTo>
                  <a:pt x="739" y="81"/>
                </a:lnTo>
                <a:lnTo>
                  <a:pt x="762" y="71"/>
                </a:lnTo>
                <a:lnTo>
                  <a:pt x="788" y="32"/>
                </a:lnTo>
                <a:lnTo>
                  <a:pt x="777" y="17"/>
                </a:lnTo>
                <a:lnTo>
                  <a:pt x="836" y="0"/>
                </a:lnTo>
                <a:lnTo>
                  <a:pt x="872" y="12"/>
                </a:lnTo>
                <a:lnTo>
                  <a:pt x="903" y="79"/>
                </a:lnTo>
                <a:lnTo>
                  <a:pt x="953" y="94"/>
                </a:lnTo>
                <a:lnTo>
                  <a:pt x="963" y="118"/>
                </a:lnTo>
                <a:lnTo>
                  <a:pt x="1025" y="103"/>
                </a:lnTo>
                <a:lnTo>
                  <a:pt x="995" y="169"/>
                </a:lnTo>
                <a:lnTo>
                  <a:pt x="961" y="179"/>
                </a:lnTo>
                <a:lnTo>
                  <a:pt x="966" y="203"/>
                </a:lnTo>
                <a:lnTo>
                  <a:pt x="953" y="219"/>
                </a:lnTo>
                <a:lnTo>
                  <a:pt x="947" y="212"/>
                </a:lnTo>
                <a:lnTo>
                  <a:pt x="915" y="231"/>
                </a:lnTo>
                <a:lnTo>
                  <a:pt x="915" y="241"/>
                </a:lnTo>
                <a:lnTo>
                  <a:pt x="893" y="239"/>
                </a:lnTo>
                <a:lnTo>
                  <a:pt x="850" y="268"/>
                </a:lnTo>
                <a:lnTo>
                  <a:pt x="798" y="291"/>
                </a:lnTo>
                <a:lnTo>
                  <a:pt x="815" y="259"/>
                </a:lnTo>
                <a:lnTo>
                  <a:pt x="807" y="248"/>
                </a:lnTo>
                <a:lnTo>
                  <a:pt x="739" y="286"/>
                </a:lnTo>
                <a:lnTo>
                  <a:pt x="738" y="296"/>
                </a:lnTo>
                <a:lnTo>
                  <a:pt x="760" y="317"/>
                </a:lnTo>
                <a:lnTo>
                  <a:pt x="792" y="309"/>
                </a:lnTo>
                <a:lnTo>
                  <a:pt x="820" y="317"/>
                </a:lnTo>
                <a:lnTo>
                  <a:pt x="781" y="337"/>
                </a:lnTo>
                <a:lnTo>
                  <a:pt x="764" y="360"/>
                </a:lnTo>
                <a:lnTo>
                  <a:pt x="809" y="415"/>
                </a:lnTo>
                <a:lnTo>
                  <a:pt x="780" y="412"/>
                </a:lnTo>
                <a:lnTo>
                  <a:pt x="809" y="429"/>
                </a:lnTo>
                <a:lnTo>
                  <a:pt x="780" y="443"/>
                </a:lnTo>
                <a:lnTo>
                  <a:pt x="809" y="447"/>
                </a:lnTo>
                <a:lnTo>
                  <a:pt x="754" y="535"/>
                </a:lnTo>
                <a:lnTo>
                  <a:pt x="715" y="563"/>
                </a:lnTo>
                <a:lnTo>
                  <a:pt x="680" y="570"/>
                </a:lnTo>
                <a:lnTo>
                  <a:pt x="675" y="570"/>
                </a:lnTo>
                <a:lnTo>
                  <a:pt x="667" y="565"/>
                </a:lnTo>
                <a:lnTo>
                  <a:pt x="657" y="580"/>
                </a:lnTo>
                <a:lnTo>
                  <a:pt x="615" y="590"/>
                </a:lnTo>
                <a:lnTo>
                  <a:pt x="611" y="607"/>
                </a:lnTo>
                <a:lnTo>
                  <a:pt x="603" y="585"/>
                </a:lnTo>
                <a:lnTo>
                  <a:pt x="574" y="586"/>
                </a:lnTo>
                <a:lnTo>
                  <a:pt x="529" y="558"/>
                </a:lnTo>
                <a:lnTo>
                  <a:pt x="476" y="571"/>
                </a:lnTo>
                <a:lnTo>
                  <a:pt x="469" y="572"/>
                </a:lnTo>
                <a:lnTo>
                  <a:pt x="470" y="590"/>
                </a:lnTo>
                <a:lnTo>
                  <a:pt x="461" y="584"/>
                </a:lnTo>
                <a:lnTo>
                  <a:pt x="429" y="576"/>
                </a:lnTo>
                <a:lnTo>
                  <a:pt x="422" y="544"/>
                </a:lnTo>
                <a:lnTo>
                  <a:pt x="401" y="549"/>
                </a:lnTo>
                <a:lnTo>
                  <a:pt x="419" y="501"/>
                </a:lnTo>
                <a:lnTo>
                  <a:pt x="417" y="486"/>
                </a:lnTo>
                <a:lnTo>
                  <a:pt x="397" y="477"/>
                </a:lnTo>
                <a:lnTo>
                  <a:pt x="381" y="471"/>
                </a:lnTo>
                <a:lnTo>
                  <a:pt x="374" y="453"/>
                </a:lnTo>
                <a:lnTo>
                  <a:pt x="302" y="483"/>
                </a:lnTo>
                <a:lnTo>
                  <a:pt x="273" y="474"/>
                </a:lnTo>
                <a:lnTo>
                  <a:pt x="255" y="490"/>
                </a:lnTo>
                <a:lnTo>
                  <a:pt x="252" y="479"/>
                </a:lnTo>
                <a:lnTo>
                  <a:pt x="242" y="480"/>
                </a:lnTo>
                <a:lnTo>
                  <a:pt x="205" y="480"/>
                </a:lnTo>
                <a:lnTo>
                  <a:pt x="176" y="457"/>
                </a:lnTo>
                <a:lnTo>
                  <a:pt x="123" y="441"/>
                </a:lnTo>
                <a:lnTo>
                  <a:pt x="88" y="428"/>
                </a:lnTo>
                <a:lnTo>
                  <a:pt x="79" y="400"/>
                </a:lnTo>
                <a:lnTo>
                  <a:pt x="99" y="398"/>
                </a:lnTo>
                <a:lnTo>
                  <a:pt x="88" y="376"/>
                </a:lnTo>
                <a:lnTo>
                  <a:pt x="111" y="347"/>
                </a:lnTo>
                <a:lnTo>
                  <a:pt x="94" y="339"/>
                </a:lnTo>
                <a:lnTo>
                  <a:pt x="67" y="348"/>
                </a:lnTo>
                <a:lnTo>
                  <a:pt x="16" y="323"/>
                </a:lnTo>
                <a:lnTo>
                  <a:pt x="19" y="317"/>
                </a:lnTo>
                <a:lnTo>
                  <a:pt x="19" y="296"/>
                </a:lnTo>
                <a:lnTo>
                  <a:pt x="0" y="28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8" name="Freeform 60"/>
          <p:cNvSpPr>
            <a:spLocks/>
          </p:cNvSpPr>
          <p:nvPr/>
        </p:nvSpPr>
        <p:spPr bwMode="auto">
          <a:xfrm>
            <a:off x="6754813" y="3978275"/>
            <a:ext cx="50800" cy="42863"/>
          </a:xfrm>
          <a:custGeom>
            <a:avLst/>
            <a:gdLst>
              <a:gd name="T0" fmla="*/ 0 w 37"/>
              <a:gd name="T1" fmla="*/ 2147483647 h 29"/>
              <a:gd name="T2" fmla="*/ 2147483647 w 37"/>
              <a:gd name="T3" fmla="*/ 0 h 29"/>
              <a:gd name="T4" fmla="*/ 2147483647 w 37"/>
              <a:gd name="T5" fmla="*/ 2147483647 h 29"/>
              <a:gd name="T6" fmla="*/ 2147483647 w 37"/>
              <a:gd name="T7" fmla="*/ 2147483647 h 29"/>
              <a:gd name="T8" fmla="*/ 0 w 37"/>
              <a:gd name="T9" fmla="*/ 2147483647 h 29"/>
              <a:gd name="T10" fmla="*/ 0 60000 65536"/>
              <a:gd name="T11" fmla="*/ 0 60000 65536"/>
              <a:gd name="T12" fmla="*/ 0 60000 65536"/>
              <a:gd name="T13" fmla="*/ 0 60000 65536"/>
              <a:gd name="T14" fmla="*/ 0 60000 65536"/>
              <a:gd name="T15" fmla="*/ 0 w 37"/>
              <a:gd name="T16" fmla="*/ 0 h 29"/>
              <a:gd name="T17" fmla="*/ 37 w 37"/>
              <a:gd name="T18" fmla="*/ 29 h 29"/>
            </a:gdLst>
            <a:ahLst/>
            <a:cxnLst>
              <a:cxn ang="T10">
                <a:pos x="T0" y="T1"/>
              </a:cxn>
              <a:cxn ang="T11">
                <a:pos x="T2" y="T3"/>
              </a:cxn>
              <a:cxn ang="T12">
                <a:pos x="T4" y="T5"/>
              </a:cxn>
              <a:cxn ang="T13">
                <a:pos x="T6" y="T7"/>
              </a:cxn>
              <a:cxn ang="T14">
                <a:pos x="T8" y="T9"/>
              </a:cxn>
            </a:cxnLst>
            <a:rect l="T15" t="T16" r="T17" b="T18"/>
            <a:pathLst>
              <a:path w="37" h="29">
                <a:moveTo>
                  <a:pt x="0" y="21"/>
                </a:moveTo>
                <a:lnTo>
                  <a:pt x="13" y="0"/>
                </a:lnTo>
                <a:lnTo>
                  <a:pt x="36" y="4"/>
                </a:lnTo>
                <a:lnTo>
                  <a:pt x="15" y="28"/>
                </a:lnTo>
                <a:lnTo>
                  <a:pt x="0" y="2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69" name="Freeform 61"/>
          <p:cNvSpPr>
            <a:spLocks/>
          </p:cNvSpPr>
          <p:nvPr/>
        </p:nvSpPr>
        <p:spPr bwMode="auto">
          <a:xfrm>
            <a:off x="7016750" y="3856038"/>
            <a:ext cx="41275" cy="79375"/>
          </a:xfrm>
          <a:custGeom>
            <a:avLst/>
            <a:gdLst>
              <a:gd name="T0" fmla="*/ 0 w 30"/>
              <a:gd name="T1" fmla="*/ 2147483647 h 54"/>
              <a:gd name="T2" fmla="*/ 2147483647 w 30"/>
              <a:gd name="T3" fmla="*/ 2147483647 h 54"/>
              <a:gd name="T4" fmla="*/ 2147483647 w 30"/>
              <a:gd name="T5" fmla="*/ 0 h 54"/>
              <a:gd name="T6" fmla="*/ 2147483647 w 30"/>
              <a:gd name="T7" fmla="*/ 2147483647 h 54"/>
              <a:gd name="T8" fmla="*/ 0 w 30"/>
              <a:gd name="T9" fmla="*/ 2147483647 h 54"/>
              <a:gd name="T10" fmla="*/ 0 60000 65536"/>
              <a:gd name="T11" fmla="*/ 0 60000 65536"/>
              <a:gd name="T12" fmla="*/ 0 60000 65536"/>
              <a:gd name="T13" fmla="*/ 0 60000 65536"/>
              <a:gd name="T14" fmla="*/ 0 60000 65536"/>
              <a:gd name="T15" fmla="*/ 0 w 30"/>
              <a:gd name="T16" fmla="*/ 0 h 54"/>
              <a:gd name="T17" fmla="*/ 30 w 30"/>
              <a:gd name="T18" fmla="*/ 54 h 54"/>
            </a:gdLst>
            <a:ahLst/>
            <a:cxnLst>
              <a:cxn ang="T10">
                <a:pos x="T0" y="T1"/>
              </a:cxn>
              <a:cxn ang="T11">
                <a:pos x="T2" y="T3"/>
              </a:cxn>
              <a:cxn ang="T12">
                <a:pos x="T4" y="T5"/>
              </a:cxn>
              <a:cxn ang="T13">
                <a:pos x="T6" y="T7"/>
              </a:cxn>
              <a:cxn ang="T14">
                <a:pos x="T8" y="T9"/>
              </a:cxn>
            </a:cxnLst>
            <a:rect l="T15" t="T16" r="T17" b="T18"/>
            <a:pathLst>
              <a:path w="30" h="54">
                <a:moveTo>
                  <a:pt x="0" y="22"/>
                </a:moveTo>
                <a:lnTo>
                  <a:pt x="11" y="53"/>
                </a:lnTo>
                <a:lnTo>
                  <a:pt x="29" y="0"/>
                </a:lnTo>
                <a:lnTo>
                  <a:pt x="14" y="1"/>
                </a:lnTo>
                <a:lnTo>
                  <a:pt x="0" y="2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0" name="Freeform 62"/>
          <p:cNvSpPr>
            <a:spLocks/>
          </p:cNvSpPr>
          <p:nvPr/>
        </p:nvSpPr>
        <p:spPr bwMode="auto">
          <a:xfrm>
            <a:off x="2414588" y="4157663"/>
            <a:ext cx="279400" cy="384175"/>
          </a:xfrm>
          <a:custGeom>
            <a:avLst/>
            <a:gdLst>
              <a:gd name="T0" fmla="*/ 0 w 202"/>
              <a:gd name="T1" fmla="*/ 2147483647 h 263"/>
              <a:gd name="T2" fmla="*/ 2147483647 w 202"/>
              <a:gd name="T3" fmla="*/ 2147483647 h 263"/>
              <a:gd name="T4" fmla="*/ 2147483647 w 202"/>
              <a:gd name="T5" fmla="*/ 2147483647 h 263"/>
              <a:gd name="T6" fmla="*/ 2147483647 w 202"/>
              <a:gd name="T7" fmla="*/ 2147483647 h 263"/>
              <a:gd name="T8" fmla="*/ 2147483647 w 202"/>
              <a:gd name="T9" fmla="*/ 2147483647 h 263"/>
              <a:gd name="T10" fmla="*/ 2147483647 w 202"/>
              <a:gd name="T11" fmla="*/ 2147483647 h 263"/>
              <a:gd name="T12" fmla="*/ 2147483647 w 202"/>
              <a:gd name="T13" fmla="*/ 2147483647 h 263"/>
              <a:gd name="T14" fmla="*/ 2147483647 w 202"/>
              <a:gd name="T15" fmla="*/ 2147483647 h 263"/>
              <a:gd name="T16" fmla="*/ 2147483647 w 202"/>
              <a:gd name="T17" fmla="*/ 2147483647 h 263"/>
              <a:gd name="T18" fmla="*/ 2147483647 w 202"/>
              <a:gd name="T19" fmla="*/ 2147483647 h 263"/>
              <a:gd name="T20" fmla="*/ 2147483647 w 202"/>
              <a:gd name="T21" fmla="*/ 2147483647 h 263"/>
              <a:gd name="T22" fmla="*/ 2147483647 w 202"/>
              <a:gd name="T23" fmla="*/ 2147483647 h 263"/>
              <a:gd name="T24" fmla="*/ 2147483647 w 202"/>
              <a:gd name="T25" fmla="*/ 2147483647 h 263"/>
              <a:gd name="T26" fmla="*/ 2147483647 w 202"/>
              <a:gd name="T27" fmla="*/ 2147483647 h 263"/>
              <a:gd name="T28" fmla="*/ 2147483647 w 202"/>
              <a:gd name="T29" fmla="*/ 2147483647 h 263"/>
              <a:gd name="T30" fmla="*/ 2147483647 w 202"/>
              <a:gd name="T31" fmla="*/ 2147483647 h 263"/>
              <a:gd name="T32" fmla="*/ 2147483647 w 202"/>
              <a:gd name="T33" fmla="*/ 2147483647 h 263"/>
              <a:gd name="T34" fmla="*/ 2147483647 w 202"/>
              <a:gd name="T35" fmla="*/ 2147483647 h 263"/>
              <a:gd name="T36" fmla="*/ 2147483647 w 202"/>
              <a:gd name="T37" fmla="*/ 2147483647 h 263"/>
              <a:gd name="T38" fmla="*/ 2147483647 w 202"/>
              <a:gd name="T39" fmla="*/ 2147483647 h 263"/>
              <a:gd name="T40" fmla="*/ 2147483647 w 202"/>
              <a:gd name="T41" fmla="*/ 0 h 263"/>
              <a:gd name="T42" fmla="*/ 2147483647 w 202"/>
              <a:gd name="T43" fmla="*/ 2147483647 h 263"/>
              <a:gd name="T44" fmla="*/ 2147483647 w 202"/>
              <a:gd name="T45" fmla="*/ 2147483647 h 263"/>
              <a:gd name="T46" fmla="*/ 2147483647 w 202"/>
              <a:gd name="T47" fmla="*/ 2147483647 h 263"/>
              <a:gd name="T48" fmla="*/ 2147483647 w 202"/>
              <a:gd name="T49" fmla="*/ 2147483647 h 263"/>
              <a:gd name="T50" fmla="*/ 2147483647 w 202"/>
              <a:gd name="T51" fmla="*/ 2147483647 h 263"/>
              <a:gd name="T52" fmla="*/ 2147483647 w 202"/>
              <a:gd name="T53" fmla="*/ 2147483647 h 263"/>
              <a:gd name="T54" fmla="*/ 0 w 202"/>
              <a:gd name="T55" fmla="*/ 2147483647 h 26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2"/>
              <a:gd name="T85" fmla="*/ 0 h 263"/>
              <a:gd name="T86" fmla="*/ 202 w 202"/>
              <a:gd name="T87" fmla="*/ 263 h 26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2" h="263">
                <a:moveTo>
                  <a:pt x="0" y="175"/>
                </a:moveTo>
                <a:lnTo>
                  <a:pt x="26" y="193"/>
                </a:lnTo>
                <a:lnTo>
                  <a:pt x="59" y="198"/>
                </a:lnTo>
                <a:lnTo>
                  <a:pt x="97" y="234"/>
                </a:lnTo>
                <a:lnTo>
                  <a:pt x="144" y="238"/>
                </a:lnTo>
                <a:lnTo>
                  <a:pt x="138" y="256"/>
                </a:lnTo>
                <a:lnTo>
                  <a:pt x="149" y="262"/>
                </a:lnTo>
                <a:lnTo>
                  <a:pt x="158" y="215"/>
                </a:lnTo>
                <a:lnTo>
                  <a:pt x="148" y="189"/>
                </a:lnTo>
                <a:lnTo>
                  <a:pt x="163" y="186"/>
                </a:lnTo>
                <a:lnTo>
                  <a:pt x="152" y="170"/>
                </a:lnTo>
                <a:lnTo>
                  <a:pt x="191" y="165"/>
                </a:lnTo>
                <a:lnTo>
                  <a:pt x="201" y="176"/>
                </a:lnTo>
                <a:lnTo>
                  <a:pt x="186" y="153"/>
                </a:lnTo>
                <a:lnTo>
                  <a:pt x="190" y="99"/>
                </a:lnTo>
                <a:lnTo>
                  <a:pt x="160" y="100"/>
                </a:lnTo>
                <a:lnTo>
                  <a:pt x="148" y="86"/>
                </a:lnTo>
                <a:lnTo>
                  <a:pt x="115" y="84"/>
                </a:lnTo>
                <a:lnTo>
                  <a:pt x="92" y="52"/>
                </a:lnTo>
                <a:lnTo>
                  <a:pt x="127" y="9"/>
                </a:lnTo>
                <a:lnTo>
                  <a:pt x="122" y="0"/>
                </a:lnTo>
                <a:lnTo>
                  <a:pt x="65" y="22"/>
                </a:lnTo>
                <a:lnTo>
                  <a:pt x="35" y="70"/>
                </a:lnTo>
                <a:lnTo>
                  <a:pt x="25" y="59"/>
                </a:lnTo>
                <a:lnTo>
                  <a:pt x="16" y="82"/>
                </a:lnTo>
                <a:lnTo>
                  <a:pt x="25" y="134"/>
                </a:lnTo>
                <a:lnTo>
                  <a:pt x="32" y="135"/>
                </a:lnTo>
                <a:lnTo>
                  <a:pt x="0" y="17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1" name="Freeform 63"/>
          <p:cNvSpPr>
            <a:spLocks/>
          </p:cNvSpPr>
          <p:nvPr/>
        </p:nvSpPr>
        <p:spPr bwMode="auto">
          <a:xfrm>
            <a:off x="4495800" y="4357688"/>
            <a:ext cx="177800" cy="203200"/>
          </a:xfrm>
          <a:custGeom>
            <a:avLst/>
            <a:gdLst>
              <a:gd name="T0" fmla="*/ 0 w 129"/>
              <a:gd name="T1" fmla="*/ 2147483647 h 139"/>
              <a:gd name="T2" fmla="*/ 2147483647 w 129"/>
              <a:gd name="T3" fmla="*/ 2147483647 h 139"/>
              <a:gd name="T4" fmla="*/ 2147483647 w 129"/>
              <a:gd name="T5" fmla="*/ 2147483647 h 139"/>
              <a:gd name="T6" fmla="*/ 2147483647 w 129"/>
              <a:gd name="T7" fmla="*/ 2147483647 h 139"/>
              <a:gd name="T8" fmla="*/ 2147483647 w 129"/>
              <a:gd name="T9" fmla="*/ 2147483647 h 139"/>
              <a:gd name="T10" fmla="*/ 2147483647 w 129"/>
              <a:gd name="T11" fmla="*/ 2147483647 h 139"/>
              <a:gd name="T12" fmla="*/ 2147483647 w 129"/>
              <a:gd name="T13" fmla="*/ 2147483647 h 139"/>
              <a:gd name="T14" fmla="*/ 2147483647 w 129"/>
              <a:gd name="T15" fmla="*/ 0 h 139"/>
              <a:gd name="T16" fmla="*/ 2147483647 w 129"/>
              <a:gd name="T17" fmla="*/ 2147483647 h 139"/>
              <a:gd name="T18" fmla="*/ 2147483647 w 129"/>
              <a:gd name="T19" fmla="*/ 2147483647 h 139"/>
              <a:gd name="T20" fmla="*/ 2147483647 w 129"/>
              <a:gd name="T21" fmla="*/ 2147483647 h 139"/>
              <a:gd name="T22" fmla="*/ 2147483647 w 129"/>
              <a:gd name="T23" fmla="*/ 2147483647 h 139"/>
              <a:gd name="T24" fmla="*/ 2147483647 w 129"/>
              <a:gd name="T25" fmla="*/ 2147483647 h 139"/>
              <a:gd name="T26" fmla="*/ 2147483647 w 129"/>
              <a:gd name="T27" fmla="*/ 2147483647 h 139"/>
              <a:gd name="T28" fmla="*/ 2147483647 w 129"/>
              <a:gd name="T29" fmla="*/ 2147483647 h 139"/>
              <a:gd name="T30" fmla="*/ 2147483647 w 129"/>
              <a:gd name="T31" fmla="*/ 2147483647 h 139"/>
              <a:gd name="T32" fmla="*/ 0 w 129"/>
              <a:gd name="T33" fmla="*/ 2147483647 h 1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9"/>
              <a:gd name="T52" fmla="*/ 0 h 139"/>
              <a:gd name="T53" fmla="*/ 129 w 129"/>
              <a:gd name="T54" fmla="*/ 139 h 1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9" h="139">
                <a:moveTo>
                  <a:pt x="0" y="122"/>
                </a:moveTo>
                <a:lnTo>
                  <a:pt x="15" y="138"/>
                </a:lnTo>
                <a:lnTo>
                  <a:pt x="31" y="132"/>
                </a:lnTo>
                <a:lnTo>
                  <a:pt x="57" y="134"/>
                </a:lnTo>
                <a:lnTo>
                  <a:pt x="80" y="120"/>
                </a:lnTo>
                <a:lnTo>
                  <a:pt x="88" y="92"/>
                </a:lnTo>
                <a:lnTo>
                  <a:pt x="112" y="70"/>
                </a:lnTo>
                <a:lnTo>
                  <a:pt x="128" y="0"/>
                </a:lnTo>
                <a:lnTo>
                  <a:pt x="99" y="1"/>
                </a:lnTo>
                <a:lnTo>
                  <a:pt x="85" y="14"/>
                </a:lnTo>
                <a:lnTo>
                  <a:pt x="81" y="33"/>
                </a:lnTo>
                <a:lnTo>
                  <a:pt x="36" y="23"/>
                </a:lnTo>
                <a:lnTo>
                  <a:pt x="34" y="39"/>
                </a:lnTo>
                <a:lnTo>
                  <a:pt x="53" y="40"/>
                </a:lnTo>
                <a:lnTo>
                  <a:pt x="50" y="95"/>
                </a:lnTo>
                <a:lnTo>
                  <a:pt x="26" y="89"/>
                </a:lnTo>
                <a:lnTo>
                  <a:pt x="0" y="12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2" name="Freeform 64"/>
          <p:cNvSpPr>
            <a:spLocks/>
          </p:cNvSpPr>
          <p:nvPr/>
        </p:nvSpPr>
        <p:spPr bwMode="auto">
          <a:xfrm>
            <a:off x="4522788" y="4325938"/>
            <a:ext cx="444500" cy="427037"/>
          </a:xfrm>
          <a:custGeom>
            <a:avLst/>
            <a:gdLst>
              <a:gd name="T0" fmla="*/ 0 w 322"/>
              <a:gd name="T1" fmla="*/ 2147483647 h 292"/>
              <a:gd name="T2" fmla="*/ 0 w 322"/>
              <a:gd name="T3" fmla="*/ 2147483647 h 292"/>
              <a:gd name="T4" fmla="*/ 2147483647 w 322"/>
              <a:gd name="T5" fmla="*/ 2147483647 h 292"/>
              <a:gd name="T6" fmla="*/ 2147483647 w 322"/>
              <a:gd name="T7" fmla="*/ 2147483647 h 292"/>
              <a:gd name="T8" fmla="*/ 2147483647 w 322"/>
              <a:gd name="T9" fmla="*/ 2147483647 h 292"/>
              <a:gd name="T10" fmla="*/ 2147483647 w 322"/>
              <a:gd name="T11" fmla="*/ 2147483647 h 292"/>
              <a:gd name="T12" fmla="*/ 2147483647 w 322"/>
              <a:gd name="T13" fmla="*/ 2147483647 h 292"/>
              <a:gd name="T14" fmla="*/ 2147483647 w 322"/>
              <a:gd name="T15" fmla="*/ 2147483647 h 292"/>
              <a:gd name="T16" fmla="*/ 2147483647 w 322"/>
              <a:gd name="T17" fmla="*/ 2147483647 h 292"/>
              <a:gd name="T18" fmla="*/ 2147483647 w 322"/>
              <a:gd name="T19" fmla="*/ 2147483647 h 292"/>
              <a:gd name="T20" fmla="*/ 2147483647 w 322"/>
              <a:gd name="T21" fmla="*/ 2147483647 h 292"/>
              <a:gd name="T22" fmla="*/ 2147483647 w 322"/>
              <a:gd name="T23" fmla="*/ 2147483647 h 292"/>
              <a:gd name="T24" fmla="*/ 2147483647 w 322"/>
              <a:gd name="T25" fmla="*/ 2147483647 h 292"/>
              <a:gd name="T26" fmla="*/ 2147483647 w 322"/>
              <a:gd name="T27" fmla="*/ 2147483647 h 292"/>
              <a:gd name="T28" fmla="*/ 2147483647 w 322"/>
              <a:gd name="T29" fmla="*/ 2147483647 h 292"/>
              <a:gd name="T30" fmla="*/ 2147483647 w 322"/>
              <a:gd name="T31" fmla="*/ 2147483647 h 292"/>
              <a:gd name="T32" fmla="*/ 2147483647 w 322"/>
              <a:gd name="T33" fmla="*/ 2147483647 h 292"/>
              <a:gd name="T34" fmla="*/ 2147483647 w 322"/>
              <a:gd name="T35" fmla="*/ 2147483647 h 292"/>
              <a:gd name="T36" fmla="*/ 2147483647 w 322"/>
              <a:gd name="T37" fmla="*/ 2147483647 h 292"/>
              <a:gd name="T38" fmla="*/ 2147483647 w 322"/>
              <a:gd name="T39" fmla="*/ 2147483647 h 292"/>
              <a:gd name="T40" fmla="*/ 2147483647 w 322"/>
              <a:gd name="T41" fmla="*/ 2147483647 h 292"/>
              <a:gd name="T42" fmla="*/ 2147483647 w 322"/>
              <a:gd name="T43" fmla="*/ 2147483647 h 292"/>
              <a:gd name="T44" fmla="*/ 2147483647 w 322"/>
              <a:gd name="T45" fmla="*/ 0 h 292"/>
              <a:gd name="T46" fmla="*/ 2147483647 w 322"/>
              <a:gd name="T47" fmla="*/ 2147483647 h 292"/>
              <a:gd name="T48" fmla="*/ 2147483647 w 322"/>
              <a:gd name="T49" fmla="*/ 0 h 292"/>
              <a:gd name="T50" fmla="*/ 2147483647 w 322"/>
              <a:gd name="T51" fmla="*/ 2147483647 h 292"/>
              <a:gd name="T52" fmla="*/ 2147483647 w 322"/>
              <a:gd name="T53" fmla="*/ 2147483647 h 292"/>
              <a:gd name="T54" fmla="*/ 2147483647 w 322"/>
              <a:gd name="T55" fmla="*/ 2147483647 h 292"/>
              <a:gd name="T56" fmla="*/ 2147483647 w 322"/>
              <a:gd name="T57" fmla="*/ 2147483647 h 292"/>
              <a:gd name="T58" fmla="*/ 2147483647 w 322"/>
              <a:gd name="T59" fmla="*/ 2147483647 h 292"/>
              <a:gd name="T60" fmla="*/ 2147483647 w 322"/>
              <a:gd name="T61" fmla="*/ 2147483647 h 292"/>
              <a:gd name="T62" fmla="*/ 0 w 322"/>
              <a:gd name="T63" fmla="*/ 2147483647 h 2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2"/>
              <a:gd name="T97" fmla="*/ 0 h 292"/>
              <a:gd name="T98" fmla="*/ 322 w 322"/>
              <a:gd name="T99" fmla="*/ 292 h 29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2" h="292">
                <a:moveTo>
                  <a:pt x="0" y="173"/>
                </a:moveTo>
                <a:lnTo>
                  <a:pt x="0" y="180"/>
                </a:lnTo>
                <a:lnTo>
                  <a:pt x="68" y="173"/>
                </a:lnTo>
                <a:lnTo>
                  <a:pt x="94" y="209"/>
                </a:lnTo>
                <a:lnTo>
                  <a:pt x="119" y="208"/>
                </a:lnTo>
                <a:lnTo>
                  <a:pt x="123" y="191"/>
                </a:lnTo>
                <a:lnTo>
                  <a:pt x="144" y="190"/>
                </a:lnTo>
                <a:lnTo>
                  <a:pt x="161" y="199"/>
                </a:lnTo>
                <a:lnTo>
                  <a:pt x="163" y="256"/>
                </a:lnTo>
                <a:lnTo>
                  <a:pt x="199" y="252"/>
                </a:lnTo>
                <a:lnTo>
                  <a:pt x="294" y="291"/>
                </a:lnTo>
                <a:lnTo>
                  <a:pt x="293" y="274"/>
                </a:lnTo>
                <a:lnTo>
                  <a:pt x="275" y="265"/>
                </a:lnTo>
                <a:lnTo>
                  <a:pt x="278" y="226"/>
                </a:lnTo>
                <a:lnTo>
                  <a:pt x="309" y="210"/>
                </a:lnTo>
                <a:lnTo>
                  <a:pt x="289" y="182"/>
                </a:lnTo>
                <a:lnTo>
                  <a:pt x="288" y="133"/>
                </a:lnTo>
                <a:lnTo>
                  <a:pt x="285" y="123"/>
                </a:lnTo>
                <a:lnTo>
                  <a:pt x="294" y="101"/>
                </a:lnTo>
                <a:lnTo>
                  <a:pt x="309" y="61"/>
                </a:lnTo>
                <a:lnTo>
                  <a:pt x="321" y="46"/>
                </a:lnTo>
                <a:lnTo>
                  <a:pt x="315" y="26"/>
                </a:lnTo>
                <a:lnTo>
                  <a:pt x="258" y="0"/>
                </a:lnTo>
                <a:lnTo>
                  <a:pt x="158" y="14"/>
                </a:lnTo>
                <a:lnTo>
                  <a:pt x="123" y="0"/>
                </a:lnTo>
                <a:lnTo>
                  <a:pt x="109" y="23"/>
                </a:lnTo>
                <a:lnTo>
                  <a:pt x="93" y="93"/>
                </a:lnTo>
                <a:lnTo>
                  <a:pt x="69" y="115"/>
                </a:lnTo>
                <a:lnTo>
                  <a:pt x="60" y="143"/>
                </a:lnTo>
                <a:lnTo>
                  <a:pt x="38" y="157"/>
                </a:lnTo>
                <a:lnTo>
                  <a:pt x="12" y="154"/>
                </a:lnTo>
                <a:lnTo>
                  <a:pt x="0" y="17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3" name="Freeform 65"/>
          <p:cNvSpPr>
            <a:spLocks/>
          </p:cNvSpPr>
          <p:nvPr/>
        </p:nvSpPr>
        <p:spPr bwMode="auto">
          <a:xfrm>
            <a:off x="2257425" y="4189413"/>
            <a:ext cx="74613" cy="65087"/>
          </a:xfrm>
          <a:custGeom>
            <a:avLst/>
            <a:gdLst>
              <a:gd name="T0" fmla="*/ 0 w 55"/>
              <a:gd name="T1" fmla="*/ 0 h 44"/>
              <a:gd name="T2" fmla="*/ 2147483647 w 55"/>
              <a:gd name="T3" fmla="*/ 2147483647 h 44"/>
              <a:gd name="T4" fmla="*/ 2147483647 w 55"/>
              <a:gd name="T5" fmla="*/ 2147483647 h 44"/>
              <a:gd name="T6" fmla="*/ 2147483647 w 55"/>
              <a:gd name="T7" fmla="*/ 2147483647 h 44"/>
              <a:gd name="T8" fmla="*/ 2147483647 w 55"/>
              <a:gd name="T9" fmla="*/ 2147483647 h 44"/>
              <a:gd name="T10" fmla="*/ 2147483647 w 55"/>
              <a:gd name="T11" fmla="*/ 2147483647 h 44"/>
              <a:gd name="T12" fmla="*/ 0 w 55"/>
              <a:gd name="T13" fmla="*/ 0 h 44"/>
              <a:gd name="T14" fmla="*/ 0 60000 65536"/>
              <a:gd name="T15" fmla="*/ 0 60000 65536"/>
              <a:gd name="T16" fmla="*/ 0 60000 65536"/>
              <a:gd name="T17" fmla="*/ 0 60000 65536"/>
              <a:gd name="T18" fmla="*/ 0 60000 65536"/>
              <a:gd name="T19" fmla="*/ 0 60000 65536"/>
              <a:gd name="T20" fmla="*/ 0 60000 65536"/>
              <a:gd name="T21" fmla="*/ 0 w 55"/>
              <a:gd name="T22" fmla="*/ 0 h 44"/>
              <a:gd name="T23" fmla="*/ 55 w 55"/>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44">
                <a:moveTo>
                  <a:pt x="0" y="0"/>
                </a:moveTo>
                <a:lnTo>
                  <a:pt x="2" y="17"/>
                </a:lnTo>
                <a:lnTo>
                  <a:pt x="15" y="16"/>
                </a:lnTo>
                <a:lnTo>
                  <a:pt x="47" y="43"/>
                </a:lnTo>
                <a:lnTo>
                  <a:pt x="54" y="23"/>
                </a:lnTo>
                <a:lnTo>
                  <a:pt x="34" y="2"/>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4" name="Freeform 66"/>
          <p:cNvSpPr>
            <a:spLocks/>
          </p:cNvSpPr>
          <p:nvPr/>
        </p:nvSpPr>
        <p:spPr bwMode="auto">
          <a:xfrm>
            <a:off x="2278063" y="3903663"/>
            <a:ext cx="246062" cy="80962"/>
          </a:xfrm>
          <a:custGeom>
            <a:avLst/>
            <a:gdLst>
              <a:gd name="T0" fmla="*/ 0 w 179"/>
              <a:gd name="T1" fmla="*/ 2147483647 h 56"/>
              <a:gd name="T2" fmla="*/ 2147483647 w 179"/>
              <a:gd name="T3" fmla="*/ 2147483647 h 56"/>
              <a:gd name="T4" fmla="*/ 2147483647 w 179"/>
              <a:gd name="T5" fmla="*/ 0 h 56"/>
              <a:gd name="T6" fmla="*/ 2147483647 w 179"/>
              <a:gd name="T7" fmla="*/ 2147483647 h 56"/>
              <a:gd name="T8" fmla="*/ 2147483647 w 179"/>
              <a:gd name="T9" fmla="*/ 2147483647 h 56"/>
              <a:gd name="T10" fmla="*/ 2147483647 w 179"/>
              <a:gd name="T11" fmla="*/ 2147483647 h 56"/>
              <a:gd name="T12" fmla="*/ 2147483647 w 179"/>
              <a:gd name="T13" fmla="*/ 2147483647 h 56"/>
              <a:gd name="T14" fmla="*/ 2147483647 w 179"/>
              <a:gd name="T15" fmla="*/ 2147483647 h 56"/>
              <a:gd name="T16" fmla="*/ 2147483647 w 179"/>
              <a:gd name="T17" fmla="*/ 2147483647 h 56"/>
              <a:gd name="T18" fmla="*/ 0 w 179"/>
              <a:gd name="T19" fmla="*/ 2147483647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9"/>
              <a:gd name="T31" fmla="*/ 0 h 56"/>
              <a:gd name="T32" fmla="*/ 179 w 179"/>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9" h="56">
                <a:moveTo>
                  <a:pt x="0" y="21"/>
                </a:moveTo>
                <a:lnTo>
                  <a:pt x="23" y="2"/>
                </a:lnTo>
                <a:lnTo>
                  <a:pt x="69" y="0"/>
                </a:lnTo>
                <a:lnTo>
                  <a:pt x="178" y="47"/>
                </a:lnTo>
                <a:lnTo>
                  <a:pt x="120" y="55"/>
                </a:lnTo>
                <a:lnTo>
                  <a:pt x="130" y="44"/>
                </a:lnTo>
                <a:lnTo>
                  <a:pt x="103" y="26"/>
                </a:lnTo>
                <a:lnTo>
                  <a:pt x="47" y="16"/>
                </a:lnTo>
                <a:lnTo>
                  <a:pt x="49" y="8"/>
                </a:lnTo>
                <a:lnTo>
                  <a:pt x="0" y="2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5" name="Freeform 67"/>
          <p:cNvSpPr>
            <a:spLocks/>
          </p:cNvSpPr>
          <p:nvPr/>
        </p:nvSpPr>
        <p:spPr bwMode="auto">
          <a:xfrm>
            <a:off x="4987925" y="3587750"/>
            <a:ext cx="53975" cy="31750"/>
          </a:xfrm>
          <a:custGeom>
            <a:avLst/>
            <a:gdLst>
              <a:gd name="T0" fmla="*/ 0 w 40"/>
              <a:gd name="T1" fmla="*/ 2147483647 h 22"/>
              <a:gd name="T2" fmla="*/ 2147483647 w 40"/>
              <a:gd name="T3" fmla="*/ 2147483647 h 22"/>
              <a:gd name="T4" fmla="*/ 2147483647 w 40"/>
              <a:gd name="T5" fmla="*/ 0 h 22"/>
              <a:gd name="T6" fmla="*/ 0 w 40"/>
              <a:gd name="T7" fmla="*/ 2147483647 h 22"/>
              <a:gd name="T8" fmla="*/ 0 60000 65536"/>
              <a:gd name="T9" fmla="*/ 0 60000 65536"/>
              <a:gd name="T10" fmla="*/ 0 60000 65536"/>
              <a:gd name="T11" fmla="*/ 0 60000 65536"/>
              <a:gd name="T12" fmla="*/ 0 w 40"/>
              <a:gd name="T13" fmla="*/ 0 h 22"/>
              <a:gd name="T14" fmla="*/ 40 w 40"/>
              <a:gd name="T15" fmla="*/ 22 h 22"/>
            </a:gdLst>
            <a:ahLst/>
            <a:cxnLst>
              <a:cxn ang="T8">
                <a:pos x="T0" y="T1"/>
              </a:cxn>
              <a:cxn ang="T9">
                <a:pos x="T2" y="T3"/>
              </a:cxn>
              <a:cxn ang="T10">
                <a:pos x="T4" y="T5"/>
              </a:cxn>
              <a:cxn ang="T11">
                <a:pos x="T6" y="T7"/>
              </a:cxn>
            </a:cxnLst>
            <a:rect l="T12" t="T13" r="T14" b="T15"/>
            <a:pathLst>
              <a:path w="40" h="22">
                <a:moveTo>
                  <a:pt x="0" y="12"/>
                </a:moveTo>
                <a:lnTo>
                  <a:pt x="13" y="21"/>
                </a:lnTo>
                <a:lnTo>
                  <a:pt x="39" y="0"/>
                </a:lnTo>
                <a:lnTo>
                  <a:pt x="0" y="1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6" name="Freeform 68"/>
          <p:cNvSpPr>
            <a:spLocks/>
          </p:cNvSpPr>
          <p:nvPr/>
        </p:nvSpPr>
        <p:spPr bwMode="auto">
          <a:xfrm>
            <a:off x="4516438" y="3154363"/>
            <a:ext cx="242887" cy="100012"/>
          </a:xfrm>
          <a:custGeom>
            <a:avLst/>
            <a:gdLst>
              <a:gd name="T0" fmla="*/ 0 w 176"/>
              <a:gd name="T1" fmla="*/ 2147483647 h 68"/>
              <a:gd name="T2" fmla="*/ 2147483647 w 176"/>
              <a:gd name="T3" fmla="*/ 2147483647 h 68"/>
              <a:gd name="T4" fmla="*/ 2147483647 w 176"/>
              <a:gd name="T5" fmla="*/ 2147483647 h 68"/>
              <a:gd name="T6" fmla="*/ 2147483647 w 176"/>
              <a:gd name="T7" fmla="*/ 2147483647 h 68"/>
              <a:gd name="T8" fmla="*/ 2147483647 w 176"/>
              <a:gd name="T9" fmla="*/ 2147483647 h 68"/>
              <a:gd name="T10" fmla="*/ 2147483647 w 176"/>
              <a:gd name="T11" fmla="*/ 2147483647 h 68"/>
              <a:gd name="T12" fmla="*/ 2147483647 w 176"/>
              <a:gd name="T13" fmla="*/ 2147483647 h 68"/>
              <a:gd name="T14" fmla="*/ 2147483647 w 176"/>
              <a:gd name="T15" fmla="*/ 2147483647 h 68"/>
              <a:gd name="T16" fmla="*/ 2147483647 w 176"/>
              <a:gd name="T17" fmla="*/ 2147483647 h 68"/>
              <a:gd name="T18" fmla="*/ 2147483647 w 176"/>
              <a:gd name="T19" fmla="*/ 2147483647 h 68"/>
              <a:gd name="T20" fmla="*/ 2147483647 w 176"/>
              <a:gd name="T21" fmla="*/ 0 h 68"/>
              <a:gd name="T22" fmla="*/ 0 w 176"/>
              <a:gd name="T23" fmla="*/ 2147483647 h 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6"/>
              <a:gd name="T37" fmla="*/ 0 h 68"/>
              <a:gd name="T38" fmla="*/ 176 w 176"/>
              <a:gd name="T39" fmla="*/ 68 h 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6" h="68">
                <a:moveTo>
                  <a:pt x="0" y="16"/>
                </a:moveTo>
                <a:lnTo>
                  <a:pt x="30" y="49"/>
                </a:lnTo>
                <a:lnTo>
                  <a:pt x="79" y="47"/>
                </a:lnTo>
                <a:lnTo>
                  <a:pt x="86" y="62"/>
                </a:lnTo>
                <a:lnTo>
                  <a:pt x="110" y="67"/>
                </a:lnTo>
                <a:lnTo>
                  <a:pt x="147" y="53"/>
                </a:lnTo>
                <a:lnTo>
                  <a:pt x="169" y="55"/>
                </a:lnTo>
                <a:lnTo>
                  <a:pt x="175" y="42"/>
                </a:lnTo>
                <a:lnTo>
                  <a:pt x="132" y="38"/>
                </a:lnTo>
                <a:lnTo>
                  <a:pt x="46" y="7"/>
                </a:lnTo>
                <a:lnTo>
                  <a:pt x="36" y="0"/>
                </a:lnTo>
                <a:lnTo>
                  <a:pt x="0" y="1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7" name="Freeform 69"/>
          <p:cNvSpPr>
            <a:spLocks/>
          </p:cNvSpPr>
          <p:nvPr/>
        </p:nvSpPr>
        <p:spPr bwMode="auto">
          <a:xfrm>
            <a:off x="4260850" y="4156075"/>
            <a:ext cx="63500" cy="144463"/>
          </a:xfrm>
          <a:custGeom>
            <a:avLst/>
            <a:gdLst>
              <a:gd name="T0" fmla="*/ 0 w 46"/>
              <a:gd name="T1" fmla="*/ 2147483647 h 99"/>
              <a:gd name="T2" fmla="*/ 2147483647 w 46"/>
              <a:gd name="T3" fmla="*/ 2147483647 h 99"/>
              <a:gd name="T4" fmla="*/ 2147483647 w 46"/>
              <a:gd name="T5" fmla="*/ 2147483647 h 99"/>
              <a:gd name="T6" fmla="*/ 2147483647 w 46"/>
              <a:gd name="T7" fmla="*/ 2147483647 h 99"/>
              <a:gd name="T8" fmla="*/ 2147483647 w 46"/>
              <a:gd name="T9" fmla="*/ 0 h 99"/>
              <a:gd name="T10" fmla="*/ 2147483647 w 46"/>
              <a:gd name="T11" fmla="*/ 2147483647 h 99"/>
              <a:gd name="T12" fmla="*/ 0 w 46"/>
              <a:gd name="T13" fmla="*/ 2147483647 h 99"/>
              <a:gd name="T14" fmla="*/ 0 60000 65536"/>
              <a:gd name="T15" fmla="*/ 0 60000 65536"/>
              <a:gd name="T16" fmla="*/ 0 60000 65536"/>
              <a:gd name="T17" fmla="*/ 0 60000 65536"/>
              <a:gd name="T18" fmla="*/ 0 60000 65536"/>
              <a:gd name="T19" fmla="*/ 0 60000 65536"/>
              <a:gd name="T20" fmla="*/ 0 60000 65536"/>
              <a:gd name="T21" fmla="*/ 0 w 46"/>
              <a:gd name="T22" fmla="*/ 0 h 99"/>
              <a:gd name="T23" fmla="*/ 46 w 46"/>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99">
                <a:moveTo>
                  <a:pt x="0" y="23"/>
                </a:moveTo>
                <a:lnTo>
                  <a:pt x="18" y="98"/>
                </a:lnTo>
                <a:lnTo>
                  <a:pt x="31" y="97"/>
                </a:lnTo>
                <a:lnTo>
                  <a:pt x="45" y="12"/>
                </a:lnTo>
                <a:lnTo>
                  <a:pt x="31" y="0"/>
                </a:lnTo>
                <a:lnTo>
                  <a:pt x="24" y="7"/>
                </a:lnTo>
                <a:lnTo>
                  <a:pt x="0" y="2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8" name="Freeform 70"/>
          <p:cNvSpPr>
            <a:spLocks/>
          </p:cNvSpPr>
          <p:nvPr/>
        </p:nvSpPr>
        <p:spPr bwMode="auto">
          <a:xfrm>
            <a:off x="4429125" y="2944813"/>
            <a:ext cx="60325" cy="95250"/>
          </a:xfrm>
          <a:custGeom>
            <a:avLst/>
            <a:gdLst>
              <a:gd name="T0" fmla="*/ 0 w 44"/>
              <a:gd name="T1" fmla="*/ 2147483647 h 65"/>
              <a:gd name="T2" fmla="*/ 2147483647 w 44"/>
              <a:gd name="T3" fmla="*/ 2147483647 h 65"/>
              <a:gd name="T4" fmla="*/ 2147483647 w 44"/>
              <a:gd name="T5" fmla="*/ 0 h 65"/>
              <a:gd name="T6" fmla="*/ 2147483647 w 44"/>
              <a:gd name="T7" fmla="*/ 2147483647 h 65"/>
              <a:gd name="T8" fmla="*/ 2147483647 w 44"/>
              <a:gd name="T9" fmla="*/ 2147483647 h 65"/>
              <a:gd name="T10" fmla="*/ 2147483647 w 44"/>
              <a:gd name="T11" fmla="*/ 2147483647 h 65"/>
              <a:gd name="T12" fmla="*/ 2147483647 w 44"/>
              <a:gd name="T13" fmla="*/ 2147483647 h 65"/>
              <a:gd name="T14" fmla="*/ 2147483647 w 44"/>
              <a:gd name="T15" fmla="*/ 2147483647 h 65"/>
              <a:gd name="T16" fmla="*/ 0 w 44"/>
              <a:gd name="T17" fmla="*/ 2147483647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65"/>
              <a:gd name="T29" fmla="*/ 44 w 44"/>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65">
                <a:moveTo>
                  <a:pt x="0" y="48"/>
                </a:moveTo>
                <a:lnTo>
                  <a:pt x="2" y="19"/>
                </a:lnTo>
                <a:lnTo>
                  <a:pt x="37" y="0"/>
                </a:lnTo>
                <a:lnTo>
                  <a:pt x="29" y="26"/>
                </a:lnTo>
                <a:lnTo>
                  <a:pt x="43" y="33"/>
                </a:lnTo>
                <a:lnTo>
                  <a:pt x="23" y="44"/>
                </a:lnTo>
                <a:lnTo>
                  <a:pt x="19" y="64"/>
                </a:lnTo>
                <a:lnTo>
                  <a:pt x="8" y="63"/>
                </a:lnTo>
                <a:lnTo>
                  <a:pt x="0" y="4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79" name="Freeform 71"/>
          <p:cNvSpPr>
            <a:spLocks/>
          </p:cNvSpPr>
          <p:nvPr/>
        </p:nvSpPr>
        <p:spPr bwMode="auto">
          <a:xfrm>
            <a:off x="4468813" y="3013075"/>
            <a:ext cx="23812" cy="15875"/>
          </a:xfrm>
          <a:custGeom>
            <a:avLst/>
            <a:gdLst>
              <a:gd name="T0" fmla="*/ 0 w 17"/>
              <a:gd name="T1" fmla="*/ 2147483647 h 11"/>
              <a:gd name="T2" fmla="*/ 2147483647 w 17"/>
              <a:gd name="T3" fmla="*/ 0 h 11"/>
              <a:gd name="T4" fmla="*/ 2147483647 w 17"/>
              <a:gd name="T5" fmla="*/ 2147483647 h 11"/>
              <a:gd name="T6" fmla="*/ 0 w 17"/>
              <a:gd name="T7" fmla="*/ 2147483647 h 11"/>
              <a:gd name="T8" fmla="*/ 0 60000 65536"/>
              <a:gd name="T9" fmla="*/ 0 60000 65536"/>
              <a:gd name="T10" fmla="*/ 0 60000 65536"/>
              <a:gd name="T11" fmla="*/ 0 60000 65536"/>
              <a:gd name="T12" fmla="*/ 0 w 17"/>
              <a:gd name="T13" fmla="*/ 0 h 11"/>
              <a:gd name="T14" fmla="*/ 17 w 17"/>
              <a:gd name="T15" fmla="*/ 11 h 11"/>
            </a:gdLst>
            <a:ahLst/>
            <a:cxnLst>
              <a:cxn ang="T8">
                <a:pos x="T0" y="T1"/>
              </a:cxn>
              <a:cxn ang="T9">
                <a:pos x="T2" y="T3"/>
              </a:cxn>
              <a:cxn ang="T10">
                <a:pos x="T4" y="T5"/>
              </a:cxn>
              <a:cxn ang="T11">
                <a:pos x="T6" y="T7"/>
              </a:cxn>
            </a:cxnLst>
            <a:rect l="T12" t="T13" r="T14" b="T15"/>
            <a:pathLst>
              <a:path w="17" h="11">
                <a:moveTo>
                  <a:pt x="0" y="10"/>
                </a:moveTo>
                <a:lnTo>
                  <a:pt x="12" y="0"/>
                </a:lnTo>
                <a:lnTo>
                  <a:pt x="16" y="8"/>
                </a:lnTo>
                <a:lnTo>
                  <a:pt x="0" y="1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0" name="Freeform 72"/>
          <p:cNvSpPr>
            <a:spLocks/>
          </p:cNvSpPr>
          <p:nvPr/>
        </p:nvSpPr>
        <p:spPr bwMode="auto">
          <a:xfrm>
            <a:off x="4495800" y="2995613"/>
            <a:ext cx="36513" cy="39687"/>
          </a:xfrm>
          <a:custGeom>
            <a:avLst/>
            <a:gdLst>
              <a:gd name="T0" fmla="*/ 0 w 27"/>
              <a:gd name="T1" fmla="*/ 2147483647 h 27"/>
              <a:gd name="T2" fmla="*/ 2147483647 w 27"/>
              <a:gd name="T3" fmla="*/ 2147483647 h 27"/>
              <a:gd name="T4" fmla="*/ 2147483647 w 27"/>
              <a:gd name="T5" fmla="*/ 2147483647 h 27"/>
              <a:gd name="T6" fmla="*/ 2147483647 w 27"/>
              <a:gd name="T7" fmla="*/ 0 h 27"/>
              <a:gd name="T8" fmla="*/ 0 w 27"/>
              <a:gd name="T9" fmla="*/ 2147483647 h 27"/>
              <a:gd name="T10" fmla="*/ 0 60000 65536"/>
              <a:gd name="T11" fmla="*/ 0 60000 65536"/>
              <a:gd name="T12" fmla="*/ 0 60000 65536"/>
              <a:gd name="T13" fmla="*/ 0 60000 65536"/>
              <a:gd name="T14" fmla="*/ 0 60000 65536"/>
              <a:gd name="T15" fmla="*/ 0 w 27"/>
              <a:gd name="T16" fmla="*/ 0 h 27"/>
              <a:gd name="T17" fmla="*/ 27 w 27"/>
              <a:gd name="T18" fmla="*/ 27 h 27"/>
            </a:gdLst>
            <a:ahLst/>
            <a:cxnLst>
              <a:cxn ang="T10">
                <a:pos x="T0" y="T1"/>
              </a:cxn>
              <a:cxn ang="T11">
                <a:pos x="T2" y="T3"/>
              </a:cxn>
              <a:cxn ang="T12">
                <a:pos x="T4" y="T5"/>
              </a:cxn>
              <a:cxn ang="T13">
                <a:pos x="T6" y="T7"/>
              </a:cxn>
              <a:cxn ang="T14">
                <a:pos x="T8" y="T9"/>
              </a:cxn>
            </a:cxnLst>
            <a:rect l="T15" t="T16" r="T17" b="T18"/>
            <a:pathLst>
              <a:path w="27" h="27">
                <a:moveTo>
                  <a:pt x="0" y="12"/>
                </a:moveTo>
                <a:lnTo>
                  <a:pt x="19" y="26"/>
                </a:lnTo>
                <a:lnTo>
                  <a:pt x="26" y="12"/>
                </a:lnTo>
                <a:lnTo>
                  <a:pt x="22" y="0"/>
                </a:lnTo>
                <a:lnTo>
                  <a:pt x="0" y="1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1" name="Freeform 73"/>
          <p:cNvSpPr>
            <a:spLocks/>
          </p:cNvSpPr>
          <p:nvPr/>
        </p:nvSpPr>
        <p:spPr bwMode="auto">
          <a:xfrm>
            <a:off x="2579688" y="3983038"/>
            <a:ext cx="80962" cy="47625"/>
          </a:xfrm>
          <a:custGeom>
            <a:avLst/>
            <a:gdLst>
              <a:gd name="T0" fmla="*/ 0 w 59"/>
              <a:gd name="T1" fmla="*/ 0 h 32"/>
              <a:gd name="T2" fmla="*/ 0 w 59"/>
              <a:gd name="T3" fmla="*/ 2147483647 h 32"/>
              <a:gd name="T4" fmla="*/ 2147483647 w 59"/>
              <a:gd name="T5" fmla="*/ 2147483647 h 32"/>
              <a:gd name="T6" fmla="*/ 2147483647 w 59"/>
              <a:gd name="T7" fmla="*/ 2147483647 h 32"/>
              <a:gd name="T8" fmla="*/ 0 w 59"/>
              <a:gd name="T9" fmla="*/ 0 h 32"/>
              <a:gd name="T10" fmla="*/ 0 60000 65536"/>
              <a:gd name="T11" fmla="*/ 0 60000 65536"/>
              <a:gd name="T12" fmla="*/ 0 60000 65536"/>
              <a:gd name="T13" fmla="*/ 0 60000 65536"/>
              <a:gd name="T14" fmla="*/ 0 60000 65536"/>
              <a:gd name="T15" fmla="*/ 0 w 59"/>
              <a:gd name="T16" fmla="*/ 0 h 32"/>
              <a:gd name="T17" fmla="*/ 59 w 59"/>
              <a:gd name="T18" fmla="*/ 32 h 32"/>
            </a:gdLst>
            <a:ahLst/>
            <a:cxnLst>
              <a:cxn ang="T10">
                <a:pos x="T0" y="T1"/>
              </a:cxn>
              <a:cxn ang="T11">
                <a:pos x="T2" y="T3"/>
              </a:cxn>
              <a:cxn ang="T12">
                <a:pos x="T4" y="T5"/>
              </a:cxn>
              <a:cxn ang="T13">
                <a:pos x="T6" y="T7"/>
              </a:cxn>
              <a:cxn ang="T14">
                <a:pos x="T8" y="T9"/>
              </a:cxn>
            </a:cxnLst>
            <a:rect l="T15" t="T16" r="T17" b="T18"/>
            <a:pathLst>
              <a:path w="59" h="32">
                <a:moveTo>
                  <a:pt x="0" y="0"/>
                </a:moveTo>
                <a:lnTo>
                  <a:pt x="0" y="31"/>
                </a:lnTo>
                <a:lnTo>
                  <a:pt x="58" y="19"/>
                </a:lnTo>
                <a:lnTo>
                  <a:pt x="32" y="4"/>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2" name="Freeform 74"/>
          <p:cNvSpPr>
            <a:spLocks/>
          </p:cNvSpPr>
          <p:nvPr/>
        </p:nvSpPr>
        <p:spPr bwMode="auto">
          <a:xfrm>
            <a:off x="2368550" y="4413250"/>
            <a:ext cx="130175" cy="144463"/>
          </a:xfrm>
          <a:custGeom>
            <a:avLst/>
            <a:gdLst>
              <a:gd name="T0" fmla="*/ 0 w 95"/>
              <a:gd name="T1" fmla="*/ 2147483647 h 99"/>
              <a:gd name="T2" fmla="*/ 2147483647 w 95"/>
              <a:gd name="T3" fmla="*/ 2147483647 h 99"/>
              <a:gd name="T4" fmla="*/ 2147483647 w 95"/>
              <a:gd name="T5" fmla="*/ 2147483647 h 99"/>
              <a:gd name="T6" fmla="*/ 2147483647 w 95"/>
              <a:gd name="T7" fmla="*/ 2147483647 h 99"/>
              <a:gd name="T8" fmla="*/ 2147483647 w 95"/>
              <a:gd name="T9" fmla="*/ 2147483647 h 99"/>
              <a:gd name="T10" fmla="*/ 2147483647 w 95"/>
              <a:gd name="T11" fmla="*/ 2147483647 h 99"/>
              <a:gd name="T12" fmla="*/ 2147483647 w 95"/>
              <a:gd name="T13" fmla="*/ 2147483647 h 99"/>
              <a:gd name="T14" fmla="*/ 2147483647 w 95"/>
              <a:gd name="T15" fmla="*/ 2147483647 h 99"/>
              <a:gd name="T16" fmla="*/ 2147483647 w 95"/>
              <a:gd name="T17" fmla="*/ 2147483647 h 99"/>
              <a:gd name="T18" fmla="*/ 2147483647 w 95"/>
              <a:gd name="T19" fmla="*/ 2147483647 h 99"/>
              <a:gd name="T20" fmla="*/ 2147483647 w 95"/>
              <a:gd name="T21" fmla="*/ 0 h 99"/>
              <a:gd name="T22" fmla="*/ 2147483647 w 95"/>
              <a:gd name="T23" fmla="*/ 2147483647 h 99"/>
              <a:gd name="T24" fmla="*/ 0 w 95"/>
              <a:gd name="T25" fmla="*/ 2147483647 h 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5"/>
              <a:gd name="T40" fmla="*/ 0 h 99"/>
              <a:gd name="T41" fmla="*/ 95 w 95"/>
              <a:gd name="T42" fmla="*/ 99 h 9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5" h="99">
                <a:moveTo>
                  <a:pt x="0" y="39"/>
                </a:moveTo>
                <a:lnTo>
                  <a:pt x="1" y="57"/>
                </a:lnTo>
                <a:lnTo>
                  <a:pt x="19" y="63"/>
                </a:lnTo>
                <a:lnTo>
                  <a:pt x="9" y="77"/>
                </a:lnTo>
                <a:lnTo>
                  <a:pt x="5" y="92"/>
                </a:lnTo>
                <a:lnTo>
                  <a:pt x="30" y="98"/>
                </a:lnTo>
                <a:lnTo>
                  <a:pt x="48" y="70"/>
                </a:lnTo>
                <a:lnTo>
                  <a:pt x="86" y="49"/>
                </a:lnTo>
                <a:lnTo>
                  <a:pt x="94" y="23"/>
                </a:lnTo>
                <a:lnTo>
                  <a:pt x="60" y="19"/>
                </a:lnTo>
                <a:lnTo>
                  <a:pt x="34" y="0"/>
                </a:lnTo>
                <a:lnTo>
                  <a:pt x="13" y="11"/>
                </a:lnTo>
                <a:lnTo>
                  <a:pt x="0" y="3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3" name="Freeform 75"/>
          <p:cNvSpPr>
            <a:spLocks/>
          </p:cNvSpPr>
          <p:nvPr/>
        </p:nvSpPr>
        <p:spPr bwMode="auto">
          <a:xfrm>
            <a:off x="2155825" y="4108450"/>
            <a:ext cx="53975" cy="28575"/>
          </a:xfrm>
          <a:custGeom>
            <a:avLst/>
            <a:gdLst>
              <a:gd name="T0" fmla="*/ 0 w 39"/>
              <a:gd name="T1" fmla="*/ 2147483647 h 19"/>
              <a:gd name="T2" fmla="*/ 2147483647 w 39"/>
              <a:gd name="T3" fmla="*/ 0 h 19"/>
              <a:gd name="T4" fmla="*/ 2147483647 w 39"/>
              <a:gd name="T5" fmla="*/ 2147483647 h 19"/>
              <a:gd name="T6" fmla="*/ 0 w 39"/>
              <a:gd name="T7" fmla="*/ 2147483647 h 19"/>
              <a:gd name="T8" fmla="*/ 0 60000 65536"/>
              <a:gd name="T9" fmla="*/ 0 60000 65536"/>
              <a:gd name="T10" fmla="*/ 0 60000 65536"/>
              <a:gd name="T11" fmla="*/ 0 60000 65536"/>
              <a:gd name="T12" fmla="*/ 0 w 39"/>
              <a:gd name="T13" fmla="*/ 0 h 19"/>
              <a:gd name="T14" fmla="*/ 39 w 39"/>
              <a:gd name="T15" fmla="*/ 19 h 19"/>
            </a:gdLst>
            <a:ahLst/>
            <a:cxnLst>
              <a:cxn ang="T8">
                <a:pos x="T0" y="T1"/>
              </a:cxn>
              <a:cxn ang="T9">
                <a:pos x="T2" y="T3"/>
              </a:cxn>
              <a:cxn ang="T10">
                <a:pos x="T4" y="T5"/>
              </a:cxn>
              <a:cxn ang="T11">
                <a:pos x="T6" y="T7"/>
              </a:cxn>
            </a:cxnLst>
            <a:rect l="T12" t="T13" r="T14" b="T15"/>
            <a:pathLst>
              <a:path w="39" h="19">
                <a:moveTo>
                  <a:pt x="0" y="12"/>
                </a:moveTo>
                <a:lnTo>
                  <a:pt x="10" y="0"/>
                </a:lnTo>
                <a:lnTo>
                  <a:pt x="38" y="18"/>
                </a:lnTo>
                <a:lnTo>
                  <a:pt x="0" y="1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4" name="Freeform 76"/>
          <p:cNvSpPr>
            <a:spLocks/>
          </p:cNvSpPr>
          <p:nvPr/>
        </p:nvSpPr>
        <p:spPr bwMode="auto">
          <a:xfrm>
            <a:off x="4460875" y="4392613"/>
            <a:ext cx="38100" cy="30162"/>
          </a:xfrm>
          <a:custGeom>
            <a:avLst/>
            <a:gdLst>
              <a:gd name="T0" fmla="*/ 0 w 27"/>
              <a:gd name="T1" fmla="*/ 2147483647 h 21"/>
              <a:gd name="T2" fmla="*/ 2147483647 w 27"/>
              <a:gd name="T3" fmla="*/ 2147483647 h 21"/>
              <a:gd name="T4" fmla="*/ 2147483647 w 27"/>
              <a:gd name="T5" fmla="*/ 0 h 21"/>
              <a:gd name="T6" fmla="*/ 2147483647 w 27"/>
              <a:gd name="T7" fmla="*/ 2147483647 h 21"/>
              <a:gd name="T8" fmla="*/ 0 w 27"/>
              <a:gd name="T9" fmla="*/ 2147483647 h 21"/>
              <a:gd name="T10" fmla="*/ 0 60000 65536"/>
              <a:gd name="T11" fmla="*/ 0 60000 65536"/>
              <a:gd name="T12" fmla="*/ 0 60000 65536"/>
              <a:gd name="T13" fmla="*/ 0 60000 65536"/>
              <a:gd name="T14" fmla="*/ 0 60000 65536"/>
              <a:gd name="T15" fmla="*/ 0 w 27"/>
              <a:gd name="T16" fmla="*/ 0 h 21"/>
              <a:gd name="T17" fmla="*/ 27 w 27"/>
              <a:gd name="T18" fmla="*/ 21 h 21"/>
            </a:gdLst>
            <a:ahLst/>
            <a:cxnLst>
              <a:cxn ang="T10">
                <a:pos x="T0" y="T1"/>
              </a:cxn>
              <a:cxn ang="T11">
                <a:pos x="T2" y="T3"/>
              </a:cxn>
              <a:cxn ang="T12">
                <a:pos x="T4" y="T5"/>
              </a:cxn>
              <a:cxn ang="T13">
                <a:pos x="T6" y="T7"/>
              </a:cxn>
              <a:cxn ang="T14">
                <a:pos x="T8" y="T9"/>
              </a:cxn>
            </a:cxnLst>
            <a:rect l="T15" t="T16" r="T17" b="T18"/>
            <a:pathLst>
              <a:path w="27" h="21">
                <a:moveTo>
                  <a:pt x="0" y="20"/>
                </a:moveTo>
                <a:lnTo>
                  <a:pt x="2" y="1"/>
                </a:lnTo>
                <a:lnTo>
                  <a:pt x="26" y="0"/>
                </a:lnTo>
                <a:lnTo>
                  <a:pt x="26" y="19"/>
                </a:lnTo>
                <a:lnTo>
                  <a:pt x="0" y="2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5" name="Freeform 77"/>
          <p:cNvSpPr>
            <a:spLocks/>
          </p:cNvSpPr>
          <p:nvPr/>
        </p:nvSpPr>
        <p:spPr bwMode="auto">
          <a:xfrm>
            <a:off x="5002213" y="4022725"/>
            <a:ext cx="350837" cy="344488"/>
          </a:xfrm>
          <a:custGeom>
            <a:avLst/>
            <a:gdLst>
              <a:gd name="T0" fmla="*/ 0 w 255"/>
              <a:gd name="T1" fmla="*/ 2147483647 h 235"/>
              <a:gd name="T2" fmla="*/ 2147483647 w 255"/>
              <a:gd name="T3" fmla="*/ 2147483647 h 235"/>
              <a:gd name="T4" fmla="*/ 2147483647 w 255"/>
              <a:gd name="T5" fmla="*/ 2147483647 h 235"/>
              <a:gd name="T6" fmla="*/ 2147483647 w 255"/>
              <a:gd name="T7" fmla="*/ 2147483647 h 235"/>
              <a:gd name="T8" fmla="*/ 2147483647 w 255"/>
              <a:gd name="T9" fmla="*/ 2147483647 h 235"/>
              <a:gd name="T10" fmla="*/ 2147483647 w 255"/>
              <a:gd name="T11" fmla="*/ 0 h 235"/>
              <a:gd name="T12" fmla="*/ 2147483647 w 255"/>
              <a:gd name="T13" fmla="*/ 2147483647 h 235"/>
              <a:gd name="T14" fmla="*/ 2147483647 w 255"/>
              <a:gd name="T15" fmla="*/ 2147483647 h 235"/>
              <a:gd name="T16" fmla="*/ 2147483647 w 255"/>
              <a:gd name="T17" fmla="*/ 2147483647 h 235"/>
              <a:gd name="T18" fmla="*/ 2147483647 w 255"/>
              <a:gd name="T19" fmla="*/ 2147483647 h 235"/>
              <a:gd name="T20" fmla="*/ 2147483647 w 255"/>
              <a:gd name="T21" fmla="*/ 2147483647 h 235"/>
              <a:gd name="T22" fmla="*/ 2147483647 w 255"/>
              <a:gd name="T23" fmla="*/ 2147483647 h 235"/>
              <a:gd name="T24" fmla="*/ 2147483647 w 255"/>
              <a:gd name="T25" fmla="*/ 2147483647 h 235"/>
              <a:gd name="T26" fmla="*/ 2147483647 w 255"/>
              <a:gd name="T27" fmla="*/ 2147483647 h 235"/>
              <a:gd name="T28" fmla="*/ 2147483647 w 255"/>
              <a:gd name="T29" fmla="*/ 2147483647 h 235"/>
              <a:gd name="T30" fmla="*/ 2147483647 w 255"/>
              <a:gd name="T31" fmla="*/ 2147483647 h 235"/>
              <a:gd name="T32" fmla="*/ 2147483647 w 255"/>
              <a:gd name="T33" fmla="*/ 2147483647 h 235"/>
              <a:gd name="T34" fmla="*/ 0 w 255"/>
              <a:gd name="T35" fmla="*/ 2147483647 h 2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55"/>
              <a:gd name="T55" fmla="*/ 0 h 235"/>
              <a:gd name="T56" fmla="*/ 255 w 255"/>
              <a:gd name="T57" fmla="*/ 235 h 2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55" h="235">
                <a:moveTo>
                  <a:pt x="0" y="165"/>
                </a:moveTo>
                <a:lnTo>
                  <a:pt x="19" y="152"/>
                </a:lnTo>
                <a:lnTo>
                  <a:pt x="21" y="122"/>
                </a:lnTo>
                <a:lnTo>
                  <a:pt x="53" y="83"/>
                </a:lnTo>
                <a:lnTo>
                  <a:pt x="67" y="16"/>
                </a:lnTo>
                <a:lnTo>
                  <a:pt x="92" y="0"/>
                </a:lnTo>
                <a:lnTo>
                  <a:pt x="112" y="47"/>
                </a:lnTo>
                <a:lnTo>
                  <a:pt x="169" y="87"/>
                </a:lnTo>
                <a:lnTo>
                  <a:pt x="150" y="111"/>
                </a:lnTo>
                <a:lnTo>
                  <a:pt x="167" y="116"/>
                </a:lnTo>
                <a:lnTo>
                  <a:pt x="186" y="145"/>
                </a:lnTo>
                <a:lnTo>
                  <a:pt x="254" y="161"/>
                </a:lnTo>
                <a:lnTo>
                  <a:pt x="202" y="211"/>
                </a:lnTo>
                <a:lnTo>
                  <a:pt x="150" y="227"/>
                </a:lnTo>
                <a:lnTo>
                  <a:pt x="100" y="234"/>
                </a:lnTo>
                <a:lnTo>
                  <a:pt x="47" y="216"/>
                </a:lnTo>
                <a:lnTo>
                  <a:pt x="30" y="184"/>
                </a:lnTo>
                <a:lnTo>
                  <a:pt x="0" y="16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6" name="Freeform 78"/>
          <p:cNvSpPr>
            <a:spLocks/>
          </p:cNvSpPr>
          <p:nvPr/>
        </p:nvSpPr>
        <p:spPr bwMode="auto">
          <a:xfrm>
            <a:off x="2830513" y="5740400"/>
            <a:ext cx="36512" cy="23813"/>
          </a:xfrm>
          <a:custGeom>
            <a:avLst/>
            <a:gdLst>
              <a:gd name="T0" fmla="*/ 0 w 26"/>
              <a:gd name="T1" fmla="*/ 2147483647 h 16"/>
              <a:gd name="T2" fmla="*/ 2147483647 w 26"/>
              <a:gd name="T3" fmla="*/ 2147483647 h 16"/>
              <a:gd name="T4" fmla="*/ 2147483647 w 26"/>
              <a:gd name="T5" fmla="*/ 0 h 16"/>
              <a:gd name="T6" fmla="*/ 2147483647 w 26"/>
              <a:gd name="T7" fmla="*/ 2147483647 h 16"/>
              <a:gd name="T8" fmla="*/ 0 w 26"/>
              <a:gd name="T9" fmla="*/ 2147483647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0" y="15"/>
                </a:moveTo>
                <a:lnTo>
                  <a:pt x="15" y="8"/>
                </a:lnTo>
                <a:lnTo>
                  <a:pt x="7" y="0"/>
                </a:lnTo>
                <a:lnTo>
                  <a:pt x="25" y="3"/>
                </a:lnTo>
                <a:lnTo>
                  <a:pt x="0" y="1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7" name="Freeform 79"/>
          <p:cNvSpPr>
            <a:spLocks/>
          </p:cNvSpPr>
          <p:nvPr/>
        </p:nvSpPr>
        <p:spPr bwMode="auto">
          <a:xfrm>
            <a:off x="2862263" y="5738813"/>
            <a:ext cx="41275" cy="26987"/>
          </a:xfrm>
          <a:custGeom>
            <a:avLst/>
            <a:gdLst>
              <a:gd name="T0" fmla="*/ 0 w 30"/>
              <a:gd name="T1" fmla="*/ 2147483647 h 18"/>
              <a:gd name="T2" fmla="*/ 2147483647 w 30"/>
              <a:gd name="T3" fmla="*/ 0 h 18"/>
              <a:gd name="T4" fmla="*/ 2147483647 w 30"/>
              <a:gd name="T5" fmla="*/ 2147483647 h 18"/>
              <a:gd name="T6" fmla="*/ 0 w 30"/>
              <a:gd name="T7" fmla="*/ 2147483647 h 18"/>
              <a:gd name="T8" fmla="*/ 0 60000 65536"/>
              <a:gd name="T9" fmla="*/ 0 60000 65536"/>
              <a:gd name="T10" fmla="*/ 0 60000 65536"/>
              <a:gd name="T11" fmla="*/ 0 60000 65536"/>
              <a:gd name="T12" fmla="*/ 0 w 30"/>
              <a:gd name="T13" fmla="*/ 0 h 18"/>
              <a:gd name="T14" fmla="*/ 30 w 30"/>
              <a:gd name="T15" fmla="*/ 18 h 18"/>
            </a:gdLst>
            <a:ahLst/>
            <a:cxnLst>
              <a:cxn ang="T8">
                <a:pos x="T0" y="T1"/>
              </a:cxn>
              <a:cxn ang="T9">
                <a:pos x="T2" y="T3"/>
              </a:cxn>
              <a:cxn ang="T10">
                <a:pos x="T4" y="T5"/>
              </a:cxn>
              <a:cxn ang="T11">
                <a:pos x="T6" y="T7"/>
              </a:cxn>
            </a:cxnLst>
            <a:rect l="T12" t="T13" r="T14" b="T15"/>
            <a:pathLst>
              <a:path w="30" h="18">
                <a:moveTo>
                  <a:pt x="0" y="17"/>
                </a:moveTo>
                <a:lnTo>
                  <a:pt x="13" y="0"/>
                </a:lnTo>
                <a:lnTo>
                  <a:pt x="29" y="6"/>
                </a:lnTo>
                <a:lnTo>
                  <a:pt x="0" y="1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8" name="Freeform 80"/>
          <p:cNvSpPr>
            <a:spLocks/>
          </p:cNvSpPr>
          <p:nvPr/>
        </p:nvSpPr>
        <p:spPr bwMode="auto">
          <a:xfrm>
            <a:off x="8340725" y="4845050"/>
            <a:ext cx="28575" cy="22225"/>
          </a:xfrm>
          <a:custGeom>
            <a:avLst/>
            <a:gdLst>
              <a:gd name="T0" fmla="*/ 0 w 21"/>
              <a:gd name="T1" fmla="*/ 2147483647 h 15"/>
              <a:gd name="T2" fmla="*/ 2147483647 w 21"/>
              <a:gd name="T3" fmla="*/ 0 h 15"/>
              <a:gd name="T4" fmla="*/ 2147483647 w 21"/>
              <a:gd name="T5" fmla="*/ 2147483647 h 15"/>
              <a:gd name="T6" fmla="*/ 0 w 21"/>
              <a:gd name="T7" fmla="*/ 2147483647 h 15"/>
              <a:gd name="T8" fmla="*/ 0 60000 65536"/>
              <a:gd name="T9" fmla="*/ 0 60000 65536"/>
              <a:gd name="T10" fmla="*/ 0 60000 65536"/>
              <a:gd name="T11" fmla="*/ 0 60000 65536"/>
              <a:gd name="T12" fmla="*/ 0 w 21"/>
              <a:gd name="T13" fmla="*/ 0 h 15"/>
              <a:gd name="T14" fmla="*/ 21 w 21"/>
              <a:gd name="T15" fmla="*/ 15 h 15"/>
            </a:gdLst>
            <a:ahLst/>
            <a:cxnLst>
              <a:cxn ang="T8">
                <a:pos x="T0" y="T1"/>
              </a:cxn>
              <a:cxn ang="T9">
                <a:pos x="T2" y="T3"/>
              </a:cxn>
              <a:cxn ang="T10">
                <a:pos x="T4" y="T5"/>
              </a:cxn>
              <a:cxn ang="T11">
                <a:pos x="T6" y="T7"/>
              </a:cxn>
            </a:cxnLst>
            <a:rect l="T12" t="T13" r="T14" b="T15"/>
            <a:pathLst>
              <a:path w="21" h="15">
                <a:moveTo>
                  <a:pt x="0" y="14"/>
                </a:moveTo>
                <a:lnTo>
                  <a:pt x="11" y="0"/>
                </a:lnTo>
                <a:lnTo>
                  <a:pt x="20" y="14"/>
                </a:lnTo>
                <a:lnTo>
                  <a:pt x="0" y="1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89" name="Freeform 81"/>
          <p:cNvSpPr>
            <a:spLocks/>
          </p:cNvSpPr>
          <p:nvPr/>
        </p:nvSpPr>
        <p:spPr bwMode="auto">
          <a:xfrm>
            <a:off x="4716463" y="2493963"/>
            <a:ext cx="250825" cy="382587"/>
          </a:xfrm>
          <a:custGeom>
            <a:avLst/>
            <a:gdLst>
              <a:gd name="T0" fmla="*/ 0 w 182"/>
              <a:gd name="T1" fmla="*/ 2147483647 h 262"/>
              <a:gd name="T2" fmla="*/ 2147483647 w 182"/>
              <a:gd name="T3" fmla="*/ 2147483647 h 262"/>
              <a:gd name="T4" fmla="*/ 2147483647 w 182"/>
              <a:gd name="T5" fmla="*/ 2147483647 h 262"/>
              <a:gd name="T6" fmla="*/ 2147483647 w 182"/>
              <a:gd name="T7" fmla="*/ 2147483647 h 262"/>
              <a:gd name="T8" fmla="*/ 2147483647 w 182"/>
              <a:gd name="T9" fmla="*/ 2147483647 h 262"/>
              <a:gd name="T10" fmla="*/ 2147483647 w 182"/>
              <a:gd name="T11" fmla="*/ 2147483647 h 262"/>
              <a:gd name="T12" fmla="*/ 2147483647 w 182"/>
              <a:gd name="T13" fmla="*/ 0 h 262"/>
              <a:gd name="T14" fmla="*/ 2147483647 w 182"/>
              <a:gd name="T15" fmla="*/ 2147483647 h 262"/>
              <a:gd name="T16" fmla="*/ 2147483647 w 182"/>
              <a:gd name="T17" fmla="*/ 2147483647 h 262"/>
              <a:gd name="T18" fmla="*/ 2147483647 w 182"/>
              <a:gd name="T19" fmla="*/ 2147483647 h 262"/>
              <a:gd name="T20" fmla="*/ 2147483647 w 182"/>
              <a:gd name="T21" fmla="*/ 2147483647 h 262"/>
              <a:gd name="T22" fmla="*/ 2147483647 w 182"/>
              <a:gd name="T23" fmla="*/ 2147483647 h 262"/>
              <a:gd name="T24" fmla="*/ 2147483647 w 182"/>
              <a:gd name="T25" fmla="*/ 2147483647 h 262"/>
              <a:gd name="T26" fmla="*/ 2147483647 w 182"/>
              <a:gd name="T27" fmla="*/ 2147483647 h 262"/>
              <a:gd name="T28" fmla="*/ 2147483647 w 182"/>
              <a:gd name="T29" fmla="*/ 2147483647 h 262"/>
              <a:gd name="T30" fmla="*/ 2147483647 w 182"/>
              <a:gd name="T31" fmla="*/ 2147483647 h 262"/>
              <a:gd name="T32" fmla="*/ 2147483647 w 182"/>
              <a:gd name="T33" fmla="*/ 2147483647 h 262"/>
              <a:gd name="T34" fmla="*/ 2147483647 w 182"/>
              <a:gd name="T35" fmla="*/ 2147483647 h 262"/>
              <a:gd name="T36" fmla="*/ 2147483647 w 182"/>
              <a:gd name="T37" fmla="*/ 2147483647 h 262"/>
              <a:gd name="T38" fmla="*/ 2147483647 w 182"/>
              <a:gd name="T39" fmla="*/ 2147483647 h 262"/>
              <a:gd name="T40" fmla="*/ 2147483647 w 182"/>
              <a:gd name="T41" fmla="*/ 2147483647 h 262"/>
              <a:gd name="T42" fmla="*/ 2147483647 w 182"/>
              <a:gd name="T43" fmla="*/ 2147483647 h 262"/>
              <a:gd name="T44" fmla="*/ 2147483647 w 182"/>
              <a:gd name="T45" fmla="*/ 2147483647 h 262"/>
              <a:gd name="T46" fmla="*/ 0 w 182"/>
              <a:gd name="T47" fmla="*/ 2147483647 h 2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2"/>
              <a:gd name="T73" fmla="*/ 0 h 262"/>
              <a:gd name="T74" fmla="*/ 182 w 182"/>
              <a:gd name="T75" fmla="*/ 262 h 2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2" h="262">
                <a:moveTo>
                  <a:pt x="0" y="28"/>
                </a:moveTo>
                <a:lnTo>
                  <a:pt x="11" y="21"/>
                </a:lnTo>
                <a:lnTo>
                  <a:pt x="32" y="36"/>
                </a:lnTo>
                <a:lnTo>
                  <a:pt x="65" y="38"/>
                </a:lnTo>
                <a:lnTo>
                  <a:pt x="86" y="30"/>
                </a:lnTo>
                <a:lnTo>
                  <a:pt x="91" y="8"/>
                </a:lnTo>
                <a:lnTo>
                  <a:pt x="124" y="0"/>
                </a:lnTo>
                <a:lnTo>
                  <a:pt x="144" y="10"/>
                </a:lnTo>
                <a:lnTo>
                  <a:pt x="142" y="28"/>
                </a:lnTo>
                <a:lnTo>
                  <a:pt x="133" y="45"/>
                </a:lnTo>
                <a:lnTo>
                  <a:pt x="158" y="67"/>
                </a:lnTo>
                <a:lnTo>
                  <a:pt x="144" y="85"/>
                </a:lnTo>
                <a:lnTo>
                  <a:pt x="159" y="115"/>
                </a:lnTo>
                <a:lnTo>
                  <a:pt x="153" y="139"/>
                </a:lnTo>
                <a:lnTo>
                  <a:pt x="181" y="193"/>
                </a:lnTo>
                <a:lnTo>
                  <a:pt x="118" y="244"/>
                </a:lnTo>
                <a:lnTo>
                  <a:pt x="39" y="261"/>
                </a:lnTo>
                <a:lnTo>
                  <a:pt x="37" y="248"/>
                </a:lnTo>
                <a:lnTo>
                  <a:pt x="11" y="242"/>
                </a:lnTo>
                <a:lnTo>
                  <a:pt x="7" y="190"/>
                </a:lnTo>
                <a:lnTo>
                  <a:pt x="81" y="136"/>
                </a:lnTo>
                <a:lnTo>
                  <a:pt x="58" y="111"/>
                </a:lnTo>
                <a:lnTo>
                  <a:pt x="49" y="58"/>
                </a:lnTo>
                <a:lnTo>
                  <a:pt x="0" y="2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0" name="Freeform 82"/>
          <p:cNvSpPr>
            <a:spLocks/>
          </p:cNvSpPr>
          <p:nvPr/>
        </p:nvSpPr>
        <p:spPr bwMode="auto">
          <a:xfrm>
            <a:off x="4135438" y="3154363"/>
            <a:ext cx="288925" cy="255587"/>
          </a:xfrm>
          <a:custGeom>
            <a:avLst/>
            <a:gdLst>
              <a:gd name="T0" fmla="*/ 0 w 210"/>
              <a:gd name="T1" fmla="*/ 2147483647 h 175"/>
              <a:gd name="T2" fmla="*/ 2147483647 w 210"/>
              <a:gd name="T3" fmla="*/ 2147483647 h 175"/>
              <a:gd name="T4" fmla="*/ 2147483647 w 210"/>
              <a:gd name="T5" fmla="*/ 2147483647 h 175"/>
              <a:gd name="T6" fmla="*/ 2147483647 w 210"/>
              <a:gd name="T7" fmla="*/ 2147483647 h 175"/>
              <a:gd name="T8" fmla="*/ 2147483647 w 210"/>
              <a:gd name="T9" fmla="*/ 2147483647 h 175"/>
              <a:gd name="T10" fmla="*/ 2147483647 w 210"/>
              <a:gd name="T11" fmla="*/ 2147483647 h 175"/>
              <a:gd name="T12" fmla="*/ 2147483647 w 210"/>
              <a:gd name="T13" fmla="*/ 2147483647 h 175"/>
              <a:gd name="T14" fmla="*/ 2147483647 w 210"/>
              <a:gd name="T15" fmla="*/ 2147483647 h 175"/>
              <a:gd name="T16" fmla="*/ 2147483647 w 210"/>
              <a:gd name="T17" fmla="*/ 2147483647 h 175"/>
              <a:gd name="T18" fmla="*/ 2147483647 w 210"/>
              <a:gd name="T19" fmla="*/ 2147483647 h 175"/>
              <a:gd name="T20" fmla="*/ 2147483647 w 210"/>
              <a:gd name="T21" fmla="*/ 2147483647 h 175"/>
              <a:gd name="T22" fmla="*/ 2147483647 w 210"/>
              <a:gd name="T23" fmla="*/ 2147483647 h 175"/>
              <a:gd name="T24" fmla="*/ 2147483647 w 210"/>
              <a:gd name="T25" fmla="*/ 2147483647 h 175"/>
              <a:gd name="T26" fmla="*/ 2147483647 w 210"/>
              <a:gd name="T27" fmla="*/ 2147483647 h 175"/>
              <a:gd name="T28" fmla="*/ 2147483647 w 210"/>
              <a:gd name="T29" fmla="*/ 2147483647 h 175"/>
              <a:gd name="T30" fmla="*/ 2147483647 w 210"/>
              <a:gd name="T31" fmla="*/ 2147483647 h 175"/>
              <a:gd name="T32" fmla="*/ 2147483647 w 210"/>
              <a:gd name="T33" fmla="*/ 2147483647 h 175"/>
              <a:gd name="T34" fmla="*/ 2147483647 w 210"/>
              <a:gd name="T35" fmla="*/ 2147483647 h 175"/>
              <a:gd name="T36" fmla="*/ 2147483647 w 210"/>
              <a:gd name="T37" fmla="*/ 2147483647 h 175"/>
              <a:gd name="T38" fmla="*/ 2147483647 w 210"/>
              <a:gd name="T39" fmla="*/ 2147483647 h 175"/>
              <a:gd name="T40" fmla="*/ 2147483647 w 210"/>
              <a:gd name="T41" fmla="*/ 2147483647 h 175"/>
              <a:gd name="T42" fmla="*/ 2147483647 w 210"/>
              <a:gd name="T43" fmla="*/ 0 h 175"/>
              <a:gd name="T44" fmla="*/ 2147483647 w 210"/>
              <a:gd name="T45" fmla="*/ 2147483647 h 175"/>
              <a:gd name="T46" fmla="*/ 2147483647 w 210"/>
              <a:gd name="T47" fmla="*/ 2147483647 h 175"/>
              <a:gd name="T48" fmla="*/ 2147483647 w 210"/>
              <a:gd name="T49" fmla="*/ 2147483647 h 175"/>
              <a:gd name="T50" fmla="*/ 2147483647 w 210"/>
              <a:gd name="T51" fmla="*/ 2147483647 h 175"/>
              <a:gd name="T52" fmla="*/ 0 w 210"/>
              <a:gd name="T53" fmla="*/ 2147483647 h 1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0"/>
              <a:gd name="T82" fmla="*/ 0 h 175"/>
              <a:gd name="T83" fmla="*/ 210 w 210"/>
              <a:gd name="T84" fmla="*/ 175 h 1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0" h="175">
                <a:moveTo>
                  <a:pt x="0" y="54"/>
                </a:moveTo>
                <a:lnTo>
                  <a:pt x="6" y="68"/>
                </a:lnTo>
                <a:lnTo>
                  <a:pt x="49" y="81"/>
                </a:lnTo>
                <a:lnTo>
                  <a:pt x="42" y="88"/>
                </a:lnTo>
                <a:lnTo>
                  <a:pt x="59" y="98"/>
                </a:lnTo>
                <a:lnTo>
                  <a:pt x="65" y="120"/>
                </a:lnTo>
                <a:lnTo>
                  <a:pt x="47" y="155"/>
                </a:lnTo>
                <a:lnTo>
                  <a:pt x="98" y="170"/>
                </a:lnTo>
                <a:lnTo>
                  <a:pt x="103" y="173"/>
                </a:lnTo>
                <a:lnTo>
                  <a:pt x="129" y="174"/>
                </a:lnTo>
                <a:lnTo>
                  <a:pt x="129" y="158"/>
                </a:lnTo>
                <a:lnTo>
                  <a:pt x="144" y="152"/>
                </a:lnTo>
                <a:lnTo>
                  <a:pt x="179" y="161"/>
                </a:lnTo>
                <a:lnTo>
                  <a:pt x="202" y="147"/>
                </a:lnTo>
                <a:lnTo>
                  <a:pt x="188" y="126"/>
                </a:lnTo>
                <a:lnTo>
                  <a:pt x="192" y="106"/>
                </a:lnTo>
                <a:lnTo>
                  <a:pt x="175" y="96"/>
                </a:lnTo>
                <a:lnTo>
                  <a:pt x="200" y="71"/>
                </a:lnTo>
                <a:lnTo>
                  <a:pt x="209" y="46"/>
                </a:lnTo>
                <a:lnTo>
                  <a:pt x="179" y="33"/>
                </a:lnTo>
                <a:lnTo>
                  <a:pt x="171" y="32"/>
                </a:lnTo>
                <a:lnTo>
                  <a:pt x="122" y="0"/>
                </a:lnTo>
                <a:lnTo>
                  <a:pt x="107" y="6"/>
                </a:lnTo>
                <a:lnTo>
                  <a:pt x="86" y="35"/>
                </a:lnTo>
                <a:lnTo>
                  <a:pt x="45" y="30"/>
                </a:lnTo>
                <a:lnTo>
                  <a:pt x="52" y="54"/>
                </a:lnTo>
                <a:lnTo>
                  <a:pt x="0" y="5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1" name="Freeform 83"/>
          <p:cNvSpPr>
            <a:spLocks/>
          </p:cNvSpPr>
          <p:nvPr/>
        </p:nvSpPr>
        <p:spPr bwMode="auto">
          <a:xfrm>
            <a:off x="4437063" y="3389313"/>
            <a:ext cx="19050" cy="49212"/>
          </a:xfrm>
          <a:custGeom>
            <a:avLst/>
            <a:gdLst>
              <a:gd name="T0" fmla="*/ 0 w 13"/>
              <a:gd name="T1" fmla="*/ 2147483647 h 33"/>
              <a:gd name="T2" fmla="*/ 2147483647 w 13"/>
              <a:gd name="T3" fmla="*/ 2147483647 h 33"/>
              <a:gd name="T4" fmla="*/ 2147483647 w 13"/>
              <a:gd name="T5" fmla="*/ 0 h 33"/>
              <a:gd name="T6" fmla="*/ 0 w 13"/>
              <a:gd name="T7" fmla="*/ 2147483647 h 33"/>
              <a:gd name="T8" fmla="*/ 0 60000 65536"/>
              <a:gd name="T9" fmla="*/ 0 60000 65536"/>
              <a:gd name="T10" fmla="*/ 0 60000 65536"/>
              <a:gd name="T11" fmla="*/ 0 60000 65536"/>
              <a:gd name="T12" fmla="*/ 0 w 13"/>
              <a:gd name="T13" fmla="*/ 0 h 33"/>
              <a:gd name="T14" fmla="*/ 13 w 13"/>
              <a:gd name="T15" fmla="*/ 33 h 33"/>
            </a:gdLst>
            <a:ahLst/>
            <a:cxnLst>
              <a:cxn ang="T8">
                <a:pos x="T0" y="T1"/>
              </a:cxn>
              <a:cxn ang="T9">
                <a:pos x="T2" y="T3"/>
              </a:cxn>
              <a:cxn ang="T10">
                <a:pos x="T4" y="T5"/>
              </a:cxn>
              <a:cxn ang="T11">
                <a:pos x="T6" y="T7"/>
              </a:cxn>
            </a:cxnLst>
            <a:rect l="T12" t="T13" r="T14" b="T15"/>
            <a:pathLst>
              <a:path w="13" h="33">
                <a:moveTo>
                  <a:pt x="0" y="15"/>
                </a:moveTo>
                <a:lnTo>
                  <a:pt x="11" y="32"/>
                </a:lnTo>
                <a:lnTo>
                  <a:pt x="12" y="0"/>
                </a:lnTo>
                <a:lnTo>
                  <a:pt x="0" y="1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2" name="Freeform 84"/>
          <p:cNvSpPr>
            <a:spLocks/>
          </p:cNvSpPr>
          <p:nvPr/>
        </p:nvSpPr>
        <p:spPr bwMode="auto">
          <a:xfrm>
            <a:off x="2982913" y="4318000"/>
            <a:ext cx="66675" cy="79375"/>
          </a:xfrm>
          <a:custGeom>
            <a:avLst/>
            <a:gdLst>
              <a:gd name="T0" fmla="*/ 0 w 49"/>
              <a:gd name="T1" fmla="*/ 2147483647 h 54"/>
              <a:gd name="T2" fmla="*/ 2147483647 w 49"/>
              <a:gd name="T3" fmla="*/ 0 h 54"/>
              <a:gd name="T4" fmla="*/ 2147483647 w 49"/>
              <a:gd name="T5" fmla="*/ 2147483647 h 54"/>
              <a:gd name="T6" fmla="*/ 2147483647 w 49"/>
              <a:gd name="T7" fmla="*/ 2147483647 h 54"/>
              <a:gd name="T8" fmla="*/ 0 w 49"/>
              <a:gd name="T9" fmla="*/ 2147483647 h 54"/>
              <a:gd name="T10" fmla="*/ 0 60000 65536"/>
              <a:gd name="T11" fmla="*/ 0 60000 65536"/>
              <a:gd name="T12" fmla="*/ 0 60000 65536"/>
              <a:gd name="T13" fmla="*/ 0 60000 65536"/>
              <a:gd name="T14" fmla="*/ 0 60000 65536"/>
              <a:gd name="T15" fmla="*/ 0 w 49"/>
              <a:gd name="T16" fmla="*/ 0 h 54"/>
              <a:gd name="T17" fmla="*/ 49 w 49"/>
              <a:gd name="T18" fmla="*/ 54 h 54"/>
            </a:gdLst>
            <a:ahLst/>
            <a:cxnLst>
              <a:cxn ang="T10">
                <a:pos x="T0" y="T1"/>
              </a:cxn>
              <a:cxn ang="T11">
                <a:pos x="T2" y="T3"/>
              </a:cxn>
              <a:cxn ang="T12">
                <a:pos x="T4" y="T5"/>
              </a:cxn>
              <a:cxn ang="T13">
                <a:pos x="T6" y="T7"/>
              </a:cxn>
              <a:cxn ang="T14">
                <a:pos x="T8" y="T9"/>
              </a:cxn>
            </a:cxnLst>
            <a:rect l="T15" t="T16" r="T17" b="T18"/>
            <a:pathLst>
              <a:path w="49" h="54">
                <a:moveTo>
                  <a:pt x="0" y="51"/>
                </a:moveTo>
                <a:lnTo>
                  <a:pt x="6" y="0"/>
                </a:lnTo>
                <a:lnTo>
                  <a:pt x="48" y="23"/>
                </a:lnTo>
                <a:lnTo>
                  <a:pt x="22" y="53"/>
                </a:lnTo>
                <a:lnTo>
                  <a:pt x="0" y="5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3" name="Freeform 85"/>
          <p:cNvSpPr>
            <a:spLocks/>
          </p:cNvSpPr>
          <p:nvPr/>
        </p:nvSpPr>
        <p:spPr bwMode="auto">
          <a:xfrm>
            <a:off x="5210175" y="4149725"/>
            <a:ext cx="36513" cy="44450"/>
          </a:xfrm>
          <a:custGeom>
            <a:avLst/>
            <a:gdLst>
              <a:gd name="T0" fmla="*/ 0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0 h 30"/>
              <a:gd name="T12" fmla="*/ 0 w 26"/>
              <a:gd name="T13" fmla="*/ 2147483647 h 30"/>
              <a:gd name="T14" fmla="*/ 0 60000 65536"/>
              <a:gd name="T15" fmla="*/ 0 60000 65536"/>
              <a:gd name="T16" fmla="*/ 0 60000 65536"/>
              <a:gd name="T17" fmla="*/ 0 60000 65536"/>
              <a:gd name="T18" fmla="*/ 0 60000 65536"/>
              <a:gd name="T19" fmla="*/ 0 60000 65536"/>
              <a:gd name="T20" fmla="*/ 0 60000 65536"/>
              <a:gd name="T21" fmla="*/ 0 w 26"/>
              <a:gd name="T22" fmla="*/ 0 h 30"/>
              <a:gd name="T23" fmla="*/ 26 w 26"/>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0">
                <a:moveTo>
                  <a:pt x="0" y="24"/>
                </a:moveTo>
                <a:lnTo>
                  <a:pt x="18" y="29"/>
                </a:lnTo>
                <a:lnTo>
                  <a:pt x="23" y="21"/>
                </a:lnTo>
                <a:lnTo>
                  <a:pt x="10" y="20"/>
                </a:lnTo>
                <a:lnTo>
                  <a:pt x="25" y="12"/>
                </a:lnTo>
                <a:lnTo>
                  <a:pt x="19" y="0"/>
                </a:lnTo>
                <a:lnTo>
                  <a:pt x="0" y="2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4" name="Freeform 86"/>
          <p:cNvSpPr>
            <a:spLocks/>
          </p:cNvSpPr>
          <p:nvPr/>
        </p:nvSpPr>
        <p:spPr bwMode="auto">
          <a:xfrm>
            <a:off x="4443413" y="4392613"/>
            <a:ext cx="128587" cy="142875"/>
          </a:xfrm>
          <a:custGeom>
            <a:avLst/>
            <a:gdLst>
              <a:gd name="T0" fmla="*/ 0 w 93"/>
              <a:gd name="T1" fmla="*/ 2147483647 h 98"/>
              <a:gd name="T2" fmla="*/ 2147483647 w 93"/>
              <a:gd name="T3" fmla="*/ 2147483647 h 98"/>
              <a:gd name="T4" fmla="*/ 2147483647 w 93"/>
              <a:gd name="T5" fmla="*/ 2147483647 h 98"/>
              <a:gd name="T6" fmla="*/ 2147483647 w 93"/>
              <a:gd name="T7" fmla="*/ 2147483647 h 98"/>
              <a:gd name="T8" fmla="*/ 2147483647 w 93"/>
              <a:gd name="T9" fmla="*/ 2147483647 h 98"/>
              <a:gd name="T10" fmla="*/ 2147483647 w 93"/>
              <a:gd name="T11" fmla="*/ 0 h 98"/>
              <a:gd name="T12" fmla="*/ 2147483647 w 93"/>
              <a:gd name="T13" fmla="*/ 0 h 98"/>
              <a:gd name="T14" fmla="*/ 2147483647 w 93"/>
              <a:gd name="T15" fmla="*/ 2147483647 h 98"/>
              <a:gd name="T16" fmla="*/ 2147483647 w 93"/>
              <a:gd name="T17" fmla="*/ 2147483647 h 98"/>
              <a:gd name="T18" fmla="*/ 2147483647 w 93"/>
              <a:gd name="T19" fmla="*/ 2147483647 h 98"/>
              <a:gd name="T20" fmla="*/ 2147483647 w 93"/>
              <a:gd name="T21" fmla="*/ 2147483647 h 98"/>
              <a:gd name="T22" fmla="*/ 2147483647 w 93"/>
              <a:gd name="T23" fmla="*/ 2147483647 h 98"/>
              <a:gd name="T24" fmla="*/ 0 w 93"/>
              <a:gd name="T25" fmla="*/ 2147483647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3"/>
              <a:gd name="T40" fmla="*/ 0 h 98"/>
              <a:gd name="T41" fmla="*/ 93 w 93"/>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3" h="98">
                <a:moveTo>
                  <a:pt x="0" y="47"/>
                </a:moveTo>
                <a:lnTo>
                  <a:pt x="9" y="31"/>
                </a:lnTo>
                <a:lnTo>
                  <a:pt x="17" y="32"/>
                </a:lnTo>
                <a:lnTo>
                  <a:pt x="12" y="20"/>
                </a:lnTo>
                <a:lnTo>
                  <a:pt x="40" y="18"/>
                </a:lnTo>
                <a:lnTo>
                  <a:pt x="40" y="0"/>
                </a:lnTo>
                <a:lnTo>
                  <a:pt x="75" y="0"/>
                </a:lnTo>
                <a:lnTo>
                  <a:pt x="72" y="15"/>
                </a:lnTo>
                <a:lnTo>
                  <a:pt x="92" y="16"/>
                </a:lnTo>
                <a:lnTo>
                  <a:pt x="88" y="70"/>
                </a:lnTo>
                <a:lnTo>
                  <a:pt x="65" y="65"/>
                </a:lnTo>
                <a:lnTo>
                  <a:pt x="39" y="97"/>
                </a:lnTo>
                <a:lnTo>
                  <a:pt x="0" y="4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5" name="Freeform 87"/>
          <p:cNvSpPr>
            <a:spLocks/>
          </p:cNvSpPr>
          <p:nvPr/>
        </p:nvSpPr>
        <p:spPr bwMode="auto">
          <a:xfrm>
            <a:off x="3840163" y="4127500"/>
            <a:ext cx="66675" cy="15875"/>
          </a:xfrm>
          <a:custGeom>
            <a:avLst/>
            <a:gdLst>
              <a:gd name="T0" fmla="*/ 0 w 49"/>
              <a:gd name="T1" fmla="*/ 2147483647 h 10"/>
              <a:gd name="T2" fmla="*/ 2147483647 w 49"/>
              <a:gd name="T3" fmla="*/ 0 h 10"/>
              <a:gd name="T4" fmla="*/ 2147483647 w 49"/>
              <a:gd name="T5" fmla="*/ 2147483647 h 10"/>
              <a:gd name="T6" fmla="*/ 0 w 49"/>
              <a:gd name="T7" fmla="*/ 2147483647 h 10"/>
              <a:gd name="T8" fmla="*/ 0 60000 65536"/>
              <a:gd name="T9" fmla="*/ 0 60000 65536"/>
              <a:gd name="T10" fmla="*/ 0 60000 65536"/>
              <a:gd name="T11" fmla="*/ 0 60000 65536"/>
              <a:gd name="T12" fmla="*/ 0 w 49"/>
              <a:gd name="T13" fmla="*/ 0 h 10"/>
              <a:gd name="T14" fmla="*/ 49 w 49"/>
              <a:gd name="T15" fmla="*/ 10 h 10"/>
            </a:gdLst>
            <a:ahLst/>
            <a:cxnLst>
              <a:cxn ang="T8">
                <a:pos x="T0" y="T1"/>
              </a:cxn>
              <a:cxn ang="T9">
                <a:pos x="T2" y="T3"/>
              </a:cxn>
              <a:cxn ang="T10">
                <a:pos x="T4" y="T5"/>
              </a:cxn>
              <a:cxn ang="T11">
                <a:pos x="T6" y="T7"/>
              </a:cxn>
            </a:cxnLst>
            <a:rect l="T12" t="T13" r="T14" b="T15"/>
            <a:pathLst>
              <a:path w="49" h="10">
                <a:moveTo>
                  <a:pt x="0" y="9"/>
                </a:moveTo>
                <a:lnTo>
                  <a:pt x="2" y="0"/>
                </a:lnTo>
                <a:lnTo>
                  <a:pt x="48" y="5"/>
                </a:lnTo>
                <a:lnTo>
                  <a:pt x="0" y="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6" name="Freeform 88"/>
          <p:cNvSpPr>
            <a:spLocks/>
          </p:cNvSpPr>
          <p:nvPr/>
        </p:nvSpPr>
        <p:spPr bwMode="auto">
          <a:xfrm>
            <a:off x="4168775" y="4184650"/>
            <a:ext cx="98425" cy="153988"/>
          </a:xfrm>
          <a:custGeom>
            <a:avLst/>
            <a:gdLst>
              <a:gd name="T0" fmla="*/ 0 w 71"/>
              <a:gd name="T1" fmla="*/ 2147483647 h 105"/>
              <a:gd name="T2" fmla="*/ 2147483647 w 71"/>
              <a:gd name="T3" fmla="*/ 2147483647 h 105"/>
              <a:gd name="T4" fmla="*/ 2147483647 w 71"/>
              <a:gd name="T5" fmla="*/ 2147483647 h 105"/>
              <a:gd name="T6" fmla="*/ 2147483647 w 71"/>
              <a:gd name="T7" fmla="*/ 0 h 105"/>
              <a:gd name="T8" fmla="*/ 2147483647 w 71"/>
              <a:gd name="T9" fmla="*/ 2147483647 h 105"/>
              <a:gd name="T10" fmla="*/ 2147483647 w 71"/>
              <a:gd name="T11" fmla="*/ 2147483647 h 105"/>
              <a:gd name="T12" fmla="*/ 0 w 71"/>
              <a:gd name="T13" fmla="*/ 2147483647 h 105"/>
              <a:gd name="T14" fmla="*/ 0 60000 65536"/>
              <a:gd name="T15" fmla="*/ 0 60000 65536"/>
              <a:gd name="T16" fmla="*/ 0 60000 65536"/>
              <a:gd name="T17" fmla="*/ 0 60000 65536"/>
              <a:gd name="T18" fmla="*/ 0 60000 65536"/>
              <a:gd name="T19" fmla="*/ 0 60000 65536"/>
              <a:gd name="T20" fmla="*/ 0 60000 65536"/>
              <a:gd name="T21" fmla="*/ 0 w 71"/>
              <a:gd name="T22" fmla="*/ 0 h 105"/>
              <a:gd name="T23" fmla="*/ 71 w 71"/>
              <a:gd name="T24" fmla="*/ 105 h 10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05">
                <a:moveTo>
                  <a:pt x="0" y="97"/>
                </a:moveTo>
                <a:lnTo>
                  <a:pt x="7" y="26"/>
                </a:lnTo>
                <a:lnTo>
                  <a:pt x="4" y="4"/>
                </a:lnTo>
                <a:lnTo>
                  <a:pt x="46" y="0"/>
                </a:lnTo>
                <a:lnTo>
                  <a:pt x="70" y="82"/>
                </a:lnTo>
                <a:lnTo>
                  <a:pt x="17" y="104"/>
                </a:lnTo>
                <a:lnTo>
                  <a:pt x="0" y="9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7" name="Freeform 89"/>
          <p:cNvSpPr>
            <a:spLocks/>
          </p:cNvSpPr>
          <p:nvPr/>
        </p:nvSpPr>
        <p:spPr bwMode="auto">
          <a:xfrm>
            <a:off x="4706938" y="3424238"/>
            <a:ext cx="142875" cy="146050"/>
          </a:xfrm>
          <a:custGeom>
            <a:avLst/>
            <a:gdLst>
              <a:gd name="T0" fmla="*/ 0 w 104"/>
              <a:gd name="T1" fmla="*/ 2147483647 h 100"/>
              <a:gd name="T2" fmla="*/ 2147483647 w 104"/>
              <a:gd name="T3" fmla="*/ 2147483647 h 100"/>
              <a:gd name="T4" fmla="*/ 2147483647 w 104"/>
              <a:gd name="T5" fmla="*/ 2147483647 h 100"/>
              <a:gd name="T6" fmla="*/ 2147483647 w 104"/>
              <a:gd name="T7" fmla="*/ 2147483647 h 100"/>
              <a:gd name="T8" fmla="*/ 2147483647 w 104"/>
              <a:gd name="T9" fmla="*/ 0 h 100"/>
              <a:gd name="T10" fmla="*/ 2147483647 w 104"/>
              <a:gd name="T11" fmla="*/ 2147483647 h 100"/>
              <a:gd name="T12" fmla="*/ 2147483647 w 104"/>
              <a:gd name="T13" fmla="*/ 2147483647 h 100"/>
              <a:gd name="T14" fmla="*/ 2147483647 w 104"/>
              <a:gd name="T15" fmla="*/ 2147483647 h 100"/>
              <a:gd name="T16" fmla="*/ 2147483647 w 104"/>
              <a:gd name="T17" fmla="*/ 2147483647 h 100"/>
              <a:gd name="T18" fmla="*/ 2147483647 w 104"/>
              <a:gd name="T19" fmla="*/ 2147483647 h 100"/>
              <a:gd name="T20" fmla="*/ 2147483647 w 104"/>
              <a:gd name="T21" fmla="*/ 2147483647 h 100"/>
              <a:gd name="T22" fmla="*/ 2147483647 w 104"/>
              <a:gd name="T23" fmla="*/ 2147483647 h 100"/>
              <a:gd name="T24" fmla="*/ 2147483647 w 104"/>
              <a:gd name="T25" fmla="*/ 2147483647 h 100"/>
              <a:gd name="T26" fmla="*/ 2147483647 w 104"/>
              <a:gd name="T27" fmla="*/ 2147483647 h 100"/>
              <a:gd name="T28" fmla="*/ 2147483647 w 104"/>
              <a:gd name="T29" fmla="*/ 2147483647 h 100"/>
              <a:gd name="T30" fmla="*/ 2147483647 w 104"/>
              <a:gd name="T31" fmla="*/ 2147483647 h 100"/>
              <a:gd name="T32" fmla="*/ 2147483647 w 104"/>
              <a:gd name="T33" fmla="*/ 2147483647 h 100"/>
              <a:gd name="T34" fmla="*/ 2147483647 w 104"/>
              <a:gd name="T35" fmla="*/ 2147483647 h 100"/>
              <a:gd name="T36" fmla="*/ 2147483647 w 104"/>
              <a:gd name="T37" fmla="*/ 2147483647 h 100"/>
              <a:gd name="T38" fmla="*/ 0 w 104"/>
              <a:gd name="T39" fmla="*/ 2147483647 h 1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4"/>
              <a:gd name="T61" fmla="*/ 0 h 100"/>
              <a:gd name="T62" fmla="*/ 104 w 104"/>
              <a:gd name="T63" fmla="*/ 100 h 1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4" h="100">
                <a:moveTo>
                  <a:pt x="0" y="40"/>
                </a:moveTo>
                <a:lnTo>
                  <a:pt x="15" y="17"/>
                </a:lnTo>
                <a:lnTo>
                  <a:pt x="47" y="8"/>
                </a:lnTo>
                <a:lnTo>
                  <a:pt x="88" y="9"/>
                </a:lnTo>
                <a:lnTo>
                  <a:pt x="103" y="0"/>
                </a:lnTo>
                <a:lnTo>
                  <a:pt x="98" y="20"/>
                </a:lnTo>
                <a:lnTo>
                  <a:pt x="71" y="15"/>
                </a:lnTo>
                <a:lnTo>
                  <a:pt x="56" y="35"/>
                </a:lnTo>
                <a:lnTo>
                  <a:pt x="42" y="23"/>
                </a:lnTo>
                <a:lnTo>
                  <a:pt x="53" y="49"/>
                </a:lnTo>
                <a:lnTo>
                  <a:pt x="40" y="54"/>
                </a:lnTo>
                <a:lnTo>
                  <a:pt x="65" y="65"/>
                </a:lnTo>
                <a:lnTo>
                  <a:pt x="65" y="77"/>
                </a:lnTo>
                <a:lnTo>
                  <a:pt x="44" y="79"/>
                </a:lnTo>
                <a:lnTo>
                  <a:pt x="49" y="99"/>
                </a:lnTo>
                <a:lnTo>
                  <a:pt x="26" y="92"/>
                </a:lnTo>
                <a:lnTo>
                  <a:pt x="17" y="75"/>
                </a:lnTo>
                <a:lnTo>
                  <a:pt x="50" y="68"/>
                </a:lnTo>
                <a:lnTo>
                  <a:pt x="17" y="64"/>
                </a:lnTo>
                <a:lnTo>
                  <a:pt x="0" y="4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8" name="Freeform 90"/>
          <p:cNvSpPr>
            <a:spLocks/>
          </p:cNvSpPr>
          <p:nvPr/>
        </p:nvSpPr>
        <p:spPr bwMode="auto">
          <a:xfrm>
            <a:off x="4783138" y="3589338"/>
            <a:ext cx="66675" cy="15875"/>
          </a:xfrm>
          <a:custGeom>
            <a:avLst/>
            <a:gdLst>
              <a:gd name="T0" fmla="*/ 0 w 48"/>
              <a:gd name="T1" fmla="*/ 2147483647 h 10"/>
              <a:gd name="T2" fmla="*/ 2147483647 w 48"/>
              <a:gd name="T3" fmla="*/ 0 h 10"/>
              <a:gd name="T4" fmla="*/ 2147483647 w 48"/>
              <a:gd name="T5" fmla="*/ 2147483647 h 10"/>
              <a:gd name="T6" fmla="*/ 2147483647 w 48"/>
              <a:gd name="T7" fmla="*/ 2147483647 h 10"/>
              <a:gd name="T8" fmla="*/ 0 w 48"/>
              <a:gd name="T9" fmla="*/ 2147483647 h 10"/>
              <a:gd name="T10" fmla="*/ 0 60000 65536"/>
              <a:gd name="T11" fmla="*/ 0 60000 65536"/>
              <a:gd name="T12" fmla="*/ 0 60000 65536"/>
              <a:gd name="T13" fmla="*/ 0 60000 65536"/>
              <a:gd name="T14" fmla="*/ 0 60000 65536"/>
              <a:gd name="T15" fmla="*/ 0 w 48"/>
              <a:gd name="T16" fmla="*/ 0 h 10"/>
              <a:gd name="T17" fmla="*/ 48 w 48"/>
              <a:gd name="T18" fmla="*/ 10 h 10"/>
            </a:gdLst>
            <a:ahLst/>
            <a:cxnLst>
              <a:cxn ang="T10">
                <a:pos x="T0" y="T1"/>
              </a:cxn>
              <a:cxn ang="T11">
                <a:pos x="T2" y="T3"/>
              </a:cxn>
              <a:cxn ang="T12">
                <a:pos x="T4" y="T5"/>
              </a:cxn>
              <a:cxn ang="T13">
                <a:pos x="T6" y="T7"/>
              </a:cxn>
              <a:cxn ang="T14">
                <a:pos x="T8" y="T9"/>
              </a:cxn>
            </a:cxnLst>
            <a:rect l="T15" t="T16" r="T17" b="T18"/>
            <a:pathLst>
              <a:path w="48" h="10">
                <a:moveTo>
                  <a:pt x="0" y="9"/>
                </a:moveTo>
                <a:lnTo>
                  <a:pt x="4" y="0"/>
                </a:lnTo>
                <a:lnTo>
                  <a:pt x="47" y="9"/>
                </a:lnTo>
                <a:lnTo>
                  <a:pt x="15" y="9"/>
                </a:lnTo>
                <a:lnTo>
                  <a:pt x="0" y="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99" name="Freeform 91"/>
          <p:cNvSpPr>
            <a:spLocks/>
          </p:cNvSpPr>
          <p:nvPr/>
        </p:nvSpPr>
        <p:spPr bwMode="auto">
          <a:xfrm>
            <a:off x="2714625" y="1838325"/>
            <a:ext cx="1403350" cy="1028700"/>
          </a:xfrm>
          <a:custGeom>
            <a:avLst/>
            <a:gdLst>
              <a:gd name="T0" fmla="*/ 2147483647 w 1019"/>
              <a:gd name="T1" fmla="*/ 2147483647 h 703"/>
              <a:gd name="T2" fmla="*/ 2147483647 w 1019"/>
              <a:gd name="T3" fmla="*/ 2147483647 h 703"/>
              <a:gd name="T4" fmla="*/ 2147483647 w 1019"/>
              <a:gd name="T5" fmla="*/ 2147483647 h 703"/>
              <a:gd name="T6" fmla="*/ 2147483647 w 1019"/>
              <a:gd name="T7" fmla="*/ 2147483647 h 703"/>
              <a:gd name="T8" fmla="*/ 2147483647 w 1019"/>
              <a:gd name="T9" fmla="*/ 2147483647 h 703"/>
              <a:gd name="T10" fmla="*/ 2147483647 w 1019"/>
              <a:gd name="T11" fmla="*/ 2147483647 h 703"/>
              <a:gd name="T12" fmla="*/ 2147483647 w 1019"/>
              <a:gd name="T13" fmla="*/ 2147483647 h 703"/>
              <a:gd name="T14" fmla="*/ 2147483647 w 1019"/>
              <a:gd name="T15" fmla="*/ 2147483647 h 703"/>
              <a:gd name="T16" fmla="*/ 2147483647 w 1019"/>
              <a:gd name="T17" fmla="*/ 2147483647 h 703"/>
              <a:gd name="T18" fmla="*/ 2147483647 w 1019"/>
              <a:gd name="T19" fmla="*/ 2147483647 h 703"/>
              <a:gd name="T20" fmla="*/ 2147483647 w 1019"/>
              <a:gd name="T21" fmla="*/ 2147483647 h 703"/>
              <a:gd name="T22" fmla="*/ 2147483647 w 1019"/>
              <a:gd name="T23" fmla="*/ 2147483647 h 703"/>
              <a:gd name="T24" fmla="*/ 2147483647 w 1019"/>
              <a:gd name="T25" fmla="*/ 2147483647 h 703"/>
              <a:gd name="T26" fmla="*/ 2147483647 w 1019"/>
              <a:gd name="T27" fmla="*/ 2147483647 h 703"/>
              <a:gd name="T28" fmla="*/ 2147483647 w 1019"/>
              <a:gd name="T29" fmla="*/ 2147483647 h 703"/>
              <a:gd name="T30" fmla="*/ 2147483647 w 1019"/>
              <a:gd name="T31" fmla="*/ 2147483647 h 703"/>
              <a:gd name="T32" fmla="*/ 2147483647 w 1019"/>
              <a:gd name="T33" fmla="*/ 2147483647 h 703"/>
              <a:gd name="T34" fmla="*/ 2147483647 w 1019"/>
              <a:gd name="T35" fmla="*/ 2147483647 h 703"/>
              <a:gd name="T36" fmla="*/ 2147483647 w 1019"/>
              <a:gd name="T37" fmla="*/ 2147483647 h 703"/>
              <a:gd name="T38" fmla="*/ 2147483647 w 1019"/>
              <a:gd name="T39" fmla="*/ 2147483647 h 703"/>
              <a:gd name="T40" fmla="*/ 2147483647 w 1019"/>
              <a:gd name="T41" fmla="*/ 2147483647 h 703"/>
              <a:gd name="T42" fmla="*/ 2147483647 w 1019"/>
              <a:gd name="T43" fmla="*/ 2147483647 h 703"/>
              <a:gd name="T44" fmla="*/ 2147483647 w 1019"/>
              <a:gd name="T45" fmla="*/ 2147483647 h 703"/>
              <a:gd name="T46" fmla="*/ 2147483647 w 1019"/>
              <a:gd name="T47" fmla="*/ 2147483647 h 703"/>
              <a:gd name="T48" fmla="*/ 2147483647 w 1019"/>
              <a:gd name="T49" fmla="*/ 2147483647 h 703"/>
              <a:gd name="T50" fmla="*/ 2147483647 w 1019"/>
              <a:gd name="T51" fmla="*/ 2147483647 h 703"/>
              <a:gd name="T52" fmla="*/ 2147483647 w 1019"/>
              <a:gd name="T53" fmla="*/ 2147483647 h 703"/>
              <a:gd name="T54" fmla="*/ 2147483647 w 1019"/>
              <a:gd name="T55" fmla="*/ 2147483647 h 703"/>
              <a:gd name="T56" fmla="*/ 2147483647 w 1019"/>
              <a:gd name="T57" fmla="*/ 2147483647 h 703"/>
              <a:gd name="T58" fmla="*/ 2147483647 w 1019"/>
              <a:gd name="T59" fmla="*/ 2147483647 h 703"/>
              <a:gd name="T60" fmla="*/ 2147483647 w 1019"/>
              <a:gd name="T61" fmla="*/ 2147483647 h 703"/>
              <a:gd name="T62" fmla="*/ 2147483647 w 1019"/>
              <a:gd name="T63" fmla="*/ 2147483647 h 703"/>
              <a:gd name="T64" fmla="*/ 2147483647 w 1019"/>
              <a:gd name="T65" fmla="*/ 2147483647 h 703"/>
              <a:gd name="T66" fmla="*/ 2147483647 w 1019"/>
              <a:gd name="T67" fmla="*/ 2147483647 h 703"/>
              <a:gd name="T68" fmla="*/ 2147483647 w 1019"/>
              <a:gd name="T69" fmla="*/ 2147483647 h 703"/>
              <a:gd name="T70" fmla="*/ 2147483647 w 1019"/>
              <a:gd name="T71" fmla="*/ 2147483647 h 703"/>
              <a:gd name="T72" fmla="*/ 2147483647 w 1019"/>
              <a:gd name="T73" fmla="*/ 2147483647 h 703"/>
              <a:gd name="T74" fmla="*/ 2147483647 w 1019"/>
              <a:gd name="T75" fmla="*/ 2147483647 h 703"/>
              <a:gd name="T76" fmla="*/ 2147483647 w 1019"/>
              <a:gd name="T77" fmla="*/ 2147483647 h 703"/>
              <a:gd name="T78" fmla="*/ 2147483647 w 1019"/>
              <a:gd name="T79" fmla="*/ 2147483647 h 703"/>
              <a:gd name="T80" fmla="*/ 2147483647 w 1019"/>
              <a:gd name="T81" fmla="*/ 2147483647 h 703"/>
              <a:gd name="T82" fmla="*/ 2147483647 w 1019"/>
              <a:gd name="T83" fmla="*/ 2147483647 h 703"/>
              <a:gd name="T84" fmla="*/ 2147483647 w 1019"/>
              <a:gd name="T85" fmla="*/ 2147483647 h 703"/>
              <a:gd name="T86" fmla="*/ 2147483647 w 1019"/>
              <a:gd name="T87" fmla="*/ 2147483647 h 703"/>
              <a:gd name="T88" fmla="*/ 2147483647 w 1019"/>
              <a:gd name="T89" fmla="*/ 2147483647 h 703"/>
              <a:gd name="T90" fmla="*/ 2147483647 w 1019"/>
              <a:gd name="T91" fmla="*/ 2147483647 h 703"/>
              <a:gd name="T92" fmla="*/ 2147483647 w 1019"/>
              <a:gd name="T93" fmla="*/ 2147483647 h 703"/>
              <a:gd name="T94" fmla="*/ 2147483647 w 1019"/>
              <a:gd name="T95" fmla="*/ 2147483647 h 703"/>
              <a:gd name="T96" fmla="*/ 2147483647 w 1019"/>
              <a:gd name="T97" fmla="*/ 2147483647 h 703"/>
              <a:gd name="T98" fmla="*/ 2147483647 w 1019"/>
              <a:gd name="T99" fmla="*/ 2147483647 h 703"/>
              <a:gd name="T100" fmla="*/ 2147483647 w 1019"/>
              <a:gd name="T101" fmla="*/ 2147483647 h 703"/>
              <a:gd name="T102" fmla="*/ 2147483647 w 1019"/>
              <a:gd name="T103" fmla="*/ 2147483647 h 703"/>
              <a:gd name="T104" fmla="*/ 2147483647 w 1019"/>
              <a:gd name="T105" fmla="*/ 2147483647 h 703"/>
              <a:gd name="T106" fmla="*/ 2147483647 w 1019"/>
              <a:gd name="T107" fmla="*/ 2147483647 h 703"/>
              <a:gd name="T108" fmla="*/ 2147483647 w 1019"/>
              <a:gd name="T109" fmla="*/ 2147483647 h 703"/>
              <a:gd name="T110" fmla="*/ 2147483647 w 1019"/>
              <a:gd name="T111" fmla="*/ 2147483647 h 703"/>
              <a:gd name="T112" fmla="*/ 2147483647 w 1019"/>
              <a:gd name="T113" fmla="*/ 2147483647 h 703"/>
              <a:gd name="T114" fmla="*/ 2147483647 w 1019"/>
              <a:gd name="T115" fmla="*/ 2147483647 h 70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19"/>
              <a:gd name="T175" fmla="*/ 0 h 703"/>
              <a:gd name="T176" fmla="*/ 1019 w 1019"/>
              <a:gd name="T177" fmla="*/ 703 h 70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19" h="703">
                <a:moveTo>
                  <a:pt x="0" y="197"/>
                </a:moveTo>
                <a:lnTo>
                  <a:pt x="5" y="186"/>
                </a:lnTo>
                <a:lnTo>
                  <a:pt x="70" y="166"/>
                </a:lnTo>
                <a:lnTo>
                  <a:pt x="112" y="166"/>
                </a:lnTo>
                <a:lnTo>
                  <a:pt x="135" y="151"/>
                </a:lnTo>
                <a:lnTo>
                  <a:pt x="128" y="144"/>
                </a:lnTo>
                <a:lnTo>
                  <a:pt x="143" y="139"/>
                </a:lnTo>
                <a:lnTo>
                  <a:pt x="132" y="136"/>
                </a:lnTo>
                <a:lnTo>
                  <a:pt x="154" y="129"/>
                </a:lnTo>
                <a:lnTo>
                  <a:pt x="148" y="123"/>
                </a:lnTo>
                <a:lnTo>
                  <a:pt x="116" y="135"/>
                </a:lnTo>
                <a:lnTo>
                  <a:pt x="88" y="122"/>
                </a:lnTo>
                <a:lnTo>
                  <a:pt x="125" y="113"/>
                </a:lnTo>
                <a:lnTo>
                  <a:pt x="147" y="92"/>
                </a:lnTo>
                <a:lnTo>
                  <a:pt x="190" y="92"/>
                </a:lnTo>
                <a:lnTo>
                  <a:pt x="189" y="66"/>
                </a:lnTo>
                <a:lnTo>
                  <a:pt x="224" y="66"/>
                </a:lnTo>
                <a:lnTo>
                  <a:pt x="257" y="82"/>
                </a:lnTo>
                <a:lnTo>
                  <a:pt x="216" y="61"/>
                </a:lnTo>
                <a:lnTo>
                  <a:pt x="294" y="45"/>
                </a:lnTo>
                <a:lnTo>
                  <a:pt x="311" y="53"/>
                </a:lnTo>
                <a:lnTo>
                  <a:pt x="315" y="78"/>
                </a:lnTo>
                <a:lnTo>
                  <a:pt x="326" y="59"/>
                </a:lnTo>
                <a:lnTo>
                  <a:pt x="373" y="71"/>
                </a:lnTo>
                <a:lnTo>
                  <a:pt x="357" y="61"/>
                </a:lnTo>
                <a:lnTo>
                  <a:pt x="381" y="64"/>
                </a:lnTo>
                <a:lnTo>
                  <a:pt x="360" y="52"/>
                </a:lnTo>
                <a:lnTo>
                  <a:pt x="353" y="41"/>
                </a:lnTo>
                <a:lnTo>
                  <a:pt x="366" y="38"/>
                </a:lnTo>
                <a:lnTo>
                  <a:pt x="462" y="68"/>
                </a:lnTo>
                <a:lnTo>
                  <a:pt x="456" y="59"/>
                </a:lnTo>
                <a:lnTo>
                  <a:pt x="477" y="57"/>
                </a:lnTo>
                <a:lnTo>
                  <a:pt x="462" y="50"/>
                </a:lnTo>
                <a:lnTo>
                  <a:pt x="497" y="52"/>
                </a:lnTo>
                <a:lnTo>
                  <a:pt x="444" y="30"/>
                </a:lnTo>
                <a:lnTo>
                  <a:pt x="539" y="41"/>
                </a:lnTo>
                <a:lnTo>
                  <a:pt x="516" y="29"/>
                </a:lnTo>
                <a:lnTo>
                  <a:pt x="461" y="27"/>
                </a:lnTo>
                <a:lnTo>
                  <a:pt x="482" y="24"/>
                </a:lnTo>
                <a:lnTo>
                  <a:pt x="447" y="15"/>
                </a:lnTo>
                <a:lnTo>
                  <a:pt x="487" y="17"/>
                </a:lnTo>
                <a:lnTo>
                  <a:pt x="469" y="14"/>
                </a:lnTo>
                <a:lnTo>
                  <a:pt x="489" y="10"/>
                </a:lnTo>
                <a:lnTo>
                  <a:pt x="557" y="31"/>
                </a:lnTo>
                <a:lnTo>
                  <a:pt x="550" y="22"/>
                </a:lnTo>
                <a:lnTo>
                  <a:pt x="582" y="15"/>
                </a:lnTo>
                <a:lnTo>
                  <a:pt x="553" y="13"/>
                </a:lnTo>
                <a:lnTo>
                  <a:pt x="553" y="3"/>
                </a:lnTo>
                <a:lnTo>
                  <a:pt x="572" y="0"/>
                </a:lnTo>
                <a:lnTo>
                  <a:pt x="760" y="3"/>
                </a:lnTo>
                <a:lnTo>
                  <a:pt x="776" y="9"/>
                </a:lnTo>
                <a:lnTo>
                  <a:pt x="768" y="13"/>
                </a:lnTo>
                <a:lnTo>
                  <a:pt x="641" y="15"/>
                </a:lnTo>
                <a:lnTo>
                  <a:pt x="657" y="20"/>
                </a:lnTo>
                <a:lnTo>
                  <a:pt x="608" y="24"/>
                </a:lnTo>
                <a:lnTo>
                  <a:pt x="785" y="15"/>
                </a:lnTo>
                <a:lnTo>
                  <a:pt x="792" y="23"/>
                </a:lnTo>
                <a:lnTo>
                  <a:pt x="768" y="31"/>
                </a:lnTo>
                <a:lnTo>
                  <a:pt x="808" y="26"/>
                </a:lnTo>
                <a:lnTo>
                  <a:pt x="856" y="37"/>
                </a:lnTo>
                <a:lnTo>
                  <a:pt x="785" y="53"/>
                </a:lnTo>
                <a:lnTo>
                  <a:pt x="672" y="53"/>
                </a:lnTo>
                <a:lnTo>
                  <a:pt x="698" y="57"/>
                </a:lnTo>
                <a:lnTo>
                  <a:pt x="652" y="66"/>
                </a:lnTo>
                <a:lnTo>
                  <a:pt x="652" y="73"/>
                </a:lnTo>
                <a:lnTo>
                  <a:pt x="776" y="61"/>
                </a:lnTo>
                <a:lnTo>
                  <a:pt x="786" y="66"/>
                </a:lnTo>
                <a:lnTo>
                  <a:pt x="760" y="81"/>
                </a:lnTo>
                <a:lnTo>
                  <a:pt x="840" y="57"/>
                </a:lnTo>
                <a:lnTo>
                  <a:pt x="845" y="79"/>
                </a:lnTo>
                <a:lnTo>
                  <a:pt x="806" y="118"/>
                </a:lnTo>
                <a:lnTo>
                  <a:pt x="882" y="72"/>
                </a:lnTo>
                <a:lnTo>
                  <a:pt x="882" y="81"/>
                </a:lnTo>
                <a:lnTo>
                  <a:pt x="918" y="80"/>
                </a:lnTo>
                <a:lnTo>
                  <a:pt x="929" y="66"/>
                </a:lnTo>
                <a:lnTo>
                  <a:pt x="970" y="64"/>
                </a:lnTo>
                <a:lnTo>
                  <a:pt x="1018" y="75"/>
                </a:lnTo>
                <a:lnTo>
                  <a:pt x="971" y="94"/>
                </a:lnTo>
                <a:lnTo>
                  <a:pt x="975" y="103"/>
                </a:lnTo>
                <a:lnTo>
                  <a:pt x="865" y="114"/>
                </a:lnTo>
                <a:lnTo>
                  <a:pt x="951" y="115"/>
                </a:lnTo>
                <a:lnTo>
                  <a:pt x="880" y="130"/>
                </a:lnTo>
                <a:lnTo>
                  <a:pt x="885" y="142"/>
                </a:lnTo>
                <a:lnTo>
                  <a:pt x="932" y="130"/>
                </a:lnTo>
                <a:lnTo>
                  <a:pt x="896" y="145"/>
                </a:lnTo>
                <a:lnTo>
                  <a:pt x="891" y="164"/>
                </a:lnTo>
                <a:lnTo>
                  <a:pt x="903" y="158"/>
                </a:lnTo>
                <a:lnTo>
                  <a:pt x="870" y="176"/>
                </a:lnTo>
                <a:lnTo>
                  <a:pt x="856" y="211"/>
                </a:lnTo>
                <a:lnTo>
                  <a:pt x="875" y="204"/>
                </a:lnTo>
                <a:lnTo>
                  <a:pt x="902" y="211"/>
                </a:lnTo>
                <a:lnTo>
                  <a:pt x="880" y="211"/>
                </a:lnTo>
                <a:lnTo>
                  <a:pt x="880" y="223"/>
                </a:lnTo>
                <a:lnTo>
                  <a:pt x="918" y="225"/>
                </a:lnTo>
                <a:lnTo>
                  <a:pt x="918" y="240"/>
                </a:lnTo>
                <a:lnTo>
                  <a:pt x="860" y="238"/>
                </a:lnTo>
                <a:lnTo>
                  <a:pt x="875" y="244"/>
                </a:lnTo>
                <a:lnTo>
                  <a:pt x="843" y="247"/>
                </a:lnTo>
                <a:lnTo>
                  <a:pt x="860" y="262"/>
                </a:lnTo>
                <a:lnTo>
                  <a:pt x="890" y="262"/>
                </a:lnTo>
                <a:lnTo>
                  <a:pt x="872" y="270"/>
                </a:lnTo>
                <a:lnTo>
                  <a:pt x="896" y="277"/>
                </a:lnTo>
                <a:lnTo>
                  <a:pt x="894" y="296"/>
                </a:lnTo>
                <a:lnTo>
                  <a:pt x="852" y="285"/>
                </a:lnTo>
                <a:lnTo>
                  <a:pt x="877" y="295"/>
                </a:lnTo>
                <a:lnTo>
                  <a:pt x="861" y="302"/>
                </a:lnTo>
                <a:lnTo>
                  <a:pt x="875" y="299"/>
                </a:lnTo>
                <a:lnTo>
                  <a:pt x="872" y="311"/>
                </a:lnTo>
                <a:lnTo>
                  <a:pt x="903" y="319"/>
                </a:lnTo>
                <a:lnTo>
                  <a:pt x="854" y="314"/>
                </a:lnTo>
                <a:lnTo>
                  <a:pt x="845" y="323"/>
                </a:lnTo>
                <a:lnTo>
                  <a:pt x="882" y="335"/>
                </a:lnTo>
                <a:lnTo>
                  <a:pt x="877" y="349"/>
                </a:lnTo>
                <a:lnTo>
                  <a:pt x="849" y="354"/>
                </a:lnTo>
                <a:lnTo>
                  <a:pt x="818" y="338"/>
                </a:lnTo>
                <a:lnTo>
                  <a:pt x="771" y="353"/>
                </a:lnTo>
                <a:lnTo>
                  <a:pt x="804" y="361"/>
                </a:lnTo>
                <a:lnTo>
                  <a:pt x="773" y="371"/>
                </a:lnTo>
                <a:lnTo>
                  <a:pt x="808" y="372"/>
                </a:lnTo>
                <a:lnTo>
                  <a:pt x="796" y="389"/>
                </a:lnTo>
                <a:lnTo>
                  <a:pt x="808" y="379"/>
                </a:lnTo>
                <a:lnTo>
                  <a:pt x="845" y="395"/>
                </a:lnTo>
                <a:lnTo>
                  <a:pt x="834" y="404"/>
                </a:lnTo>
                <a:lnTo>
                  <a:pt x="854" y="400"/>
                </a:lnTo>
                <a:lnTo>
                  <a:pt x="845" y="413"/>
                </a:lnTo>
                <a:lnTo>
                  <a:pt x="857" y="406"/>
                </a:lnTo>
                <a:lnTo>
                  <a:pt x="860" y="435"/>
                </a:lnTo>
                <a:lnTo>
                  <a:pt x="845" y="426"/>
                </a:lnTo>
                <a:lnTo>
                  <a:pt x="844" y="435"/>
                </a:lnTo>
                <a:lnTo>
                  <a:pt x="830" y="435"/>
                </a:lnTo>
                <a:lnTo>
                  <a:pt x="808" y="410"/>
                </a:lnTo>
                <a:lnTo>
                  <a:pt x="760" y="397"/>
                </a:lnTo>
                <a:lnTo>
                  <a:pt x="794" y="414"/>
                </a:lnTo>
                <a:lnTo>
                  <a:pt x="750" y="422"/>
                </a:lnTo>
                <a:lnTo>
                  <a:pt x="738" y="435"/>
                </a:lnTo>
                <a:lnTo>
                  <a:pt x="778" y="440"/>
                </a:lnTo>
                <a:lnTo>
                  <a:pt x="744" y="447"/>
                </a:lnTo>
                <a:lnTo>
                  <a:pt x="796" y="439"/>
                </a:lnTo>
                <a:lnTo>
                  <a:pt x="849" y="450"/>
                </a:lnTo>
                <a:lnTo>
                  <a:pt x="782" y="485"/>
                </a:lnTo>
                <a:lnTo>
                  <a:pt x="717" y="500"/>
                </a:lnTo>
                <a:lnTo>
                  <a:pt x="692" y="502"/>
                </a:lnTo>
                <a:lnTo>
                  <a:pt x="678" y="486"/>
                </a:lnTo>
                <a:lnTo>
                  <a:pt x="687" y="502"/>
                </a:lnTo>
                <a:lnTo>
                  <a:pt x="666" y="512"/>
                </a:lnTo>
                <a:lnTo>
                  <a:pt x="641" y="548"/>
                </a:lnTo>
                <a:lnTo>
                  <a:pt x="621" y="545"/>
                </a:lnTo>
                <a:lnTo>
                  <a:pt x="619" y="559"/>
                </a:lnTo>
                <a:lnTo>
                  <a:pt x="599" y="560"/>
                </a:lnTo>
                <a:lnTo>
                  <a:pt x="589" y="557"/>
                </a:lnTo>
                <a:lnTo>
                  <a:pt x="600" y="549"/>
                </a:lnTo>
                <a:lnTo>
                  <a:pt x="588" y="545"/>
                </a:lnTo>
                <a:lnTo>
                  <a:pt x="581" y="567"/>
                </a:lnTo>
                <a:lnTo>
                  <a:pt x="550" y="570"/>
                </a:lnTo>
                <a:lnTo>
                  <a:pt x="550" y="581"/>
                </a:lnTo>
                <a:lnTo>
                  <a:pt x="530" y="585"/>
                </a:lnTo>
                <a:lnTo>
                  <a:pt x="546" y="598"/>
                </a:lnTo>
                <a:lnTo>
                  <a:pt x="528" y="600"/>
                </a:lnTo>
                <a:lnTo>
                  <a:pt x="544" y="613"/>
                </a:lnTo>
                <a:lnTo>
                  <a:pt x="530" y="613"/>
                </a:lnTo>
                <a:lnTo>
                  <a:pt x="540" y="616"/>
                </a:lnTo>
                <a:lnTo>
                  <a:pt x="530" y="631"/>
                </a:lnTo>
                <a:lnTo>
                  <a:pt x="516" y="628"/>
                </a:lnTo>
                <a:lnTo>
                  <a:pt x="528" y="635"/>
                </a:lnTo>
                <a:lnTo>
                  <a:pt x="507" y="641"/>
                </a:lnTo>
                <a:lnTo>
                  <a:pt x="516" y="661"/>
                </a:lnTo>
                <a:lnTo>
                  <a:pt x="507" y="690"/>
                </a:lnTo>
                <a:lnTo>
                  <a:pt x="492" y="692"/>
                </a:lnTo>
                <a:lnTo>
                  <a:pt x="502" y="702"/>
                </a:lnTo>
                <a:lnTo>
                  <a:pt x="467" y="702"/>
                </a:lnTo>
                <a:lnTo>
                  <a:pt x="462" y="681"/>
                </a:lnTo>
                <a:lnTo>
                  <a:pt x="418" y="685"/>
                </a:lnTo>
                <a:lnTo>
                  <a:pt x="426" y="679"/>
                </a:lnTo>
                <a:lnTo>
                  <a:pt x="403" y="671"/>
                </a:lnTo>
                <a:lnTo>
                  <a:pt x="415" y="668"/>
                </a:lnTo>
                <a:lnTo>
                  <a:pt x="395" y="667"/>
                </a:lnTo>
                <a:lnTo>
                  <a:pt x="403" y="654"/>
                </a:lnTo>
                <a:lnTo>
                  <a:pt x="392" y="657"/>
                </a:lnTo>
                <a:lnTo>
                  <a:pt x="361" y="616"/>
                </a:lnTo>
                <a:lnTo>
                  <a:pt x="360" y="603"/>
                </a:lnTo>
                <a:lnTo>
                  <a:pt x="385" y="592"/>
                </a:lnTo>
                <a:lnTo>
                  <a:pt x="373" y="586"/>
                </a:lnTo>
                <a:lnTo>
                  <a:pt x="350" y="602"/>
                </a:lnTo>
                <a:lnTo>
                  <a:pt x="348" y="572"/>
                </a:lnTo>
                <a:lnTo>
                  <a:pt x="329" y="557"/>
                </a:lnTo>
                <a:lnTo>
                  <a:pt x="334" y="533"/>
                </a:lnTo>
                <a:lnTo>
                  <a:pt x="320" y="523"/>
                </a:lnTo>
                <a:lnTo>
                  <a:pt x="339" y="504"/>
                </a:lnTo>
                <a:lnTo>
                  <a:pt x="329" y="500"/>
                </a:lnTo>
                <a:lnTo>
                  <a:pt x="369" y="500"/>
                </a:lnTo>
                <a:lnTo>
                  <a:pt x="364" y="492"/>
                </a:lnTo>
                <a:lnTo>
                  <a:pt x="336" y="492"/>
                </a:lnTo>
                <a:lnTo>
                  <a:pt x="378" y="475"/>
                </a:lnTo>
                <a:lnTo>
                  <a:pt x="369" y="469"/>
                </a:lnTo>
                <a:lnTo>
                  <a:pt x="378" y="448"/>
                </a:lnTo>
                <a:lnTo>
                  <a:pt x="345" y="447"/>
                </a:lnTo>
                <a:lnTo>
                  <a:pt x="309" y="430"/>
                </a:lnTo>
                <a:lnTo>
                  <a:pt x="373" y="440"/>
                </a:lnTo>
                <a:lnTo>
                  <a:pt x="363" y="432"/>
                </a:lnTo>
                <a:lnTo>
                  <a:pt x="373" y="429"/>
                </a:lnTo>
                <a:lnTo>
                  <a:pt x="347" y="418"/>
                </a:lnTo>
                <a:lnTo>
                  <a:pt x="357" y="410"/>
                </a:lnTo>
                <a:lnTo>
                  <a:pt x="343" y="417"/>
                </a:lnTo>
                <a:lnTo>
                  <a:pt x="353" y="407"/>
                </a:lnTo>
                <a:lnTo>
                  <a:pt x="334" y="410"/>
                </a:lnTo>
                <a:lnTo>
                  <a:pt x="353" y="401"/>
                </a:lnTo>
                <a:lnTo>
                  <a:pt x="325" y="391"/>
                </a:lnTo>
                <a:lnTo>
                  <a:pt x="318" y="407"/>
                </a:lnTo>
                <a:lnTo>
                  <a:pt x="294" y="410"/>
                </a:lnTo>
                <a:lnTo>
                  <a:pt x="289" y="401"/>
                </a:lnTo>
                <a:lnTo>
                  <a:pt x="304" y="392"/>
                </a:lnTo>
                <a:lnTo>
                  <a:pt x="292" y="391"/>
                </a:lnTo>
                <a:lnTo>
                  <a:pt x="309" y="366"/>
                </a:lnTo>
                <a:lnTo>
                  <a:pt x="290" y="360"/>
                </a:lnTo>
                <a:lnTo>
                  <a:pt x="299" y="349"/>
                </a:lnTo>
                <a:lnTo>
                  <a:pt x="271" y="318"/>
                </a:lnTo>
                <a:lnTo>
                  <a:pt x="280" y="317"/>
                </a:lnTo>
                <a:lnTo>
                  <a:pt x="241" y="289"/>
                </a:lnTo>
                <a:lnTo>
                  <a:pt x="241" y="277"/>
                </a:lnTo>
                <a:lnTo>
                  <a:pt x="201" y="265"/>
                </a:lnTo>
                <a:lnTo>
                  <a:pt x="163" y="259"/>
                </a:lnTo>
                <a:lnTo>
                  <a:pt x="127" y="268"/>
                </a:lnTo>
                <a:lnTo>
                  <a:pt x="101" y="262"/>
                </a:lnTo>
                <a:lnTo>
                  <a:pt x="111" y="274"/>
                </a:lnTo>
                <a:lnTo>
                  <a:pt x="79" y="268"/>
                </a:lnTo>
                <a:lnTo>
                  <a:pt x="57" y="256"/>
                </a:lnTo>
                <a:lnTo>
                  <a:pt x="79" y="247"/>
                </a:lnTo>
                <a:lnTo>
                  <a:pt x="25" y="238"/>
                </a:lnTo>
                <a:lnTo>
                  <a:pt x="44" y="229"/>
                </a:lnTo>
                <a:lnTo>
                  <a:pt x="112" y="232"/>
                </a:lnTo>
                <a:lnTo>
                  <a:pt x="122" y="227"/>
                </a:lnTo>
                <a:lnTo>
                  <a:pt x="109" y="222"/>
                </a:lnTo>
                <a:lnTo>
                  <a:pt x="121" y="217"/>
                </a:lnTo>
                <a:lnTo>
                  <a:pt x="61" y="220"/>
                </a:lnTo>
                <a:lnTo>
                  <a:pt x="0" y="19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0" name="Freeform 92"/>
          <p:cNvSpPr>
            <a:spLocks/>
          </p:cNvSpPr>
          <p:nvPr/>
        </p:nvSpPr>
        <p:spPr bwMode="auto">
          <a:xfrm>
            <a:off x="2106613" y="4030663"/>
            <a:ext cx="93662" cy="96837"/>
          </a:xfrm>
          <a:custGeom>
            <a:avLst/>
            <a:gdLst>
              <a:gd name="T0" fmla="*/ 0 w 68"/>
              <a:gd name="T1" fmla="*/ 2147483647 h 67"/>
              <a:gd name="T2" fmla="*/ 2147483647 w 68"/>
              <a:gd name="T3" fmla="*/ 2147483647 h 67"/>
              <a:gd name="T4" fmla="*/ 2147483647 w 68"/>
              <a:gd name="T5" fmla="*/ 2147483647 h 67"/>
              <a:gd name="T6" fmla="*/ 2147483647 w 68"/>
              <a:gd name="T7" fmla="*/ 2147483647 h 67"/>
              <a:gd name="T8" fmla="*/ 2147483647 w 68"/>
              <a:gd name="T9" fmla="*/ 0 h 67"/>
              <a:gd name="T10" fmla="*/ 2147483647 w 68"/>
              <a:gd name="T11" fmla="*/ 2147483647 h 67"/>
              <a:gd name="T12" fmla="*/ 2147483647 w 68"/>
              <a:gd name="T13" fmla="*/ 2147483647 h 67"/>
              <a:gd name="T14" fmla="*/ 2147483647 w 68"/>
              <a:gd name="T15" fmla="*/ 2147483647 h 67"/>
              <a:gd name="T16" fmla="*/ 2147483647 w 68"/>
              <a:gd name="T17" fmla="*/ 2147483647 h 67"/>
              <a:gd name="T18" fmla="*/ 0 w 68"/>
              <a:gd name="T19" fmla="*/ 2147483647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8"/>
              <a:gd name="T31" fmla="*/ 0 h 67"/>
              <a:gd name="T32" fmla="*/ 68 w 68"/>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8" h="67">
                <a:moveTo>
                  <a:pt x="0" y="52"/>
                </a:moveTo>
                <a:lnTo>
                  <a:pt x="12" y="29"/>
                </a:lnTo>
                <a:lnTo>
                  <a:pt x="30" y="28"/>
                </a:lnTo>
                <a:lnTo>
                  <a:pt x="12" y="8"/>
                </a:lnTo>
                <a:lnTo>
                  <a:pt x="53" y="0"/>
                </a:lnTo>
                <a:lnTo>
                  <a:pt x="57" y="31"/>
                </a:lnTo>
                <a:lnTo>
                  <a:pt x="67" y="34"/>
                </a:lnTo>
                <a:lnTo>
                  <a:pt x="47" y="54"/>
                </a:lnTo>
                <a:lnTo>
                  <a:pt x="37" y="66"/>
                </a:lnTo>
                <a:lnTo>
                  <a:pt x="0" y="5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1" name="Freeform 93"/>
          <p:cNvSpPr>
            <a:spLocks/>
          </p:cNvSpPr>
          <p:nvPr/>
        </p:nvSpPr>
        <p:spPr bwMode="auto">
          <a:xfrm>
            <a:off x="3892550" y="4149725"/>
            <a:ext cx="171450" cy="127000"/>
          </a:xfrm>
          <a:custGeom>
            <a:avLst/>
            <a:gdLst>
              <a:gd name="T0" fmla="*/ 0 w 124"/>
              <a:gd name="T1" fmla="*/ 2147483647 h 87"/>
              <a:gd name="T2" fmla="*/ 2147483647 w 124"/>
              <a:gd name="T3" fmla="*/ 2147483647 h 87"/>
              <a:gd name="T4" fmla="*/ 2147483647 w 124"/>
              <a:gd name="T5" fmla="*/ 0 h 87"/>
              <a:gd name="T6" fmla="*/ 2147483647 w 124"/>
              <a:gd name="T7" fmla="*/ 2147483647 h 87"/>
              <a:gd name="T8" fmla="*/ 2147483647 w 124"/>
              <a:gd name="T9" fmla="*/ 2147483647 h 87"/>
              <a:gd name="T10" fmla="*/ 2147483647 w 124"/>
              <a:gd name="T11" fmla="*/ 2147483647 h 87"/>
              <a:gd name="T12" fmla="*/ 2147483647 w 124"/>
              <a:gd name="T13" fmla="*/ 2147483647 h 87"/>
              <a:gd name="T14" fmla="*/ 2147483647 w 124"/>
              <a:gd name="T15" fmla="*/ 2147483647 h 87"/>
              <a:gd name="T16" fmla="*/ 2147483647 w 124"/>
              <a:gd name="T17" fmla="*/ 2147483647 h 87"/>
              <a:gd name="T18" fmla="*/ 2147483647 w 124"/>
              <a:gd name="T19" fmla="*/ 2147483647 h 87"/>
              <a:gd name="T20" fmla="*/ 2147483647 w 124"/>
              <a:gd name="T21" fmla="*/ 2147483647 h 87"/>
              <a:gd name="T22" fmla="*/ 2147483647 w 124"/>
              <a:gd name="T23" fmla="*/ 2147483647 h 87"/>
              <a:gd name="T24" fmla="*/ 2147483647 w 124"/>
              <a:gd name="T25" fmla="*/ 2147483647 h 87"/>
              <a:gd name="T26" fmla="*/ 2147483647 w 124"/>
              <a:gd name="T27" fmla="*/ 2147483647 h 87"/>
              <a:gd name="T28" fmla="*/ 2147483647 w 124"/>
              <a:gd name="T29" fmla="*/ 2147483647 h 87"/>
              <a:gd name="T30" fmla="*/ 0 w 124"/>
              <a:gd name="T31" fmla="*/ 2147483647 h 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87"/>
              <a:gd name="T50" fmla="*/ 124 w 124"/>
              <a:gd name="T51" fmla="*/ 87 h 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87">
                <a:moveTo>
                  <a:pt x="0" y="28"/>
                </a:moveTo>
                <a:lnTo>
                  <a:pt x="22" y="16"/>
                </a:lnTo>
                <a:lnTo>
                  <a:pt x="22" y="0"/>
                </a:lnTo>
                <a:lnTo>
                  <a:pt x="62" y="5"/>
                </a:lnTo>
                <a:lnTo>
                  <a:pt x="74" y="12"/>
                </a:lnTo>
                <a:lnTo>
                  <a:pt x="100" y="3"/>
                </a:lnTo>
                <a:lnTo>
                  <a:pt x="118" y="40"/>
                </a:lnTo>
                <a:lnTo>
                  <a:pt x="123" y="71"/>
                </a:lnTo>
                <a:lnTo>
                  <a:pt x="114" y="67"/>
                </a:lnTo>
                <a:lnTo>
                  <a:pt x="109" y="83"/>
                </a:lnTo>
                <a:lnTo>
                  <a:pt x="93" y="86"/>
                </a:lnTo>
                <a:lnTo>
                  <a:pt x="92" y="71"/>
                </a:lnTo>
                <a:lnTo>
                  <a:pt x="79" y="69"/>
                </a:lnTo>
                <a:lnTo>
                  <a:pt x="64" y="44"/>
                </a:lnTo>
                <a:lnTo>
                  <a:pt x="30" y="58"/>
                </a:lnTo>
                <a:lnTo>
                  <a:pt x="0" y="2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2" name="Freeform 94"/>
          <p:cNvSpPr>
            <a:spLocks/>
          </p:cNvSpPr>
          <p:nvPr/>
        </p:nvSpPr>
        <p:spPr bwMode="auto">
          <a:xfrm>
            <a:off x="2824163" y="4252913"/>
            <a:ext cx="111125" cy="158750"/>
          </a:xfrm>
          <a:custGeom>
            <a:avLst/>
            <a:gdLst>
              <a:gd name="T0" fmla="*/ 0 w 81"/>
              <a:gd name="T1" fmla="*/ 2147483647 h 109"/>
              <a:gd name="T2" fmla="*/ 2147483647 w 81"/>
              <a:gd name="T3" fmla="*/ 2147483647 h 109"/>
              <a:gd name="T4" fmla="*/ 2147483647 w 81"/>
              <a:gd name="T5" fmla="*/ 2147483647 h 109"/>
              <a:gd name="T6" fmla="*/ 2147483647 w 81"/>
              <a:gd name="T7" fmla="*/ 2147483647 h 109"/>
              <a:gd name="T8" fmla="*/ 2147483647 w 81"/>
              <a:gd name="T9" fmla="*/ 2147483647 h 109"/>
              <a:gd name="T10" fmla="*/ 2147483647 w 81"/>
              <a:gd name="T11" fmla="*/ 2147483647 h 109"/>
              <a:gd name="T12" fmla="*/ 2147483647 w 81"/>
              <a:gd name="T13" fmla="*/ 2147483647 h 109"/>
              <a:gd name="T14" fmla="*/ 2147483647 w 81"/>
              <a:gd name="T15" fmla="*/ 2147483647 h 109"/>
              <a:gd name="T16" fmla="*/ 2147483647 w 81"/>
              <a:gd name="T17" fmla="*/ 0 h 109"/>
              <a:gd name="T18" fmla="*/ 2147483647 w 81"/>
              <a:gd name="T19" fmla="*/ 2147483647 h 109"/>
              <a:gd name="T20" fmla="*/ 2147483647 w 81"/>
              <a:gd name="T21" fmla="*/ 2147483647 h 109"/>
              <a:gd name="T22" fmla="*/ 0 w 81"/>
              <a:gd name="T23" fmla="*/ 2147483647 h 10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1"/>
              <a:gd name="T37" fmla="*/ 0 h 109"/>
              <a:gd name="T38" fmla="*/ 81 w 81"/>
              <a:gd name="T39" fmla="*/ 109 h 10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1" h="109">
                <a:moveTo>
                  <a:pt x="0" y="35"/>
                </a:moveTo>
                <a:lnTo>
                  <a:pt x="11" y="49"/>
                </a:lnTo>
                <a:lnTo>
                  <a:pt x="27" y="61"/>
                </a:lnTo>
                <a:lnTo>
                  <a:pt x="23" y="92"/>
                </a:lnTo>
                <a:lnTo>
                  <a:pt x="32" y="108"/>
                </a:lnTo>
                <a:lnTo>
                  <a:pt x="80" y="101"/>
                </a:lnTo>
                <a:lnTo>
                  <a:pt x="52" y="68"/>
                </a:lnTo>
                <a:lnTo>
                  <a:pt x="71" y="40"/>
                </a:lnTo>
                <a:lnTo>
                  <a:pt x="23" y="0"/>
                </a:lnTo>
                <a:lnTo>
                  <a:pt x="9" y="9"/>
                </a:lnTo>
                <a:lnTo>
                  <a:pt x="12" y="20"/>
                </a:lnTo>
                <a:lnTo>
                  <a:pt x="0" y="3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3" name="Freeform 95"/>
          <p:cNvSpPr>
            <a:spLocks/>
          </p:cNvSpPr>
          <p:nvPr/>
        </p:nvSpPr>
        <p:spPr bwMode="auto">
          <a:xfrm>
            <a:off x="2517775" y="3983038"/>
            <a:ext cx="61913" cy="47625"/>
          </a:xfrm>
          <a:custGeom>
            <a:avLst/>
            <a:gdLst>
              <a:gd name="T0" fmla="*/ 0 w 46"/>
              <a:gd name="T1" fmla="*/ 2147483647 h 32"/>
              <a:gd name="T2" fmla="*/ 2147483647 w 46"/>
              <a:gd name="T3" fmla="*/ 2147483647 h 32"/>
              <a:gd name="T4" fmla="*/ 2147483647 w 46"/>
              <a:gd name="T5" fmla="*/ 2147483647 h 32"/>
              <a:gd name="T6" fmla="*/ 2147483647 w 46"/>
              <a:gd name="T7" fmla="*/ 0 h 32"/>
              <a:gd name="T8" fmla="*/ 2147483647 w 46"/>
              <a:gd name="T9" fmla="*/ 2147483647 h 32"/>
              <a:gd name="T10" fmla="*/ 0 w 46"/>
              <a:gd name="T11" fmla="*/ 2147483647 h 32"/>
              <a:gd name="T12" fmla="*/ 0 60000 65536"/>
              <a:gd name="T13" fmla="*/ 0 60000 65536"/>
              <a:gd name="T14" fmla="*/ 0 60000 65536"/>
              <a:gd name="T15" fmla="*/ 0 60000 65536"/>
              <a:gd name="T16" fmla="*/ 0 60000 65536"/>
              <a:gd name="T17" fmla="*/ 0 60000 65536"/>
              <a:gd name="T18" fmla="*/ 0 w 46"/>
              <a:gd name="T19" fmla="*/ 0 h 32"/>
              <a:gd name="T20" fmla="*/ 46 w 46"/>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46" h="32">
                <a:moveTo>
                  <a:pt x="0" y="23"/>
                </a:moveTo>
                <a:lnTo>
                  <a:pt x="34" y="21"/>
                </a:lnTo>
                <a:lnTo>
                  <a:pt x="18" y="1"/>
                </a:lnTo>
                <a:lnTo>
                  <a:pt x="45" y="0"/>
                </a:lnTo>
                <a:lnTo>
                  <a:pt x="45" y="31"/>
                </a:lnTo>
                <a:lnTo>
                  <a:pt x="0" y="2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4" name="Freeform 96"/>
          <p:cNvSpPr>
            <a:spLocks/>
          </p:cNvSpPr>
          <p:nvPr/>
        </p:nvSpPr>
        <p:spPr bwMode="auto">
          <a:xfrm>
            <a:off x="2170113" y="4075113"/>
            <a:ext cx="144462" cy="69850"/>
          </a:xfrm>
          <a:custGeom>
            <a:avLst/>
            <a:gdLst>
              <a:gd name="T0" fmla="*/ 0 w 105"/>
              <a:gd name="T1" fmla="*/ 2147483647 h 48"/>
              <a:gd name="T2" fmla="*/ 2147483647 w 105"/>
              <a:gd name="T3" fmla="*/ 2147483647 h 48"/>
              <a:gd name="T4" fmla="*/ 2147483647 w 105"/>
              <a:gd name="T5" fmla="*/ 0 h 48"/>
              <a:gd name="T6" fmla="*/ 2147483647 w 105"/>
              <a:gd name="T7" fmla="*/ 2147483647 h 48"/>
              <a:gd name="T8" fmla="*/ 2147483647 w 105"/>
              <a:gd name="T9" fmla="*/ 2147483647 h 48"/>
              <a:gd name="T10" fmla="*/ 2147483647 w 105"/>
              <a:gd name="T11" fmla="*/ 2147483647 h 48"/>
              <a:gd name="T12" fmla="*/ 2147483647 w 105"/>
              <a:gd name="T13" fmla="*/ 2147483647 h 48"/>
              <a:gd name="T14" fmla="*/ 0 w 105"/>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48"/>
              <a:gd name="T26" fmla="*/ 105 w 105"/>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48">
                <a:moveTo>
                  <a:pt x="0" y="23"/>
                </a:moveTo>
                <a:lnTo>
                  <a:pt x="20" y="2"/>
                </a:lnTo>
                <a:lnTo>
                  <a:pt x="74" y="0"/>
                </a:lnTo>
                <a:lnTo>
                  <a:pt x="104" y="15"/>
                </a:lnTo>
                <a:lnTo>
                  <a:pt x="78" y="18"/>
                </a:lnTo>
                <a:lnTo>
                  <a:pt x="36" y="47"/>
                </a:lnTo>
                <a:lnTo>
                  <a:pt x="28" y="40"/>
                </a:lnTo>
                <a:lnTo>
                  <a:pt x="0" y="2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5" name="Freeform 97"/>
          <p:cNvSpPr>
            <a:spLocks/>
          </p:cNvSpPr>
          <p:nvPr/>
        </p:nvSpPr>
        <p:spPr bwMode="auto">
          <a:xfrm>
            <a:off x="4610100" y="3233738"/>
            <a:ext cx="158750" cy="80962"/>
          </a:xfrm>
          <a:custGeom>
            <a:avLst/>
            <a:gdLst>
              <a:gd name="T0" fmla="*/ 0 w 115"/>
              <a:gd name="T1" fmla="*/ 2147483647 h 56"/>
              <a:gd name="T2" fmla="*/ 2147483647 w 115"/>
              <a:gd name="T3" fmla="*/ 2147483647 h 56"/>
              <a:gd name="T4" fmla="*/ 2147483647 w 115"/>
              <a:gd name="T5" fmla="*/ 2147483647 h 56"/>
              <a:gd name="T6" fmla="*/ 2147483647 w 115"/>
              <a:gd name="T7" fmla="*/ 0 h 56"/>
              <a:gd name="T8" fmla="*/ 2147483647 w 115"/>
              <a:gd name="T9" fmla="*/ 2147483647 h 56"/>
              <a:gd name="T10" fmla="*/ 2147483647 w 115"/>
              <a:gd name="T11" fmla="*/ 2147483647 h 56"/>
              <a:gd name="T12" fmla="*/ 2147483647 w 115"/>
              <a:gd name="T13" fmla="*/ 2147483647 h 56"/>
              <a:gd name="T14" fmla="*/ 2147483647 w 115"/>
              <a:gd name="T15" fmla="*/ 2147483647 h 56"/>
              <a:gd name="T16" fmla="*/ 0 w 115"/>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5"/>
              <a:gd name="T28" fmla="*/ 0 h 56"/>
              <a:gd name="T29" fmla="*/ 115 w 115"/>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5" h="56">
                <a:moveTo>
                  <a:pt x="0" y="33"/>
                </a:moveTo>
                <a:lnTo>
                  <a:pt x="19" y="9"/>
                </a:lnTo>
                <a:lnTo>
                  <a:pt x="42" y="14"/>
                </a:lnTo>
                <a:lnTo>
                  <a:pt x="79" y="0"/>
                </a:lnTo>
                <a:lnTo>
                  <a:pt x="102" y="2"/>
                </a:lnTo>
                <a:lnTo>
                  <a:pt x="114" y="12"/>
                </a:lnTo>
                <a:lnTo>
                  <a:pt x="69" y="48"/>
                </a:lnTo>
                <a:lnTo>
                  <a:pt x="32" y="55"/>
                </a:lnTo>
                <a:lnTo>
                  <a:pt x="0" y="3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6" name="Freeform 98"/>
          <p:cNvSpPr>
            <a:spLocks/>
          </p:cNvSpPr>
          <p:nvPr/>
        </p:nvSpPr>
        <p:spPr bwMode="auto">
          <a:xfrm>
            <a:off x="3673475" y="2633663"/>
            <a:ext cx="255588" cy="119062"/>
          </a:xfrm>
          <a:custGeom>
            <a:avLst/>
            <a:gdLst>
              <a:gd name="T0" fmla="*/ 0 w 186"/>
              <a:gd name="T1" fmla="*/ 2147483647 h 81"/>
              <a:gd name="T2" fmla="*/ 2147483647 w 186"/>
              <a:gd name="T3" fmla="*/ 2147483647 h 81"/>
              <a:gd name="T4" fmla="*/ 2147483647 w 186"/>
              <a:gd name="T5" fmla="*/ 2147483647 h 81"/>
              <a:gd name="T6" fmla="*/ 2147483647 w 186"/>
              <a:gd name="T7" fmla="*/ 2147483647 h 81"/>
              <a:gd name="T8" fmla="*/ 2147483647 w 186"/>
              <a:gd name="T9" fmla="*/ 2147483647 h 81"/>
              <a:gd name="T10" fmla="*/ 2147483647 w 186"/>
              <a:gd name="T11" fmla="*/ 2147483647 h 81"/>
              <a:gd name="T12" fmla="*/ 2147483647 w 186"/>
              <a:gd name="T13" fmla="*/ 0 h 81"/>
              <a:gd name="T14" fmla="*/ 2147483647 w 186"/>
              <a:gd name="T15" fmla="*/ 2147483647 h 81"/>
              <a:gd name="T16" fmla="*/ 2147483647 w 186"/>
              <a:gd name="T17" fmla="*/ 2147483647 h 81"/>
              <a:gd name="T18" fmla="*/ 2147483647 w 186"/>
              <a:gd name="T19" fmla="*/ 2147483647 h 81"/>
              <a:gd name="T20" fmla="*/ 2147483647 w 186"/>
              <a:gd name="T21" fmla="*/ 2147483647 h 81"/>
              <a:gd name="T22" fmla="*/ 2147483647 w 186"/>
              <a:gd name="T23" fmla="*/ 2147483647 h 81"/>
              <a:gd name="T24" fmla="*/ 2147483647 w 186"/>
              <a:gd name="T25" fmla="*/ 2147483647 h 81"/>
              <a:gd name="T26" fmla="*/ 2147483647 w 186"/>
              <a:gd name="T27" fmla="*/ 2147483647 h 81"/>
              <a:gd name="T28" fmla="*/ 2147483647 w 186"/>
              <a:gd name="T29" fmla="*/ 2147483647 h 81"/>
              <a:gd name="T30" fmla="*/ 2147483647 w 186"/>
              <a:gd name="T31" fmla="*/ 0 h 81"/>
              <a:gd name="T32" fmla="*/ 2147483647 w 186"/>
              <a:gd name="T33" fmla="*/ 2147483647 h 81"/>
              <a:gd name="T34" fmla="*/ 2147483647 w 186"/>
              <a:gd name="T35" fmla="*/ 2147483647 h 81"/>
              <a:gd name="T36" fmla="*/ 2147483647 w 186"/>
              <a:gd name="T37" fmla="*/ 2147483647 h 81"/>
              <a:gd name="T38" fmla="*/ 2147483647 w 186"/>
              <a:gd name="T39" fmla="*/ 2147483647 h 81"/>
              <a:gd name="T40" fmla="*/ 2147483647 w 186"/>
              <a:gd name="T41" fmla="*/ 2147483647 h 81"/>
              <a:gd name="T42" fmla="*/ 2147483647 w 186"/>
              <a:gd name="T43" fmla="*/ 2147483647 h 81"/>
              <a:gd name="T44" fmla="*/ 2147483647 w 186"/>
              <a:gd name="T45" fmla="*/ 2147483647 h 81"/>
              <a:gd name="T46" fmla="*/ 2147483647 w 186"/>
              <a:gd name="T47" fmla="*/ 2147483647 h 81"/>
              <a:gd name="T48" fmla="*/ 2147483647 w 186"/>
              <a:gd name="T49" fmla="*/ 2147483647 h 81"/>
              <a:gd name="T50" fmla="*/ 2147483647 w 186"/>
              <a:gd name="T51" fmla="*/ 2147483647 h 81"/>
              <a:gd name="T52" fmla="*/ 2147483647 w 186"/>
              <a:gd name="T53" fmla="*/ 2147483647 h 81"/>
              <a:gd name="T54" fmla="*/ 2147483647 w 186"/>
              <a:gd name="T55" fmla="*/ 2147483647 h 81"/>
              <a:gd name="T56" fmla="*/ 0 w 186"/>
              <a:gd name="T57" fmla="*/ 2147483647 h 8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6"/>
              <a:gd name="T88" fmla="*/ 0 h 81"/>
              <a:gd name="T89" fmla="*/ 186 w 186"/>
              <a:gd name="T90" fmla="*/ 81 h 8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6" h="81">
                <a:moveTo>
                  <a:pt x="0" y="28"/>
                </a:moveTo>
                <a:lnTo>
                  <a:pt x="12" y="24"/>
                </a:lnTo>
                <a:lnTo>
                  <a:pt x="5" y="17"/>
                </a:lnTo>
                <a:lnTo>
                  <a:pt x="21" y="21"/>
                </a:lnTo>
                <a:lnTo>
                  <a:pt x="14" y="9"/>
                </a:lnTo>
                <a:lnTo>
                  <a:pt x="31" y="17"/>
                </a:lnTo>
                <a:lnTo>
                  <a:pt x="23" y="0"/>
                </a:lnTo>
                <a:lnTo>
                  <a:pt x="52" y="14"/>
                </a:lnTo>
                <a:lnTo>
                  <a:pt x="56" y="32"/>
                </a:lnTo>
                <a:lnTo>
                  <a:pt x="69" y="12"/>
                </a:lnTo>
                <a:lnTo>
                  <a:pt x="84" y="20"/>
                </a:lnTo>
                <a:lnTo>
                  <a:pt x="97" y="8"/>
                </a:lnTo>
                <a:lnTo>
                  <a:pt x="106" y="23"/>
                </a:lnTo>
                <a:lnTo>
                  <a:pt x="105" y="9"/>
                </a:lnTo>
                <a:lnTo>
                  <a:pt x="134" y="9"/>
                </a:lnTo>
                <a:lnTo>
                  <a:pt x="138" y="0"/>
                </a:lnTo>
                <a:lnTo>
                  <a:pt x="150" y="8"/>
                </a:lnTo>
                <a:lnTo>
                  <a:pt x="167" y="5"/>
                </a:lnTo>
                <a:lnTo>
                  <a:pt x="157" y="12"/>
                </a:lnTo>
                <a:lnTo>
                  <a:pt x="185" y="36"/>
                </a:lnTo>
                <a:lnTo>
                  <a:pt x="162" y="58"/>
                </a:lnTo>
                <a:lnTo>
                  <a:pt x="91" y="80"/>
                </a:lnTo>
                <a:lnTo>
                  <a:pt x="30" y="70"/>
                </a:lnTo>
                <a:lnTo>
                  <a:pt x="44" y="49"/>
                </a:lnTo>
                <a:lnTo>
                  <a:pt x="10" y="42"/>
                </a:lnTo>
                <a:lnTo>
                  <a:pt x="43" y="38"/>
                </a:lnTo>
                <a:lnTo>
                  <a:pt x="33" y="34"/>
                </a:lnTo>
                <a:lnTo>
                  <a:pt x="43" y="28"/>
                </a:lnTo>
                <a:lnTo>
                  <a:pt x="0" y="2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7" name="Freeform 99"/>
          <p:cNvSpPr>
            <a:spLocks/>
          </p:cNvSpPr>
          <p:nvPr/>
        </p:nvSpPr>
        <p:spPr bwMode="auto">
          <a:xfrm>
            <a:off x="5811838" y="3578225"/>
            <a:ext cx="681037" cy="679450"/>
          </a:xfrm>
          <a:custGeom>
            <a:avLst/>
            <a:gdLst>
              <a:gd name="T0" fmla="*/ 0 w 494"/>
              <a:gd name="T1" fmla="*/ 2147483647 h 465"/>
              <a:gd name="T2" fmla="*/ 2147483647 w 494"/>
              <a:gd name="T3" fmla="*/ 2147483647 h 465"/>
              <a:gd name="T4" fmla="*/ 2147483647 w 494"/>
              <a:gd name="T5" fmla="*/ 2147483647 h 465"/>
              <a:gd name="T6" fmla="*/ 2147483647 w 494"/>
              <a:gd name="T7" fmla="*/ 2147483647 h 465"/>
              <a:gd name="T8" fmla="*/ 2147483647 w 494"/>
              <a:gd name="T9" fmla="*/ 2147483647 h 465"/>
              <a:gd name="T10" fmla="*/ 2147483647 w 494"/>
              <a:gd name="T11" fmla="*/ 2147483647 h 465"/>
              <a:gd name="T12" fmla="*/ 2147483647 w 494"/>
              <a:gd name="T13" fmla="*/ 2147483647 h 465"/>
              <a:gd name="T14" fmla="*/ 2147483647 w 494"/>
              <a:gd name="T15" fmla="*/ 2147483647 h 465"/>
              <a:gd name="T16" fmla="*/ 2147483647 w 494"/>
              <a:gd name="T17" fmla="*/ 2147483647 h 465"/>
              <a:gd name="T18" fmla="*/ 2147483647 w 494"/>
              <a:gd name="T19" fmla="*/ 2147483647 h 465"/>
              <a:gd name="T20" fmla="*/ 2147483647 w 494"/>
              <a:gd name="T21" fmla="*/ 2147483647 h 465"/>
              <a:gd name="T22" fmla="*/ 2147483647 w 494"/>
              <a:gd name="T23" fmla="*/ 2147483647 h 465"/>
              <a:gd name="T24" fmla="*/ 2147483647 w 494"/>
              <a:gd name="T25" fmla="*/ 2147483647 h 465"/>
              <a:gd name="T26" fmla="*/ 2147483647 w 494"/>
              <a:gd name="T27" fmla="*/ 0 h 465"/>
              <a:gd name="T28" fmla="*/ 2147483647 w 494"/>
              <a:gd name="T29" fmla="*/ 2147483647 h 465"/>
              <a:gd name="T30" fmla="*/ 2147483647 w 494"/>
              <a:gd name="T31" fmla="*/ 2147483647 h 465"/>
              <a:gd name="T32" fmla="*/ 2147483647 w 494"/>
              <a:gd name="T33" fmla="*/ 2147483647 h 465"/>
              <a:gd name="T34" fmla="*/ 2147483647 w 494"/>
              <a:gd name="T35" fmla="*/ 2147483647 h 465"/>
              <a:gd name="T36" fmla="*/ 2147483647 w 494"/>
              <a:gd name="T37" fmla="*/ 2147483647 h 465"/>
              <a:gd name="T38" fmla="*/ 2147483647 w 494"/>
              <a:gd name="T39" fmla="*/ 2147483647 h 465"/>
              <a:gd name="T40" fmla="*/ 2147483647 w 494"/>
              <a:gd name="T41" fmla="*/ 2147483647 h 465"/>
              <a:gd name="T42" fmla="*/ 2147483647 w 494"/>
              <a:gd name="T43" fmla="*/ 2147483647 h 465"/>
              <a:gd name="T44" fmla="*/ 2147483647 w 494"/>
              <a:gd name="T45" fmla="*/ 2147483647 h 465"/>
              <a:gd name="T46" fmla="*/ 2147483647 w 494"/>
              <a:gd name="T47" fmla="*/ 2147483647 h 465"/>
              <a:gd name="T48" fmla="*/ 2147483647 w 494"/>
              <a:gd name="T49" fmla="*/ 2147483647 h 465"/>
              <a:gd name="T50" fmla="*/ 2147483647 w 494"/>
              <a:gd name="T51" fmla="*/ 2147483647 h 465"/>
              <a:gd name="T52" fmla="*/ 2147483647 w 494"/>
              <a:gd name="T53" fmla="*/ 2147483647 h 465"/>
              <a:gd name="T54" fmla="*/ 2147483647 w 494"/>
              <a:gd name="T55" fmla="*/ 2147483647 h 465"/>
              <a:gd name="T56" fmla="*/ 2147483647 w 494"/>
              <a:gd name="T57" fmla="*/ 2147483647 h 465"/>
              <a:gd name="T58" fmla="*/ 2147483647 w 494"/>
              <a:gd name="T59" fmla="*/ 2147483647 h 465"/>
              <a:gd name="T60" fmla="*/ 2147483647 w 494"/>
              <a:gd name="T61" fmla="*/ 2147483647 h 465"/>
              <a:gd name="T62" fmla="*/ 2147483647 w 494"/>
              <a:gd name="T63" fmla="*/ 2147483647 h 465"/>
              <a:gd name="T64" fmla="*/ 2147483647 w 494"/>
              <a:gd name="T65" fmla="*/ 2147483647 h 465"/>
              <a:gd name="T66" fmla="*/ 2147483647 w 494"/>
              <a:gd name="T67" fmla="*/ 2147483647 h 465"/>
              <a:gd name="T68" fmla="*/ 2147483647 w 494"/>
              <a:gd name="T69" fmla="*/ 2147483647 h 465"/>
              <a:gd name="T70" fmla="*/ 2147483647 w 494"/>
              <a:gd name="T71" fmla="*/ 2147483647 h 465"/>
              <a:gd name="T72" fmla="*/ 2147483647 w 494"/>
              <a:gd name="T73" fmla="*/ 2147483647 h 465"/>
              <a:gd name="T74" fmla="*/ 2147483647 w 494"/>
              <a:gd name="T75" fmla="*/ 2147483647 h 465"/>
              <a:gd name="T76" fmla="*/ 2147483647 w 494"/>
              <a:gd name="T77" fmla="*/ 2147483647 h 465"/>
              <a:gd name="T78" fmla="*/ 2147483647 w 494"/>
              <a:gd name="T79" fmla="*/ 2147483647 h 465"/>
              <a:gd name="T80" fmla="*/ 2147483647 w 494"/>
              <a:gd name="T81" fmla="*/ 2147483647 h 465"/>
              <a:gd name="T82" fmla="*/ 2147483647 w 494"/>
              <a:gd name="T83" fmla="*/ 2147483647 h 465"/>
              <a:gd name="T84" fmla="*/ 2147483647 w 494"/>
              <a:gd name="T85" fmla="*/ 2147483647 h 465"/>
              <a:gd name="T86" fmla="*/ 2147483647 w 494"/>
              <a:gd name="T87" fmla="*/ 2147483647 h 465"/>
              <a:gd name="T88" fmla="*/ 2147483647 w 494"/>
              <a:gd name="T89" fmla="*/ 2147483647 h 465"/>
              <a:gd name="T90" fmla="*/ 2147483647 w 494"/>
              <a:gd name="T91" fmla="*/ 2147483647 h 465"/>
              <a:gd name="T92" fmla="*/ 2147483647 w 494"/>
              <a:gd name="T93" fmla="*/ 2147483647 h 465"/>
              <a:gd name="T94" fmla="*/ 2147483647 w 494"/>
              <a:gd name="T95" fmla="*/ 2147483647 h 465"/>
              <a:gd name="T96" fmla="*/ 2147483647 w 494"/>
              <a:gd name="T97" fmla="*/ 2147483647 h 465"/>
              <a:gd name="T98" fmla="*/ 2147483647 w 494"/>
              <a:gd name="T99" fmla="*/ 2147483647 h 465"/>
              <a:gd name="T100" fmla="*/ 2147483647 w 494"/>
              <a:gd name="T101" fmla="*/ 2147483647 h 465"/>
              <a:gd name="T102" fmla="*/ 2147483647 w 494"/>
              <a:gd name="T103" fmla="*/ 2147483647 h 465"/>
              <a:gd name="T104" fmla="*/ 2147483647 w 494"/>
              <a:gd name="T105" fmla="*/ 2147483647 h 465"/>
              <a:gd name="T106" fmla="*/ 2147483647 w 494"/>
              <a:gd name="T107" fmla="*/ 2147483647 h 465"/>
              <a:gd name="T108" fmla="*/ 2147483647 w 494"/>
              <a:gd name="T109" fmla="*/ 2147483647 h 465"/>
              <a:gd name="T110" fmla="*/ 2147483647 w 494"/>
              <a:gd name="T111" fmla="*/ 2147483647 h 465"/>
              <a:gd name="T112" fmla="*/ 2147483647 w 494"/>
              <a:gd name="T113" fmla="*/ 2147483647 h 465"/>
              <a:gd name="T114" fmla="*/ 2147483647 w 494"/>
              <a:gd name="T115" fmla="*/ 2147483647 h 465"/>
              <a:gd name="T116" fmla="*/ 2147483647 w 494"/>
              <a:gd name="T117" fmla="*/ 2147483647 h 465"/>
              <a:gd name="T118" fmla="*/ 2147483647 w 494"/>
              <a:gd name="T119" fmla="*/ 2147483647 h 465"/>
              <a:gd name="T120" fmla="*/ 2147483647 w 494"/>
              <a:gd name="T121" fmla="*/ 2147483647 h 465"/>
              <a:gd name="T122" fmla="*/ 0 w 494"/>
              <a:gd name="T123" fmla="*/ 2147483647 h 46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94"/>
              <a:gd name="T187" fmla="*/ 0 h 465"/>
              <a:gd name="T188" fmla="*/ 494 w 494"/>
              <a:gd name="T189" fmla="*/ 465 h 46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94" h="465">
                <a:moveTo>
                  <a:pt x="0" y="212"/>
                </a:moveTo>
                <a:lnTo>
                  <a:pt x="14" y="201"/>
                </a:lnTo>
                <a:lnTo>
                  <a:pt x="51" y="201"/>
                </a:lnTo>
                <a:lnTo>
                  <a:pt x="26" y="154"/>
                </a:lnTo>
                <a:lnTo>
                  <a:pt x="41" y="141"/>
                </a:lnTo>
                <a:lnTo>
                  <a:pt x="63" y="142"/>
                </a:lnTo>
                <a:lnTo>
                  <a:pt x="114" y="88"/>
                </a:lnTo>
                <a:lnTo>
                  <a:pt x="110" y="76"/>
                </a:lnTo>
                <a:lnTo>
                  <a:pt x="122" y="66"/>
                </a:lnTo>
                <a:lnTo>
                  <a:pt x="100" y="49"/>
                </a:lnTo>
                <a:lnTo>
                  <a:pt x="99" y="23"/>
                </a:lnTo>
                <a:lnTo>
                  <a:pt x="148" y="23"/>
                </a:lnTo>
                <a:lnTo>
                  <a:pt x="162" y="9"/>
                </a:lnTo>
                <a:lnTo>
                  <a:pt x="189" y="0"/>
                </a:lnTo>
                <a:lnTo>
                  <a:pt x="206" y="8"/>
                </a:lnTo>
                <a:lnTo>
                  <a:pt x="183" y="37"/>
                </a:lnTo>
                <a:lnTo>
                  <a:pt x="194" y="59"/>
                </a:lnTo>
                <a:lnTo>
                  <a:pt x="174" y="62"/>
                </a:lnTo>
                <a:lnTo>
                  <a:pt x="183" y="90"/>
                </a:lnTo>
                <a:lnTo>
                  <a:pt x="219" y="102"/>
                </a:lnTo>
                <a:lnTo>
                  <a:pt x="201" y="127"/>
                </a:lnTo>
                <a:lnTo>
                  <a:pt x="247" y="151"/>
                </a:lnTo>
                <a:lnTo>
                  <a:pt x="335" y="169"/>
                </a:lnTo>
                <a:lnTo>
                  <a:pt x="337" y="142"/>
                </a:lnTo>
                <a:lnTo>
                  <a:pt x="347" y="141"/>
                </a:lnTo>
                <a:lnTo>
                  <a:pt x="351" y="151"/>
                </a:lnTo>
                <a:lnTo>
                  <a:pt x="356" y="162"/>
                </a:lnTo>
                <a:lnTo>
                  <a:pt x="402" y="159"/>
                </a:lnTo>
                <a:lnTo>
                  <a:pt x="398" y="144"/>
                </a:lnTo>
                <a:lnTo>
                  <a:pt x="470" y="114"/>
                </a:lnTo>
                <a:lnTo>
                  <a:pt x="477" y="133"/>
                </a:lnTo>
                <a:lnTo>
                  <a:pt x="493" y="138"/>
                </a:lnTo>
                <a:lnTo>
                  <a:pt x="486" y="155"/>
                </a:lnTo>
                <a:lnTo>
                  <a:pt x="458" y="166"/>
                </a:lnTo>
                <a:lnTo>
                  <a:pt x="413" y="242"/>
                </a:lnTo>
                <a:lnTo>
                  <a:pt x="405" y="212"/>
                </a:lnTo>
                <a:lnTo>
                  <a:pt x="395" y="224"/>
                </a:lnTo>
                <a:lnTo>
                  <a:pt x="387" y="209"/>
                </a:lnTo>
                <a:lnTo>
                  <a:pt x="405" y="190"/>
                </a:lnTo>
                <a:lnTo>
                  <a:pt x="369" y="187"/>
                </a:lnTo>
                <a:lnTo>
                  <a:pt x="342" y="165"/>
                </a:lnTo>
                <a:lnTo>
                  <a:pt x="336" y="176"/>
                </a:lnTo>
                <a:lnTo>
                  <a:pt x="345" y="187"/>
                </a:lnTo>
                <a:lnTo>
                  <a:pt x="334" y="194"/>
                </a:lnTo>
                <a:lnTo>
                  <a:pt x="343" y="201"/>
                </a:lnTo>
                <a:lnTo>
                  <a:pt x="350" y="247"/>
                </a:lnTo>
                <a:lnTo>
                  <a:pt x="336" y="240"/>
                </a:lnTo>
                <a:lnTo>
                  <a:pt x="306" y="274"/>
                </a:lnTo>
                <a:lnTo>
                  <a:pt x="206" y="344"/>
                </a:lnTo>
                <a:lnTo>
                  <a:pt x="198" y="430"/>
                </a:lnTo>
                <a:lnTo>
                  <a:pt x="157" y="464"/>
                </a:lnTo>
                <a:lnTo>
                  <a:pt x="119" y="398"/>
                </a:lnTo>
                <a:lnTo>
                  <a:pt x="103" y="344"/>
                </a:lnTo>
                <a:lnTo>
                  <a:pt x="88" y="333"/>
                </a:lnTo>
                <a:lnTo>
                  <a:pt x="79" y="236"/>
                </a:lnTo>
                <a:lnTo>
                  <a:pt x="70" y="234"/>
                </a:lnTo>
                <a:lnTo>
                  <a:pt x="63" y="255"/>
                </a:lnTo>
                <a:lnTo>
                  <a:pt x="40" y="260"/>
                </a:lnTo>
                <a:lnTo>
                  <a:pt x="15" y="234"/>
                </a:lnTo>
                <a:lnTo>
                  <a:pt x="38" y="222"/>
                </a:lnTo>
                <a:lnTo>
                  <a:pt x="15" y="227"/>
                </a:lnTo>
                <a:lnTo>
                  <a:pt x="0" y="21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8" name="Freeform 100"/>
          <p:cNvSpPr>
            <a:spLocks/>
          </p:cNvSpPr>
          <p:nvPr/>
        </p:nvSpPr>
        <p:spPr bwMode="auto">
          <a:xfrm>
            <a:off x="6443663" y="4316413"/>
            <a:ext cx="250825" cy="265112"/>
          </a:xfrm>
          <a:custGeom>
            <a:avLst/>
            <a:gdLst>
              <a:gd name="T0" fmla="*/ 0 w 182"/>
              <a:gd name="T1" fmla="*/ 0 h 181"/>
              <a:gd name="T2" fmla="*/ 2147483647 w 182"/>
              <a:gd name="T3" fmla="*/ 2147483647 h 181"/>
              <a:gd name="T4" fmla="*/ 2147483647 w 182"/>
              <a:gd name="T5" fmla="*/ 2147483647 h 181"/>
              <a:gd name="T6" fmla="*/ 2147483647 w 182"/>
              <a:gd name="T7" fmla="*/ 2147483647 h 181"/>
              <a:gd name="T8" fmla="*/ 2147483647 w 182"/>
              <a:gd name="T9" fmla="*/ 2147483647 h 181"/>
              <a:gd name="T10" fmla="*/ 2147483647 w 182"/>
              <a:gd name="T11" fmla="*/ 2147483647 h 181"/>
              <a:gd name="T12" fmla="*/ 2147483647 w 182"/>
              <a:gd name="T13" fmla="*/ 2147483647 h 181"/>
              <a:gd name="T14" fmla="*/ 2147483647 w 182"/>
              <a:gd name="T15" fmla="*/ 2147483647 h 181"/>
              <a:gd name="T16" fmla="*/ 2147483647 w 182"/>
              <a:gd name="T17" fmla="*/ 2147483647 h 181"/>
              <a:gd name="T18" fmla="*/ 2147483647 w 182"/>
              <a:gd name="T19" fmla="*/ 2147483647 h 181"/>
              <a:gd name="T20" fmla="*/ 2147483647 w 182"/>
              <a:gd name="T21" fmla="*/ 2147483647 h 181"/>
              <a:gd name="T22" fmla="*/ 2147483647 w 182"/>
              <a:gd name="T23" fmla="*/ 2147483647 h 181"/>
              <a:gd name="T24" fmla="*/ 0 w 182"/>
              <a:gd name="T25" fmla="*/ 0 h 1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2"/>
              <a:gd name="T40" fmla="*/ 0 h 181"/>
              <a:gd name="T41" fmla="*/ 182 w 182"/>
              <a:gd name="T42" fmla="*/ 181 h 18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2" h="181">
                <a:moveTo>
                  <a:pt x="0" y="0"/>
                </a:moveTo>
                <a:lnTo>
                  <a:pt x="39" y="6"/>
                </a:lnTo>
                <a:lnTo>
                  <a:pt x="91" y="52"/>
                </a:lnTo>
                <a:lnTo>
                  <a:pt x="131" y="72"/>
                </a:lnTo>
                <a:lnTo>
                  <a:pt x="127" y="84"/>
                </a:lnTo>
                <a:lnTo>
                  <a:pt x="140" y="84"/>
                </a:lnTo>
                <a:lnTo>
                  <a:pt x="139" y="100"/>
                </a:lnTo>
                <a:lnTo>
                  <a:pt x="181" y="134"/>
                </a:lnTo>
                <a:lnTo>
                  <a:pt x="176" y="179"/>
                </a:lnTo>
                <a:lnTo>
                  <a:pt x="159" y="180"/>
                </a:lnTo>
                <a:lnTo>
                  <a:pt x="121" y="151"/>
                </a:lnTo>
                <a:lnTo>
                  <a:pt x="60" y="62"/>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09" name="Freeform 101"/>
          <p:cNvSpPr>
            <a:spLocks/>
          </p:cNvSpPr>
          <p:nvPr/>
        </p:nvSpPr>
        <p:spPr bwMode="auto">
          <a:xfrm>
            <a:off x="6677025" y="4583113"/>
            <a:ext cx="211138" cy="63500"/>
          </a:xfrm>
          <a:custGeom>
            <a:avLst/>
            <a:gdLst>
              <a:gd name="T0" fmla="*/ 0 w 154"/>
              <a:gd name="T1" fmla="*/ 2147483647 h 44"/>
              <a:gd name="T2" fmla="*/ 2147483647 w 154"/>
              <a:gd name="T3" fmla="*/ 0 h 44"/>
              <a:gd name="T4" fmla="*/ 2147483647 w 154"/>
              <a:gd name="T5" fmla="*/ 2147483647 h 44"/>
              <a:gd name="T6" fmla="*/ 2147483647 w 154"/>
              <a:gd name="T7" fmla="*/ 2147483647 h 44"/>
              <a:gd name="T8" fmla="*/ 2147483647 w 154"/>
              <a:gd name="T9" fmla="*/ 2147483647 h 44"/>
              <a:gd name="T10" fmla="*/ 2147483647 w 154"/>
              <a:gd name="T11" fmla="*/ 2147483647 h 44"/>
              <a:gd name="T12" fmla="*/ 2147483647 w 154"/>
              <a:gd name="T13" fmla="*/ 2147483647 h 44"/>
              <a:gd name="T14" fmla="*/ 0 w 154"/>
              <a:gd name="T15" fmla="*/ 2147483647 h 44"/>
              <a:gd name="T16" fmla="*/ 0 60000 65536"/>
              <a:gd name="T17" fmla="*/ 0 60000 65536"/>
              <a:gd name="T18" fmla="*/ 0 60000 65536"/>
              <a:gd name="T19" fmla="*/ 0 60000 65536"/>
              <a:gd name="T20" fmla="*/ 0 60000 65536"/>
              <a:gd name="T21" fmla="*/ 0 60000 65536"/>
              <a:gd name="T22" fmla="*/ 0 60000 65536"/>
              <a:gd name="T23" fmla="*/ 0 60000 65536"/>
              <a:gd name="T24" fmla="*/ 0 w 154"/>
              <a:gd name="T25" fmla="*/ 0 h 44"/>
              <a:gd name="T26" fmla="*/ 154 w 15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4" h="44">
                <a:moveTo>
                  <a:pt x="0" y="12"/>
                </a:moveTo>
                <a:lnTo>
                  <a:pt x="11" y="0"/>
                </a:lnTo>
                <a:lnTo>
                  <a:pt x="118" y="13"/>
                </a:lnTo>
                <a:lnTo>
                  <a:pt x="130" y="26"/>
                </a:lnTo>
                <a:lnTo>
                  <a:pt x="151" y="28"/>
                </a:lnTo>
                <a:lnTo>
                  <a:pt x="153" y="43"/>
                </a:lnTo>
                <a:lnTo>
                  <a:pt x="27" y="22"/>
                </a:lnTo>
                <a:lnTo>
                  <a:pt x="0" y="1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0" name="Freeform 102"/>
          <p:cNvSpPr>
            <a:spLocks/>
          </p:cNvSpPr>
          <p:nvPr/>
        </p:nvSpPr>
        <p:spPr bwMode="auto">
          <a:xfrm>
            <a:off x="6762750" y="4343400"/>
            <a:ext cx="230188" cy="195263"/>
          </a:xfrm>
          <a:custGeom>
            <a:avLst/>
            <a:gdLst>
              <a:gd name="T0" fmla="*/ 0 w 168"/>
              <a:gd name="T1" fmla="*/ 2147483647 h 134"/>
              <a:gd name="T2" fmla="*/ 2147483647 w 168"/>
              <a:gd name="T3" fmla="*/ 2147483647 h 134"/>
              <a:gd name="T4" fmla="*/ 2147483647 w 168"/>
              <a:gd name="T5" fmla="*/ 2147483647 h 134"/>
              <a:gd name="T6" fmla="*/ 2147483647 w 168"/>
              <a:gd name="T7" fmla="*/ 2147483647 h 134"/>
              <a:gd name="T8" fmla="*/ 2147483647 w 168"/>
              <a:gd name="T9" fmla="*/ 2147483647 h 134"/>
              <a:gd name="T10" fmla="*/ 2147483647 w 168"/>
              <a:gd name="T11" fmla="*/ 0 h 134"/>
              <a:gd name="T12" fmla="*/ 2147483647 w 168"/>
              <a:gd name="T13" fmla="*/ 2147483647 h 134"/>
              <a:gd name="T14" fmla="*/ 2147483647 w 168"/>
              <a:gd name="T15" fmla="*/ 2147483647 h 134"/>
              <a:gd name="T16" fmla="*/ 2147483647 w 168"/>
              <a:gd name="T17" fmla="*/ 2147483647 h 134"/>
              <a:gd name="T18" fmla="*/ 2147483647 w 168"/>
              <a:gd name="T19" fmla="*/ 2147483647 h 134"/>
              <a:gd name="T20" fmla="*/ 2147483647 w 168"/>
              <a:gd name="T21" fmla="*/ 2147483647 h 134"/>
              <a:gd name="T22" fmla="*/ 2147483647 w 168"/>
              <a:gd name="T23" fmla="*/ 2147483647 h 134"/>
              <a:gd name="T24" fmla="*/ 2147483647 w 168"/>
              <a:gd name="T25" fmla="*/ 2147483647 h 134"/>
              <a:gd name="T26" fmla="*/ 2147483647 w 168"/>
              <a:gd name="T27" fmla="*/ 2147483647 h 134"/>
              <a:gd name="T28" fmla="*/ 2147483647 w 168"/>
              <a:gd name="T29" fmla="*/ 2147483647 h 134"/>
              <a:gd name="T30" fmla="*/ 2147483647 w 168"/>
              <a:gd name="T31" fmla="*/ 2147483647 h 134"/>
              <a:gd name="T32" fmla="*/ 2147483647 w 168"/>
              <a:gd name="T33" fmla="*/ 2147483647 h 134"/>
              <a:gd name="T34" fmla="*/ 0 w 168"/>
              <a:gd name="T35" fmla="*/ 2147483647 h 1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8"/>
              <a:gd name="T55" fmla="*/ 0 h 134"/>
              <a:gd name="T56" fmla="*/ 168 w 168"/>
              <a:gd name="T57" fmla="*/ 134 h 1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8" h="134">
                <a:moveTo>
                  <a:pt x="0" y="62"/>
                </a:moveTo>
                <a:lnTo>
                  <a:pt x="10" y="43"/>
                </a:lnTo>
                <a:lnTo>
                  <a:pt x="26" y="55"/>
                </a:lnTo>
                <a:lnTo>
                  <a:pt x="75" y="50"/>
                </a:lnTo>
                <a:lnTo>
                  <a:pt x="92" y="43"/>
                </a:lnTo>
                <a:lnTo>
                  <a:pt x="114" y="0"/>
                </a:lnTo>
                <a:lnTo>
                  <a:pt x="145" y="4"/>
                </a:lnTo>
                <a:lnTo>
                  <a:pt x="137" y="14"/>
                </a:lnTo>
                <a:lnTo>
                  <a:pt x="167" y="55"/>
                </a:lnTo>
                <a:lnTo>
                  <a:pt x="151" y="53"/>
                </a:lnTo>
                <a:lnTo>
                  <a:pt x="121" y="97"/>
                </a:lnTo>
                <a:lnTo>
                  <a:pt x="116" y="126"/>
                </a:lnTo>
                <a:lnTo>
                  <a:pt x="98" y="133"/>
                </a:lnTo>
                <a:lnTo>
                  <a:pt x="68" y="118"/>
                </a:lnTo>
                <a:lnTo>
                  <a:pt x="48" y="125"/>
                </a:lnTo>
                <a:lnTo>
                  <a:pt x="45" y="112"/>
                </a:lnTo>
                <a:lnTo>
                  <a:pt x="21" y="116"/>
                </a:lnTo>
                <a:lnTo>
                  <a:pt x="0" y="6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1" name="Freeform 103"/>
          <p:cNvSpPr>
            <a:spLocks/>
          </p:cNvSpPr>
          <p:nvPr/>
        </p:nvSpPr>
        <p:spPr bwMode="auto">
          <a:xfrm>
            <a:off x="6940550" y="4637088"/>
            <a:ext cx="55563" cy="19050"/>
          </a:xfrm>
          <a:custGeom>
            <a:avLst/>
            <a:gdLst>
              <a:gd name="T0" fmla="*/ 0 w 41"/>
              <a:gd name="T1" fmla="*/ 2147483647 h 13"/>
              <a:gd name="T2" fmla="*/ 2147483647 w 41"/>
              <a:gd name="T3" fmla="*/ 2147483647 h 13"/>
              <a:gd name="T4" fmla="*/ 2147483647 w 41"/>
              <a:gd name="T5" fmla="*/ 2147483647 h 13"/>
              <a:gd name="T6" fmla="*/ 2147483647 w 41"/>
              <a:gd name="T7" fmla="*/ 0 h 13"/>
              <a:gd name="T8" fmla="*/ 0 w 41"/>
              <a:gd name="T9" fmla="*/ 2147483647 h 13"/>
              <a:gd name="T10" fmla="*/ 0 60000 65536"/>
              <a:gd name="T11" fmla="*/ 0 60000 65536"/>
              <a:gd name="T12" fmla="*/ 0 60000 65536"/>
              <a:gd name="T13" fmla="*/ 0 60000 65536"/>
              <a:gd name="T14" fmla="*/ 0 60000 65536"/>
              <a:gd name="T15" fmla="*/ 0 w 41"/>
              <a:gd name="T16" fmla="*/ 0 h 13"/>
              <a:gd name="T17" fmla="*/ 41 w 41"/>
              <a:gd name="T18" fmla="*/ 13 h 13"/>
            </a:gdLst>
            <a:ahLst/>
            <a:cxnLst>
              <a:cxn ang="T10">
                <a:pos x="T0" y="T1"/>
              </a:cxn>
              <a:cxn ang="T11">
                <a:pos x="T2" y="T3"/>
              </a:cxn>
              <a:cxn ang="T12">
                <a:pos x="T4" y="T5"/>
              </a:cxn>
              <a:cxn ang="T13">
                <a:pos x="T6" y="T7"/>
              </a:cxn>
              <a:cxn ang="T14">
                <a:pos x="T8" y="T9"/>
              </a:cxn>
            </a:cxnLst>
            <a:rect l="T15" t="T16" r="T17" b="T18"/>
            <a:pathLst>
              <a:path w="41" h="13">
                <a:moveTo>
                  <a:pt x="0" y="4"/>
                </a:moveTo>
                <a:lnTo>
                  <a:pt x="5" y="12"/>
                </a:lnTo>
                <a:lnTo>
                  <a:pt x="40" y="6"/>
                </a:lnTo>
                <a:lnTo>
                  <a:pt x="15" y="0"/>
                </a:lnTo>
                <a:lnTo>
                  <a:pt x="0" y="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2" name="Freeform 104"/>
          <p:cNvSpPr>
            <a:spLocks/>
          </p:cNvSpPr>
          <p:nvPr/>
        </p:nvSpPr>
        <p:spPr bwMode="auto">
          <a:xfrm>
            <a:off x="6988175" y="4405313"/>
            <a:ext cx="147638" cy="168275"/>
          </a:xfrm>
          <a:custGeom>
            <a:avLst/>
            <a:gdLst>
              <a:gd name="T0" fmla="*/ 0 w 107"/>
              <a:gd name="T1" fmla="*/ 2147483647 h 115"/>
              <a:gd name="T2" fmla="*/ 2147483647 w 107"/>
              <a:gd name="T3" fmla="*/ 2147483647 h 115"/>
              <a:gd name="T4" fmla="*/ 2147483647 w 107"/>
              <a:gd name="T5" fmla="*/ 2147483647 h 115"/>
              <a:gd name="T6" fmla="*/ 2147483647 w 107"/>
              <a:gd name="T7" fmla="*/ 2147483647 h 115"/>
              <a:gd name="T8" fmla="*/ 2147483647 w 107"/>
              <a:gd name="T9" fmla="*/ 2147483647 h 115"/>
              <a:gd name="T10" fmla="*/ 2147483647 w 107"/>
              <a:gd name="T11" fmla="*/ 2147483647 h 115"/>
              <a:gd name="T12" fmla="*/ 2147483647 w 107"/>
              <a:gd name="T13" fmla="*/ 2147483647 h 115"/>
              <a:gd name="T14" fmla="*/ 2147483647 w 107"/>
              <a:gd name="T15" fmla="*/ 2147483647 h 115"/>
              <a:gd name="T16" fmla="*/ 2147483647 w 107"/>
              <a:gd name="T17" fmla="*/ 2147483647 h 115"/>
              <a:gd name="T18" fmla="*/ 2147483647 w 107"/>
              <a:gd name="T19" fmla="*/ 2147483647 h 115"/>
              <a:gd name="T20" fmla="*/ 2147483647 w 107"/>
              <a:gd name="T21" fmla="*/ 2147483647 h 115"/>
              <a:gd name="T22" fmla="*/ 2147483647 w 107"/>
              <a:gd name="T23" fmla="*/ 2147483647 h 115"/>
              <a:gd name="T24" fmla="*/ 2147483647 w 107"/>
              <a:gd name="T25" fmla="*/ 2147483647 h 115"/>
              <a:gd name="T26" fmla="*/ 2147483647 w 107"/>
              <a:gd name="T27" fmla="*/ 2147483647 h 115"/>
              <a:gd name="T28" fmla="*/ 2147483647 w 107"/>
              <a:gd name="T29" fmla="*/ 0 h 115"/>
              <a:gd name="T30" fmla="*/ 2147483647 w 107"/>
              <a:gd name="T31" fmla="*/ 2147483647 h 115"/>
              <a:gd name="T32" fmla="*/ 2147483647 w 107"/>
              <a:gd name="T33" fmla="*/ 2147483647 h 115"/>
              <a:gd name="T34" fmla="*/ 2147483647 w 107"/>
              <a:gd name="T35" fmla="*/ 2147483647 h 115"/>
              <a:gd name="T36" fmla="*/ 0 w 107"/>
              <a:gd name="T37" fmla="*/ 2147483647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7"/>
              <a:gd name="T58" fmla="*/ 0 h 115"/>
              <a:gd name="T59" fmla="*/ 107 w 107"/>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7" h="115">
                <a:moveTo>
                  <a:pt x="0" y="67"/>
                </a:moveTo>
                <a:lnTo>
                  <a:pt x="14" y="90"/>
                </a:lnTo>
                <a:lnTo>
                  <a:pt x="10" y="109"/>
                </a:lnTo>
                <a:lnTo>
                  <a:pt x="27" y="114"/>
                </a:lnTo>
                <a:lnTo>
                  <a:pt x="26" y="72"/>
                </a:lnTo>
                <a:lnTo>
                  <a:pt x="36" y="67"/>
                </a:lnTo>
                <a:lnTo>
                  <a:pt x="37" y="83"/>
                </a:lnTo>
                <a:lnTo>
                  <a:pt x="46" y="102"/>
                </a:lnTo>
                <a:lnTo>
                  <a:pt x="67" y="95"/>
                </a:lnTo>
                <a:lnTo>
                  <a:pt x="42" y="54"/>
                </a:lnTo>
                <a:lnTo>
                  <a:pt x="77" y="37"/>
                </a:lnTo>
                <a:lnTo>
                  <a:pt x="31" y="47"/>
                </a:lnTo>
                <a:lnTo>
                  <a:pt x="25" y="22"/>
                </a:lnTo>
                <a:lnTo>
                  <a:pt x="92" y="20"/>
                </a:lnTo>
                <a:lnTo>
                  <a:pt x="106" y="0"/>
                </a:lnTo>
                <a:lnTo>
                  <a:pt x="85" y="12"/>
                </a:lnTo>
                <a:lnTo>
                  <a:pt x="36" y="5"/>
                </a:lnTo>
                <a:lnTo>
                  <a:pt x="20" y="15"/>
                </a:lnTo>
                <a:lnTo>
                  <a:pt x="0" y="6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3" name="Freeform 105"/>
          <p:cNvSpPr>
            <a:spLocks/>
          </p:cNvSpPr>
          <p:nvPr/>
        </p:nvSpPr>
        <p:spPr bwMode="auto">
          <a:xfrm>
            <a:off x="7102475" y="4638675"/>
            <a:ext cx="82550" cy="42863"/>
          </a:xfrm>
          <a:custGeom>
            <a:avLst/>
            <a:gdLst>
              <a:gd name="T0" fmla="*/ 0 w 60"/>
              <a:gd name="T1" fmla="*/ 2147483647 h 30"/>
              <a:gd name="T2" fmla="*/ 2147483647 w 60"/>
              <a:gd name="T3" fmla="*/ 2147483647 h 30"/>
              <a:gd name="T4" fmla="*/ 2147483647 w 60"/>
              <a:gd name="T5" fmla="*/ 0 h 30"/>
              <a:gd name="T6" fmla="*/ 2147483647 w 60"/>
              <a:gd name="T7" fmla="*/ 2147483647 h 30"/>
              <a:gd name="T8" fmla="*/ 0 w 60"/>
              <a:gd name="T9" fmla="*/ 2147483647 h 30"/>
              <a:gd name="T10" fmla="*/ 0 60000 65536"/>
              <a:gd name="T11" fmla="*/ 0 60000 65536"/>
              <a:gd name="T12" fmla="*/ 0 60000 65536"/>
              <a:gd name="T13" fmla="*/ 0 60000 65536"/>
              <a:gd name="T14" fmla="*/ 0 60000 65536"/>
              <a:gd name="T15" fmla="*/ 0 w 60"/>
              <a:gd name="T16" fmla="*/ 0 h 30"/>
              <a:gd name="T17" fmla="*/ 60 w 60"/>
              <a:gd name="T18" fmla="*/ 30 h 30"/>
            </a:gdLst>
            <a:ahLst/>
            <a:cxnLst>
              <a:cxn ang="T10">
                <a:pos x="T0" y="T1"/>
              </a:cxn>
              <a:cxn ang="T11">
                <a:pos x="T2" y="T3"/>
              </a:cxn>
              <a:cxn ang="T12">
                <a:pos x="T4" y="T5"/>
              </a:cxn>
              <a:cxn ang="T13">
                <a:pos x="T6" y="T7"/>
              </a:cxn>
              <a:cxn ang="T14">
                <a:pos x="T8" y="T9"/>
              </a:cxn>
            </a:cxnLst>
            <a:rect l="T15" t="T16" r="T17" b="T18"/>
            <a:pathLst>
              <a:path w="60" h="30">
                <a:moveTo>
                  <a:pt x="0" y="20"/>
                </a:moveTo>
                <a:lnTo>
                  <a:pt x="5" y="29"/>
                </a:lnTo>
                <a:lnTo>
                  <a:pt x="59" y="0"/>
                </a:lnTo>
                <a:lnTo>
                  <a:pt x="18" y="10"/>
                </a:lnTo>
                <a:lnTo>
                  <a:pt x="0" y="2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4" name="Freeform 106"/>
          <p:cNvSpPr>
            <a:spLocks/>
          </p:cNvSpPr>
          <p:nvPr/>
        </p:nvSpPr>
        <p:spPr bwMode="auto">
          <a:xfrm>
            <a:off x="7185025" y="4392613"/>
            <a:ext cx="28575" cy="73025"/>
          </a:xfrm>
          <a:custGeom>
            <a:avLst/>
            <a:gdLst>
              <a:gd name="T0" fmla="*/ 0 w 21"/>
              <a:gd name="T1" fmla="*/ 2147483647 h 50"/>
              <a:gd name="T2" fmla="*/ 2147483647 w 21"/>
              <a:gd name="T3" fmla="*/ 2147483647 h 50"/>
              <a:gd name="T4" fmla="*/ 2147483647 w 21"/>
              <a:gd name="T5" fmla="*/ 2147483647 h 50"/>
              <a:gd name="T6" fmla="*/ 2147483647 w 21"/>
              <a:gd name="T7" fmla="*/ 2147483647 h 50"/>
              <a:gd name="T8" fmla="*/ 2147483647 w 21"/>
              <a:gd name="T9" fmla="*/ 2147483647 h 50"/>
              <a:gd name="T10" fmla="*/ 2147483647 w 21"/>
              <a:gd name="T11" fmla="*/ 2147483647 h 50"/>
              <a:gd name="T12" fmla="*/ 2147483647 w 21"/>
              <a:gd name="T13" fmla="*/ 2147483647 h 50"/>
              <a:gd name="T14" fmla="*/ 2147483647 w 21"/>
              <a:gd name="T15" fmla="*/ 0 h 50"/>
              <a:gd name="T16" fmla="*/ 0 w 21"/>
              <a:gd name="T17" fmla="*/ 2147483647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50"/>
              <a:gd name="T29" fmla="*/ 21 w 2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50">
                <a:moveTo>
                  <a:pt x="0" y="19"/>
                </a:moveTo>
                <a:lnTo>
                  <a:pt x="5" y="40"/>
                </a:lnTo>
                <a:lnTo>
                  <a:pt x="18" y="49"/>
                </a:lnTo>
                <a:lnTo>
                  <a:pt x="9" y="29"/>
                </a:lnTo>
                <a:lnTo>
                  <a:pt x="20" y="26"/>
                </a:lnTo>
                <a:lnTo>
                  <a:pt x="20" y="11"/>
                </a:lnTo>
                <a:lnTo>
                  <a:pt x="5" y="21"/>
                </a:lnTo>
                <a:lnTo>
                  <a:pt x="11" y="0"/>
                </a:lnTo>
                <a:lnTo>
                  <a:pt x="0" y="1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5" name="Freeform 107"/>
          <p:cNvSpPr>
            <a:spLocks/>
          </p:cNvSpPr>
          <p:nvPr/>
        </p:nvSpPr>
        <p:spPr bwMode="auto">
          <a:xfrm>
            <a:off x="7197725" y="4511675"/>
            <a:ext cx="68263" cy="20638"/>
          </a:xfrm>
          <a:custGeom>
            <a:avLst/>
            <a:gdLst>
              <a:gd name="T0" fmla="*/ 0 w 50"/>
              <a:gd name="T1" fmla="*/ 2147483647 h 14"/>
              <a:gd name="T2" fmla="*/ 2147483647 w 50"/>
              <a:gd name="T3" fmla="*/ 0 h 14"/>
              <a:gd name="T4" fmla="*/ 2147483647 w 50"/>
              <a:gd name="T5" fmla="*/ 2147483647 h 14"/>
              <a:gd name="T6" fmla="*/ 0 w 50"/>
              <a:gd name="T7" fmla="*/ 2147483647 h 14"/>
              <a:gd name="T8" fmla="*/ 0 60000 65536"/>
              <a:gd name="T9" fmla="*/ 0 60000 65536"/>
              <a:gd name="T10" fmla="*/ 0 60000 65536"/>
              <a:gd name="T11" fmla="*/ 0 60000 65536"/>
              <a:gd name="T12" fmla="*/ 0 w 50"/>
              <a:gd name="T13" fmla="*/ 0 h 14"/>
              <a:gd name="T14" fmla="*/ 50 w 50"/>
              <a:gd name="T15" fmla="*/ 14 h 14"/>
            </a:gdLst>
            <a:ahLst/>
            <a:cxnLst>
              <a:cxn ang="T8">
                <a:pos x="T0" y="T1"/>
              </a:cxn>
              <a:cxn ang="T9">
                <a:pos x="T2" y="T3"/>
              </a:cxn>
              <a:cxn ang="T10">
                <a:pos x="T4" y="T5"/>
              </a:cxn>
              <a:cxn ang="T11">
                <a:pos x="T6" y="T7"/>
              </a:cxn>
            </a:cxnLst>
            <a:rect l="T12" t="T13" r="T14" b="T15"/>
            <a:pathLst>
              <a:path w="50" h="14">
                <a:moveTo>
                  <a:pt x="0" y="3"/>
                </a:moveTo>
                <a:lnTo>
                  <a:pt x="28" y="0"/>
                </a:lnTo>
                <a:lnTo>
                  <a:pt x="49" y="13"/>
                </a:lnTo>
                <a:lnTo>
                  <a:pt x="0" y="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6" name="Freeform 108"/>
          <p:cNvSpPr>
            <a:spLocks/>
          </p:cNvSpPr>
          <p:nvPr/>
        </p:nvSpPr>
        <p:spPr bwMode="auto">
          <a:xfrm>
            <a:off x="7269163" y="4451350"/>
            <a:ext cx="241300" cy="206375"/>
          </a:xfrm>
          <a:custGeom>
            <a:avLst/>
            <a:gdLst>
              <a:gd name="T0" fmla="*/ 0 w 176"/>
              <a:gd name="T1" fmla="*/ 2147483647 h 141"/>
              <a:gd name="T2" fmla="*/ 2147483647 w 176"/>
              <a:gd name="T3" fmla="*/ 2147483647 h 141"/>
              <a:gd name="T4" fmla="*/ 2147483647 w 176"/>
              <a:gd name="T5" fmla="*/ 2147483647 h 141"/>
              <a:gd name="T6" fmla="*/ 2147483647 w 176"/>
              <a:gd name="T7" fmla="*/ 2147483647 h 141"/>
              <a:gd name="T8" fmla="*/ 2147483647 w 176"/>
              <a:gd name="T9" fmla="*/ 2147483647 h 141"/>
              <a:gd name="T10" fmla="*/ 2147483647 w 176"/>
              <a:gd name="T11" fmla="*/ 2147483647 h 141"/>
              <a:gd name="T12" fmla="*/ 2147483647 w 176"/>
              <a:gd name="T13" fmla="*/ 2147483647 h 141"/>
              <a:gd name="T14" fmla="*/ 2147483647 w 176"/>
              <a:gd name="T15" fmla="*/ 2147483647 h 141"/>
              <a:gd name="T16" fmla="*/ 2147483647 w 176"/>
              <a:gd name="T17" fmla="*/ 2147483647 h 141"/>
              <a:gd name="T18" fmla="*/ 2147483647 w 176"/>
              <a:gd name="T19" fmla="*/ 2147483647 h 141"/>
              <a:gd name="T20" fmla="*/ 2147483647 w 176"/>
              <a:gd name="T21" fmla="*/ 2147483647 h 141"/>
              <a:gd name="T22" fmla="*/ 2147483647 w 176"/>
              <a:gd name="T23" fmla="*/ 2147483647 h 141"/>
              <a:gd name="T24" fmla="*/ 2147483647 w 176"/>
              <a:gd name="T25" fmla="*/ 2147483647 h 141"/>
              <a:gd name="T26" fmla="*/ 2147483647 w 176"/>
              <a:gd name="T27" fmla="*/ 2147483647 h 141"/>
              <a:gd name="T28" fmla="*/ 2147483647 w 176"/>
              <a:gd name="T29" fmla="*/ 2147483647 h 141"/>
              <a:gd name="T30" fmla="*/ 2147483647 w 176"/>
              <a:gd name="T31" fmla="*/ 2147483647 h 141"/>
              <a:gd name="T32" fmla="*/ 2147483647 w 176"/>
              <a:gd name="T33" fmla="*/ 2147483647 h 141"/>
              <a:gd name="T34" fmla="*/ 2147483647 w 176"/>
              <a:gd name="T35" fmla="*/ 2147483647 h 141"/>
              <a:gd name="T36" fmla="*/ 2147483647 w 176"/>
              <a:gd name="T37" fmla="*/ 0 h 141"/>
              <a:gd name="T38" fmla="*/ 0 w 176"/>
              <a:gd name="T39" fmla="*/ 2147483647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6"/>
              <a:gd name="T61" fmla="*/ 0 h 141"/>
              <a:gd name="T62" fmla="*/ 176 w 176"/>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6" h="141">
                <a:moveTo>
                  <a:pt x="0" y="16"/>
                </a:moveTo>
                <a:lnTo>
                  <a:pt x="24" y="30"/>
                </a:lnTo>
                <a:lnTo>
                  <a:pt x="50" y="27"/>
                </a:lnTo>
                <a:lnTo>
                  <a:pt x="17" y="37"/>
                </a:lnTo>
                <a:lnTo>
                  <a:pt x="32" y="58"/>
                </a:lnTo>
                <a:lnTo>
                  <a:pt x="48" y="41"/>
                </a:lnTo>
                <a:lnTo>
                  <a:pt x="57" y="58"/>
                </a:lnTo>
                <a:lnTo>
                  <a:pt x="122" y="81"/>
                </a:lnTo>
                <a:lnTo>
                  <a:pt x="137" y="114"/>
                </a:lnTo>
                <a:lnTo>
                  <a:pt x="125" y="112"/>
                </a:lnTo>
                <a:lnTo>
                  <a:pt x="115" y="127"/>
                </a:lnTo>
                <a:lnTo>
                  <a:pt x="153" y="121"/>
                </a:lnTo>
                <a:lnTo>
                  <a:pt x="175" y="140"/>
                </a:lnTo>
                <a:lnTo>
                  <a:pt x="170" y="36"/>
                </a:lnTo>
                <a:lnTo>
                  <a:pt x="117" y="16"/>
                </a:lnTo>
                <a:lnTo>
                  <a:pt x="71" y="47"/>
                </a:lnTo>
                <a:lnTo>
                  <a:pt x="55" y="33"/>
                </a:lnTo>
                <a:lnTo>
                  <a:pt x="50" y="7"/>
                </a:lnTo>
                <a:lnTo>
                  <a:pt x="24" y="0"/>
                </a:lnTo>
                <a:lnTo>
                  <a:pt x="0" y="1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7" name="Freeform 109"/>
          <p:cNvSpPr>
            <a:spLocks/>
          </p:cNvSpPr>
          <p:nvPr/>
        </p:nvSpPr>
        <p:spPr bwMode="auto">
          <a:xfrm>
            <a:off x="7272338" y="4608513"/>
            <a:ext cx="12700" cy="17462"/>
          </a:xfrm>
          <a:custGeom>
            <a:avLst/>
            <a:gdLst>
              <a:gd name="T0" fmla="*/ 0 w 10"/>
              <a:gd name="T1" fmla="*/ 2147483647 h 11"/>
              <a:gd name="T2" fmla="*/ 2147483647 w 10"/>
              <a:gd name="T3" fmla="*/ 0 h 11"/>
              <a:gd name="T4" fmla="*/ 2147483647 w 10"/>
              <a:gd name="T5" fmla="*/ 2147483647 h 11"/>
              <a:gd name="T6" fmla="*/ 0 w 10"/>
              <a:gd name="T7" fmla="*/ 2147483647 h 11"/>
              <a:gd name="T8" fmla="*/ 0 60000 65536"/>
              <a:gd name="T9" fmla="*/ 0 60000 65536"/>
              <a:gd name="T10" fmla="*/ 0 60000 65536"/>
              <a:gd name="T11" fmla="*/ 0 60000 65536"/>
              <a:gd name="T12" fmla="*/ 0 w 10"/>
              <a:gd name="T13" fmla="*/ 0 h 11"/>
              <a:gd name="T14" fmla="*/ 10 w 10"/>
              <a:gd name="T15" fmla="*/ 11 h 11"/>
            </a:gdLst>
            <a:ahLst/>
            <a:cxnLst>
              <a:cxn ang="T8">
                <a:pos x="T0" y="T1"/>
              </a:cxn>
              <a:cxn ang="T9">
                <a:pos x="T2" y="T3"/>
              </a:cxn>
              <a:cxn ang="T10">
                <a:pos x="T4" y="T5"/>
              </a:cxn>
              <a:cxn ang="T11">
                <a:pos x="T6" y="T7"/>
              </a:cxn>
            </a:cxnLst>
            <a:rect l="T12" t="T13" r="T14" b="T15"/>
            <a:pathLst>
              <a:path w="10" h="11">
                <a:moveTo>
                  <a:pt x="0" y="10"/>
                </a:moveTo>
                <a:lnTo>
                  <a:pt x="6" y="0"/>
                </a:lnTo>
                <a:lnTo>
                  <a:pt x="9" y="7"/>
                </a:lnTo>
                <a:lnTo>
                  <a:pt x="0" y="1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8" name="Freeform 110"/>
          <p:cNvSpPr>
            <a:spLocks/>
          </p:cNvSpPr>
          <p:nvPr/>
        </p:nvSpPr>
        <p:spPr bwMode="auto">
          <a:xfrm>
            <a:off x="5259388" y="3478213"/>
            <a:ext cx="444500" cy="376237"/>
          </a:xfrm>
          <a:custGeom>
            <a:avLst/>
            <a:gdLst>
              <a:gd name="T0" fmla="*/ 0 w 322"/>
              <a:gd name="T1" fmla="*/ 2147483647 h 258"/>
              <a:gd name="T2" fmla="*/ 2147483647 w 322"/>
              <a:gd name="T3" fmla="*/ 0 h 258"/>
              <a:gd name="T4" fmla="*/ 2147483647 w 322"/>
              <a:gd name="T5" fmla="*/ 2147483647 h 258"/>
              <a:gd name="T6" fmla="*/ 2147483647 w 322"/>
              <a:gd name="T7" fmla="*/ 2147483647 h 258"/>
              <a:gd name="T8" fmla="*/ 2147483647 w 322"/>
              <a:gd name="T9" fmla="*/ 2147483647 h 258"/>
              <a:gd name="T10" fmla="*/ 2147483647 w 322"/>
              <a:gd name="T11" fmla="*/ 2147483647 h 258"/>
              <a:gd name="T12" fmla="*/ 2147483647 w 322"/>
              <a:gd name="T13" fmla="*/ 2147483647 h 258"/>
              <a:gd name="T14" fmla="*/ 2147483647 w 322"/>
              <a:gd name="T15" fmla="*/ 2147483647 h 258"/>
              <a:gd name="T16" fmla="*/ 2147483647 w 322"/>
              <a:gd name="T17" fmla="*/ 2147483647 h 258"/>
              <a:gd name="T18" fmla="*/ 2147483647 w 322"/>
              <a:gd name="T19" fmla="*/ 2147483647 h 258"/>
              <a:gd name="T20" fmla="*/ 2147483647 w 322"/>
              <a:gd name="T21" fmla="*/ 2147483647 h 258"/>
              <a:gd name="T22" fmla="*/ 2147483647 w 322"/>
              <a:gd name="T23" fmla="*/ 2147483647 h 258"/>
              <a:gd name="T24" fmla="*/ 2147483647 w 322"/>
              <a:gd name="T25" fmla="*/ 2147483647 h 258"/>
              <a:gd name="T26" fmla="*/ 2147483647 w 322"/>
              <a:gd name="T27" fmla="*/ 2147483647 h 258"/>
              <a:gd name="T28" fmla="*/ 2147483647 w 322"/>
              <a:gd name="T29" fmla="*/ 2147483647 h 258"/>
              <a:gd name="T30" fmla="*/ 2147483647 w 322"/>
              <a:gd name="T31" fmla="*/ 2147483647 h 258"/>
              <a:gd name="T32" fmla="*/ 2147483647 w 322"/>
              <a:gd name="T33" fmla="*/ 2147483647 h 258"/>
              <a:gd name="T34" fmla="*/ 2147483647 w 322"/>
              <a:gd name="T35" fmla="*/ 2147483647 h 258"/>
              <a:gd name="T36" fmla="*/ 2147483647 w 322"/>
              <a:gd name="T37" fmla="*/ 2147483647 h 258"/>
              <a:gd name="T38" fmla="*/ 2147483647 w 322"/>
              <a:gd name="T39" fmla="*/ 2147483647 h 258"/>
              <a:gd name="T40" fmla="*/ 2147483647 w 322"/>
              <a:gd name="T41" fmla="*/ 2147483647 h 258"/>
              <a:gd name="T42" fmla="*/ 2147483647 w 322"/>
              <a:gd name="T43" fmla="*/ 2147483647 h 258"/>
              <a:gd name="T44" fmla="*/ 2147483647 w 322"/>
              <a:gd name="T45" fmla="*/ 2147483647 h 258"/>
              <a:gd name="T46" fmla="*/ 2147483647 w 322"/>
              <a:gd name="T47" fmla="*/ 2147483647 h 258"/>
              <a:gd name="T48" fmla="*/ 2147483647 w 322"/>
              <a:gd name="T49" fmla="*/ 2147483647 h 258"/>
              <a:gd name="T50" fmla="*/ 2147483647 w 322"/>
              <a:gd name="T51" fmla="*/ 2147483647 h 258"/>
              <a:gd name="T52" fmla="*/ 2147483647 w 322"/>
              <a:gd name="T53" fmla="*/ 2147483647 h 258"/>
              <a:gd name="T54" fmla="*/ 2147483647 w 322"/>
              <a:gd name="T55" fmla="*/ 2147483647 h 258"/>
              <a:gd name="T56" fmla="*/ 2147483647 w 322"/>
              <a:gd name="T57" fmla="*/ 2147483647 h 258"/>
              <a:gd name="T58" fmla="*/ 2147483647 w 322"/>
              <a:gd name="T59" fmla="*/ 2147483647 h 258"/>
              <a:gd name="T60" fmla="*/ 2147483647 w 322"/>
              <a:gd name="T61" fmla="*/ 2147483647 h 258"/>
              <a:gd name="T62" fmla="*/ 0 w 322"/>
              <a:gd name="T63" fmla="*/ 2147483647 h 2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2"/>
              <a:gd name="T97" fmla="*/ 0 h 258"/>
              <a:gd name="T98" fmla="*/ 322 w 322"/>
              <a:gd name="T99" fmla="*/ 258 h 2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2" h="258">
                <a:moveTo>
                  <a:pt x="0" y="8"/>
                </a:moveTo>
                <a:lnTo>
                  <a:pt x="9" y="0"/>
                </a:lnTo>
                <a:lnTo>
                  <a:pt x="33" y="17"/>
                </a:lnTo>
                <a:lnTo>
                  <a:pt x="63" y="3"/>
                </a:lnTo>
                <a:lnTo>
                  <a:pt x="65" y="19"/>
                </a:lnTo>
                <a:lnTo>
                  <a:pt x="80" y="24"/>
                </a:lnTo>
                <a:lnTo>
                  <a:pt x="83" y="41"/>
                </a:lnTo>
                <a:lnTo>
                  <a:pt x="127" y="59"/>
                </a:lnTo>
                <a:lnTo>
                  <a:pt x="167" y="55"/>
                </a:lnTo>
                <a:lnTo>
                  <a:pt x="164" y="43"/>
                </a:lnTo>
                <a:lnTo>
                  <a:pt x="219" y="27"/>
                </a:lnTo>
                <a:lnTo>
                  <a:pt x="285" y="59"/>
                </a:lnTo>
                <a:lnTo>
                  <a:pt x="288" y="72"/>
                </a:lnTo>
                <a:lnTo>
                  <a:pt x="275" y="102"/>
                </a:lnTo>
                <a:lnTo>
                  <a:pt x="279" y="145"/>
                </a:lnTo>
                <a:lnTo>
                  <a:pt x="295" y="156"/>
                </a:lnTo>
                <a:lnTo>
                  <a:pt x="281" y="178"/>
                </a:lnTo>
                <a:lnTo>
                  <a:pt x="321" y="224"/>
                </a:lnTo>
                <a:lnTo>
                  <a:pt x="294" y="257"/>
                </a:lnTo>
                <a:lnTo>
                  <a:pt x="223" y="249"/>
                </a:lnTo>
                <a:lnTo>
                  <a:pt x="207" y="226"/>
                </a:lnTo>
                <a:lnTo>
                  <a:pt x="159" y="233"/>
                </a:lnTo>
                <a:lnTo>
                  <a:pt x="122" y="212"/>
                </a:lnTo>
                <a:lnTo>
                  <a:pt x="99" y="174"/>
                </a:lnTo>
                <a:lnTo>
                  <a:pt x="79" y="167"/>
                </a:lnTo>
                <a:lnTo>
                  <a:pt x="74" y="174"/>
                </a:lnTo>
                <a:lnTo>
                  <a:pt x="53" y="134"/>
                </a:lnTo>
                <a:lnTo>
                  <a:pt x="21" y="109"/>
                </a:lnTo>
                <a:lnTo>
                  <a:pt x="37" y="72"/>
                </a:lnTo>
                <a:lnTo>
                  <a:pt x="22" y="69"/>
                </a:lnTo>
                <a:lnTo>
                  <a:pt x="11" y="48"/>
                </a:lnTo>
                <a:lnTo>
                  <a:pt x="0" y="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19" name="Freeform 111"/>
          <p:cNvSpPr>
            <a:spLocks/>
          </p:cNvSpPr>
          <p:nvPr/>
        </p:nvSpPr>
        <p:spPr bwMode="auto">
          <a:xfrm>
            <a:off x="5132388" y="3548063"/>
            <a:ext cx="230187" cy="207962"/>
          </a:xfrm>
          <a:custGeom>
            <a:avLst/>
            <a:gdLst>
              <a:gd name="T0" fmla="*/ 0 w 168"/>
              <a:gd name="T1" fmla="*/ 2147483647 h 143"/>
              <a:gd name="T2" fmla="*/ 2147483647 w 168"/>
              <a:gd name="T3" fmla="*/ 2147483647 h 143"/>
              <a:gd name="T4" fmla="*/ 2147483647 w 168"/>
              <a:gd name="T5" fmla="*/ 2147483647 h 143"/>
              <a:gd name="T6" fmla="*/ 2147483647 w 168"/>
              <a:gd name="T7" fmla="*/ 2147483647 h 143"/>
              <a:gd name="T8" fmla="*/ 2147483647 w 168"/>
              <a:gd name="T9" fmla="*/ 2147483647 h 143"/>
              <a:gd name="T10" fmla="*/ 2147483647 w 168"/>
              <a:gd name="T11" fmla="*/ 2147483647 h 143"/>
              <a:gd name="T12" fmla="*/ 2147483647 w 168"/>
              <a:gd name="T13" fmla="*/ 2147483647 h 143"/>
              <a:gd name="T14" fmla="*/ 2147483647 w 168"/>
              <a:gd name="T15" fmla="*/ 2147483647 h 143"/>
              <a:gd name="T16" fmla="*/ 2147483647 w 168"/>
              <a:gd name="T17" fmla="*/ 2147483647 h 143"/>
              <a:gd name="T18" fmla="*/ 2147483647 w 168"/>
              <a:gd name="T19" fmla="*/ 2147483647 h 143"/>
              <a:gd name="T20" fmla="*/ 2147483647 w 168"/>
              <a:gd name="T21" fmla="*/ 2147483647 h 143"/>
              <a:gd name="T22" fmla="*/ 2147483647 w 168"/>
              <a:gd name="T23" fmla="*/ 2147483647 h 143"/>
              <a:gd name="T24" fmla="*/ 2147483647 w 168"/>
              <a:gd name="T25" fmla="*/ 0 h 143"/>
              <a:gd name="T26" fmla="*/ 2147483647 w 168"/>
              <a:gd name="T27" fmla="*/ 0 h 143"/>
              <a:gd name="T28" fmla="*/ 2147483647 w 168"/>
              <a:gd name="T29" fmla="*/ 2147483647 h 143"/>
              <a:gd name="T30" fmla="*/ 2147483647 w 168"/>
              <a:gd name="T31" fmla="*/ 2147483647 h 143"/>
              <a:gd name="T32" fmla="*/ 0 w 168"/>
              <a:gd name="T33" fmla="*/ 2147483647 h 1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8"/>
              <a:gd name="T52" fmla="*/ 0 h 143"/>
              <a:gd name="T53" fmla="*/ 168 w 168"/>
              <a:gd name="T54" fmla="*/ 143 h 1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8" h="143">
                <a:moveTo>
                  <a:pt x="0" y="69"/>
                </a:moveTo>
                <a:lnTo>
                  <a:pt x="9" y="89"/>
                </a:lnTo>
                <a:lnTo>
                  <a:pt x="83" y="120"/>
                </a:lnTo>
                <a:lnTo>
                  <a:pt x="85" y="134"/>
                </a:lnTo>
                <a:lnTo>
                  <a:pt x="104" y="141"/>
                </a:lnTo>
                <a:lnTo>
                  <a:pt x="134" y="142"/>
                </a:lnTo>
                <a:lnTo>
                  <a:pt x="160" y="127"/>
                </a:lnTo>
                <a:lnTo>
                  <a:pt x="167" y="126"/>
                </a:lnTo>
                <a:lnTo>
                  <a:pt x="146" y="85"/>
                </a:lnTo>
                <a:lnTo>
                  <a:pt x="114" y="61"/>
                </a:lnTo>
                <a:lnTo>
                  <a:pt x="130" y="24"/>
                </a:lnTo>
                <a:lnTo>
                  <a:pt x="115" y="21"/>
                </a:lnTo>
                <a:lnTo>
                  <a:pt x="104" y="0"/>
                </a:lnTo>
                <a:lnTo>
                  <a:pt x="66" y="0"/>
                </a:lnTo>
                <a:lnTo>
                  <a:pt x="47" y="14"/>
                </a:lnTo>
                <a:lnTo>
                  <a:pt x="41" y="48"/>
                </a:lnTo>
                <a:lnTo>
                  <a:pt x="0" y="6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0" name="Freeform 112"/>
          <p:cNvSpPr>
            <a:spLocks/>
          </p:cNvSpPr>
          <p:nvPr/>
        </p:nvSpPr>
        <p:spPr bwMode="auto">
          <a:xfrm>
            <a:off x="5273675" y="3754438"/>
            <a:ext cx="44450" cy="11112"/>
          </a:xfrm>
          <a:custGeom>
            <a:avLst/>
            <a:gdLst>
              <a:gd name="T0" fmla="*/ 0 w 32"/>
              <a:gd name="T1" fmla="*/ 0 h 8"/>
              <a:gd name="T2" fmla="*/ 2147483647 w 32"/>
              <a:gd name="T3" fmla="*/ 2147483647 h 8"/>
              <a:gd name="T4" fmla="*/ 2147483647 w 32"/>
              <a:gd name="T5" fmla="*/ 2147483647 h 8"/>
              <a:gd name="T6" fmla="*/ 0 w 32"/>
              <a:gd name="T7" fmla="*/ 0 h 8"/>
              <a:gd name="T8" fmla="*/ 0 60000 65536"/>
              <a:gd name="T9" fmla="*/ 0 60000 65536"/>
              <a:gd name="T10" fmla="*/ 0 60000 65536"/>
              <a:gd name="T11" fmla="*/ 0 60000 65536"/>
              <a:gd name="T12" fmla="*/ 0 w 32"/>
              <a:gd name="T13" fmla="*/ 0 h 8"/>
              <a:gd name="T14" fmla="*/ 32 w 32"/>
              <a:gd name="T15" fmla="*/ 8 h 8"/>
            </a:gdLst>
            <a:ahLst/>
            <a:cxnLst>
              <a:cxn ang="T8">
                <a:pos x="T0" y="T1"/>
              </a:cxn>
              <a:cxn ang="T9">
                <a:pos x="T2" y="T3"/>
              </a:cxn>
              <a:cxn ang="T10">
                <a:pos x="T4" y="T5"/>
              </a:cxn>
              <a:cxn ang="T11">
                <a:pos x="T6" y="T7"/>
              </a:cxn>
            </a:cxnLst>
            <a:rect l="T12" t="T13" r="T14" b="T15"/>
            <a:pathLst>
              <a:path w="32" h="8">
                <a:moveTo>
                  <a:pt x="0" y="0"/>
                </a:moveTo>
                <a:lnTo>
                  <a:pt x="16" y="7"/>
                </a:lnTo>
                <a:lnTo>
                  <a:pt x="31" y="1"/>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1" name="Freeform 113"/>
          <p:cNvSpPr>
            <a:spLocks/>
          </p:cNvSpPr>
          <p:nvPr/>
        </p:nvSpPr>
        <p:spPr bwMode="auto">
          <a:xfrm>
            <a:off x="4002088" y="3032125"/>
            <a:ext cx="100012" cy="111125"/>
          </a:xfrm>
          <a:custGeom>
            <a:avLst/>
            <a:gdLst>
              <a:gd name="T0" fmla="*/ 0 w 72"/>
              <a:gd name="T1" fmla="*/ 2147483647 h 76"/>
              <a:gd name="T2" fmla="*/ 2147483647 w 72"/>
              <a:gd name="T3" fmla="*/ 2147483647 h 76"/>
              <a:gd name="T4" fmla="*/ 2147483647 w 72"/>
              <a:gd name="T5" fmla="*/ 2147483647 h 76"/>
              <a:gd name="T6" fmla="*/ 2147483647 w 72"/>
              <a:gd name="T7" fmla="*/ 2147483647 h 76"/>
              <a:gd name="T8" fmla="*/ 2147483647 w 72"/>
              <a:gd name="T9" fmla="*/ 2147483647 h 76"/>
              <a:gd name="T10" fmla="*/ 2147483647 w 72"/>
              <a:gd name="T11" fmla="*/ 2147483647 h 76"/>
              <a:gd name="T12" fmla="*/ 2147483647 w 72"/>
              <a:gd name="T13" fmla="*/ 2147483647 h 76"/>
              <a:gd name="T14" fmla="*/ 2147483647 w 72"/>
              <a:gd name="T15" fmla="*/ 2147483647 h 76"/>
              <a:gd name="T16" fmla="*/ 2147483647 w 72"/>
              <a:gd name="T17" fmla="*/ 2147483647 h 76"/>
              <a:gd name="T18" fmla="*/ 2147483647 w 72"/>
              <a:gd name="T19" fmla="*/ 0 h 76"/>
              <a:gd name="T20" fmla="*/ 2147483647 w 72"/>
              <a:gd name="T21" fmla="*/ 2147483647 h 76"/>
              <a:gd name="T22" fmla="*/ 2147483647 w 72"/>
              <a:gd name="T23" fmla="*/ 2147483647 h 76"/>
              <a:gd name="T24" fmla="*/ 2147483647 w 72"/>
              <a:gd name="T25" fmla="*/ 2147483647 h 76"/>
              <a:gd name="T26" fmla="*/ 2147483647 w 72"/>
              <a:gd name="T27" fmla="*/ 2147483647 h 76"/>
              <a:gd name="T28" fmla="*/ 2147483647 w 72"/>
              <a:gd name="T29" fmla="*/ 2147483647 h 76"/>
              <a:gd name="T30" fmla="*/ 2147483647 w 72"/>
              <a:gd name="T31" fmla="*/ 2147483647 h 76"/>
              <a:gd name="T32" fmla="*/ 2147483647 w 72"/>
              <a:gd name="T33" fmla="*/ 2147483647 h 76"/>
              <a:gd name="T34" fmla="*/ 0 w 72"/>
              <a:gd name="T35" fmla="*/ 2147483647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76"/>
              <a:gd name="T56" fmla="*/ 72 w 72"/>
              <a:gd name="T57" fmla="*/ 76 h 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76">
                <a:moveTo>
                  <a:pt x="0" y="63"/>
                </a:moveTo>
                <a:lnTo>
                  <a:pt x="11" y="69"/>
                </a:lnTo>
                <a:lnTo>
                  <a:pt x="5" y="75"/>
                </a:lnTo>
                <a:lnTo>
                  <a:pt x="66" y="63"/>
                </a:lnTo>
                <a:lnTo>
                  <a:pt x="71" y="25"/>
                </a:lnTo>
                <a:lnTo>
                  <a:pt x="64" y="15"/>
                </a:lnTo>
                <a:lnTo>
                  <a:pt x="45" y="21"/>
                </a:lnTo>
                <a:lnTo>
                  <a:pt x="39" y="14"/>
                </a:lnTo>
                <a:lnTo>
                  <a:pt x="46" y="5"/>
                </a:lnTo>
                <a:lnTo>
                  <a:pt x="39" y="0"/>
                </a:lnTo>
                <a:lnTo>
                  <a:pt x="30" y="20"/>
                </a:lnTo>
                <a:lnTo>
                  <a:pt x="4" y="25"/>
                </a:lnTo>
                <a:lnTo>
                  <a:pt x="14" y="29"/>
                </a:lnTo>
                <a:lnTo>
                  <a:pt x="9" y="39"/>
                </a:lnTo>
                <a:lnTo>
                  <a:pt x="24" y="42"/>
                </a:lnTo>
                <a:lnTo>
                  <a:pt x="10" y="55"/>
                </a:lnTo>
                <a:lnTo>
                  <a:pt x="26" y="53"/>
                </a:lnTo>
                <a:lnTo>
                  <a:pt x="0" y="6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2" name="Freeform 114"/>
          <p:cNvSpPr>
            <a:spLocks/>
          </p:cNvSpPr>
          <p:nvPr/>
        </p:nvSpPr>
        <p:spPr bwMode="auto">
          <a:xfrm>
            <a:off x="5027613" y="3651250"/>
            <a:ext cx="36512" cy="100013"/>
          </a:xfrm>
          <a:custGeom>
            <a:avLst/>
            <a:gdLst>
              <a:gd name="T0" fmla="*/ 0 w 27"/>
              <a:gd name="T1" fmla="*/ 2147483647 h 68"/>
              <a:gd name="T2" fmla="*/ 2147483647 w 27"/>
              <a:gd name="T3" fmla="*/ 2147483647 h 68"/>
              <a:gd name="T4" fmla="*/ 2147483647 w 27"/>
              <a:gd name="T5" fmla="*/ 2147483647 h 68"/>
              <a:gd name="T6" fmla="*/ 2147483647 w 27"/>
              <a:gd name="T7" fmla="*/ 2147483647 h 68"/>
              <a:gd name="T8" fmla="*/ 2147483647 w 27"/>
              <a:gd name="T9" fmla="*/ 2147483647 h 68"/>
              <a:gd name="T10" fmla="*/ 2147483647 w 27"/>
              <a:gd name="T11" fmla="*/ 2147483647 h 68"/>
              <a:gd name="T12" fmla="*/ 2147483647 w 27"/>
              <a:gd name="T13" fmla="*/ 0 h 68"/>
              <a:gd name="T14" fmla="*/ 2147483647 w 27"/>
              <a:gd name="T15" fmla="*/ 2147483647 h 68"/>
              <a:gd name="T16" fmla="*/ 0 w 27"/>
              <a:gd name="T17" fmla="*/ 2147483647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68"/>
              <a:gd name="T29" fmla="*/ 27 w 27"/>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68">
                <a:moveTo>
                  <a:pt x="0" y="35"/>
                </a:moveTo>
                <a:lnTo>
                  <a:pt x="14" y="67"/>
                </a:lnTo>
                <a:lnTo>
                  <a:pt x="22" y="31"/>
                </a:lnTo>
                <a:lnTo>
                  <a:pt x="12" y="35"/>
                </a:lnTo>
                <a:lnTo>
                  <a:pt x="14" y="18"/>
                </a:lnTo>
                <a:lnTo>
                  <a:pt x="24" y="10"/>
                </a:lnTo>
                <a:lnTo>
                  <a:pt x="26" y="0"/>
                </a:lnTo>
                <a:lnTo>
                  <a:pt x="16" y="2"/>
                </a:lnTo>
                <a:lnTo>
                  <a:pt x="0" y="3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3" name="Freeform 115"/>
          <p:cNvSpPr>
            <a:spLocks/>
          </p:cNvSpPr>
          <p:nvPr/>
        </p:nvSpPr>
        <p:spPr bwMode="auto">
          <a:xfrm>
            <a:off x="4395788" y="3275013"/>
            <a:ext cx="273050" cy="255587"/>
          </a:xfrm>
          <a:custGeom>
            <a:avLst/>
            <a:gdLst>
              <a:gd name="T0" fmla="*/ 0 w 198"/>
              <a:gd name="T1" fmla="*/ 2147483647 h 174"/>
              <a:gd name="T2" fmla="*/ 2147483647 w 198"/>
              <a:gd name="T3" fmla="*/ 2147483647 h 174"/>
              <a:gd name="T4" fmla="*/ 2147483647 w 198"/>
              <a:gd name="T5" fmla="*/ 2147483647 h 174"/>
              <a:gd name="T6" fmla="*/ 2147483647 w 198"/>
              <a:gd name="T7" fmla="*/ 2147483647 h 174"/>
              <a:gd name="T8" fmla="*/ 2147483647 w 198"/>
              <a:gd name="T9" fmla="*/ 2147483647 h 174"/>
              <a:gd name="T10" fmla="*/ 2147483647 w 198"/>
              <a:gd name="T11" fmla="*/ 0 h 174"/>
              <a:gd name="T12" fmla="*/ 2147483647 w 198"/>
              <a:gd name="T13" fmla="*/ 2147483647 h 174"/>
              <a:gd name="T14" fmla="*/ 2147483647 w 198"/>
              <a:gd name="T15" fmla="*/ 2147483647 h 174"/>
              <a:gd name="T16" fmla="*/ 2147483647 w 198"/>
              <a:gd name="T17" fmla="*/ 2147483647 h 174"/>
              <a:gd name="T18" fmla="*/ 2147483647 w 198"/>
              <a:gd name="T19" fmla="*/ 2147483647 h 174"/>
              <a:gd name="T20" fmla="*/ 2147483647 w 198"/>
              <a:gd name="T21" fmla="*/ 2147483647 h 174"/>
              <a:gd name="T22" fmla="*/ 2147483647 w 198"/>
              <a:gd name="T23" fmla="*/ 2147483647 h 174"/>
              <a:gd name="T24" fmla="*/ 2147483647 w 198"/>
              <a:gd name="T25" fmla="*/ 2147483647 h 174"/>
              <a:gd name="T26" fmla="*/ 2147483647 w 198"/>
              <a:gd name="T27" fmla="*/ 2147483647 h 174"/>
              <a:gd name="T28" fmla="*/ 2147483647 w 198"/>
              <a:gd name="T29" fmla="*/ 2147483647 h 174"/>
              <a:gd name="T30" fmla="*/ 2147483647 w 198"/>
              <a:gd name="T31" fmla="*/ 2147483647 h 174"/>
              <a:gd name="T32" fmla="*/ 2147483647 w 198"/>
              <a:gd name="T33" fmla="*/ 2147483647 h 174"/>
              <a:gd name="T34" fmla="*/ 2147483647 w 198"/>
              <a:gd name="T35" fmla="*/ 2147483647 h 174"/>
              <a:gd name="T36" fmla="*/ 2147483647 w 198"/>
              <a:gd name="T37" fmla="*/ 2147483647 h 174"/>
              <a:gd name="T38" fmla="*/ 2147483647 w 198"/>
              <a:gd name="T39" fmla="*/ 2147483647 h 174"/>
              <a:gd name="T40" fmla="*/ 2147483647 w 198"/>
              <a:gd name="T41" fmla="*/ 2147483647 h 174"/>
              <a:gd name="T42" fmla="*/ 2147483647 w 198"/>
              <a:gd name="T43" fmla="*/ 2147483647 h 174"/>
              <a:gd name="T44" fmla="*/ 0 w 198"/>
              <a:gd name="T45" fmla="*/ 2147483647 h 1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8"/>
              <a:gd name="T70" fmla="*/ 0 h 174"/>
              <a:gd name="T71" fmla="*/ 198 w 198"/>
              <a:gd name="T72" fmla="*/ 174 h 1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8" h="174">
                <a:moveTo>
                  <a:pt x="0" y="43"/>
                </a:moveTo>
                <a:lnTo>
                  <a:pt x="4" y="23"/>
                </a:lnTo>
                <a:lnTo>
                  <a:pt x="27" y="13"/>
                </a:lnTo>
                <a:lnTo>
                  <a:pt x="37" y="23"/>
                </a:lnTo>
                <a:lnTo>
                  <a:pt x="62" y="3"/>
                </a:lnTo>
                <a:lnTo>
                  <a:pt x="89" y="0"/>
                </a:lnTo>
                <a:lnTo>
                  <a:pt x="115" y="13"/>
                </a:lnTo>
                <a:lnTo>
                  <a:pt x="115" y="31"/>
                </a:lnTo>
                <a:lnTo>
                  <a:pt x="91" y="33"/>
                </a:lnTo>
                <a:lnTo>
                  <a:pt x="96" y="57"/>
                </a:lnTo>
                <a:lnTo>
                  <a:pt x="133" y="96"/>
                </a:lnTo>
                <a:lnTo>
                  <a:pt x="155" y="99"/>
                </a:lnTo>
                <a:lnTo>
                  <a:pt x="153" y="108"/>
                </a:lnTo>
                <a:lnTo>
                  <a:pt x="197" y="134"/>
                </a:lnTo>
                <a:lnTo>
                  <a:pt x="167" y="129"/>
                </a:lnTo>
                <a:lnTo>
                  <a:pt x="174" y="153"/>
                </a:lnTo>
                <a:lnTo>
                  <a:pt x="155" y="173"/>
                </a:lnTo>
                <a:lnTo>
                  <a:pt x="148" y="134"/>
                </a:lnTo>
                <a:lnTo>
                  <a:pt x="74" y="89"/>
                </a:lnTo>
                <a:lnTo>
                  <a:pt x="58" y="59"/>
                </a:lnTo>
                <a:lnTo>
                  <a:pt x="34" y="52"/>
                </a:lnTo>
                <a:lnTo>
                  <a:pt x="14" y="64"/>
                </a:lnTo>
                <a:lnTo>
                  <a:pt x="0" y="4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4" name="Freeform 116"/>
          <p:cNvSpPr>
            <a:spLocks/>
          </p:cNvSpPr>
          <p:nvPr/>
        </p:nvSpPr>
        <p:spPr bwMode="auto">
          <a:xfrm>
            <a:off x="4429125" y="3438525"/>
            <a:ext cx="36513" cy="61913"/>
          </a:xfrm>
          <a:custGeom>
            <a:avLst/>
            <a:gdLst>
              <a:gd name="T0" fmla="*/ 0 w 26"/>
              <a:gd name="T1" fmla="*/ 2147483647 h 43"/>
              <a:gd name="T2" fmla="*/ 2147483647 w 26"/>
              <a:gd name="T3" fmla="*/ 2147483647 h 43"/>
              <a:gd name="T4" fmla="*/ 2147483647 w 26"/>
              <a:gd name="T5" fmla="*/ 2147483647 h 43"/>
              <a:gd name="T6" fmla="*/ 2147483647 w 26"/>
              <a:gd name="T7" fmla="*/ 2147483647 h 43"/>
              <a:gd name="T8" fmla="*/ 2147483647 w 26"/>
              <a:gd name="T9" fmla="*/ 0 h 43"/>
              <a:gd name="T10" fmla="*/ 0 w 26"/>
              <a:gd name="T11" fmla="*/ 2147483647 h 43"/>
              <a:gd name="T12" fmla="*/ 0 60000 65536"/>
              <a:gd name="T13" fmla="*/ 0 60000 65536"/>
              <a:gd name="T14" fmla="*/ 0 60000 65536"/>
              <a:gd name="T15" fmla="*/ 0 60000 65536"/>
              <a:gd name="T16" fmla="*/ 0 60000 65536"/>
              <a:gd name="T17" fmla="*/ 0 60000 65536"/>
              <a:gd name="T18" fmla="*/ 0 w 26"/>
              <a:gd name="T19" fmla="*/ 0 h 43"/>
              <a:gd name="T20" fmla="*/ 26 w 26"/>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26" h="43">
                <a:moveTo>
                  <a:pt x="0" y="6"/>
                </a:moveTo>
                <a:lnTo>
                  <a:pt x="5" y="39"/>
                </a:lnTo>
                <a:lnTo>
                  <a:pt x="14" y="42"/>
                </a:lnTo>
                <a:lnTo>
                  <a:pt x="25" y="16"/>
                </a:lnTo>
                <a:lnTo>
                  <a:pt x="15" y="0"/>
                </a:lnTo>
                <a:lnTo>
                  <a:pt x="0" y="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5" name="Freeform 117"/>
          <p:cNvSpPr>
            <a:spLocks/>
          </p:cNvSpPr>
          <p:nvPr/>
        </p:nvSpPr>
        <p:spPr bwMode="auto">
          <a:xfrm>
            <a:off x="4530725" y="3519488"/>
            <a:ext cx="69850" cy="42862"/>
          </a:xfrm>
          <a:custGeom>
            <a:avLst/>
            <a:gdLst>
              <a:gd name="T0" fmla="*/ 0 w 51"/>
              <a:gd name="T1" fmla="*/ 2147483647 h 29"/>
              <a:gd name="T2" fmla="*/ 2147483647 w 51"/>
              <a:gd name="T3" fmla="*/ 2147483647 h 29"/>
              <a:gd name="T4" fmla="*/ 2147483647 w 51"/>
              <a:gd name="T5" fmla="*/ 0 h 29"/>
              <a:gd name="T6" fmla="*/ 0 w 51"/>
              <a:gd name="T7" fmla="*/ 2147483647 h 29"/>
              <a:gd name="T8" fmla="*/ 0 60000 65536"/>
              <a:gd name="T9" fmla="*/ 0 60000 65536"/>
              <a:gd name="T10" fmla="*/ 0 60000 65536"/>
              <a:gd name="T11" fmla="*/ 0 60000 65536"/>
              <a:gd name="T12" fmla="*/ 0 w 51"/>
              <a:gd name="T13" fmla="*/ 0 h 29"/>
              <a:gd name="T14" fmla="*/ 51 w 51"/>
              <a:gd name="T15" fmla="*/ 29 h 29"/>
            </a:gdLst>
            <a:ahLst/>
            <a:cxnLst>
              <a:cxn ang="T8">
                <a:pos x="T0" y="T1"/>
              </a:cxn>
              <a:cxn ang="T9">
                <a:pos x="T2" y="T3"/>
              </a:cxn>
              <a:cxn ang="T10">
                <a:pos x="T4" y="T5"/>
              </a:cxn>
              <a:cxn ang="T11">
                <a:pos x="T6" y="T7"/>
              </a:cxn>
            </a:cxnLst>
            <a:rect l="T12" t="T13" r="T14" b="T15"/>
            <a:pathLst>
              <a:path w="51" h="29">
                <a:moveTo>
                  <a:pt x="0" y="7"/>
                </a:moveTo>
                <a:lnTo>
                  <a:pt x="43" y="28"/>
                </a:lnTo>
                <a:lnTo>
                  <a:pt x="50" y="0"/>
                </a:lnTo>
                <a:lnTo>
                  <a:pt x="0" y="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6" name="Freeform 118"/>
          <p:cNvSpPr>
            <a:spLocks/>
          </p:cNvSpPr>
          <p:nvPr/>
        </p:nvSpPr>
        <p:spPr bwMode="auto">
          <a:xfrm>
            <a:off x="4041775" y="4197350"/>
            <a:ext cx="138113" cy="146050"/>
          </a:xfrm>
          <a:custGeom>
            <a:avLst/>
            <a:gdLst>
              <a:gd name="T0" fmla="*/ 0 w 101"/>
              <a:gd name="T1" fmla="*/ 2147483647 h 100"/>
              <a:gd name="T2" fmla="*/ 2147483647 w 101"/>
              <a:gd name="T3" fmla="*/ 2147483647 h 100"/>
              <a:gd name="T4" fmla="*/ 2147483647 w 101"/>
              <a:gd name="T5" fmla="*/ 2147483647 h 100"/>
              <a:gd name="T6" fmla="*/ 2147483647 w 101"/>
              <a:gd name="T7" fmla="*/ 2147483647 h 100"/>
              <a:gd name="T8" fmla="*/ 2147483647 w 101"/>
              <a:gd name="T9" fmla="*/ 2147483647 h 100"/>
              <a:gd name="T10" fmla="*/ 2147483647 w 101"/>
              <a:gd name="T11" fmla="*/ 0 h 100"/>
              <a:gd name="T12" fmla="*/ 2147483647 w 101"/>
              <a:gd name="T13" fmla="*/ 2147483647 h 100"/>
              <a:gd name="T14" fmla="*/ 2147483647 w 101"/>
              <a:gd name="T15" fmla="*/ 2147483647 h 100"/>
              <a:gd name="T16" fmla="*/ 2147483647 w 101"/>
              <a:gd name="T17" fmla="*/ 2147483647 h 100"/>
              <a:gd name="T18" fmla="*/ 2147483647 w 101"/>
              <a:gd name="T19" fmla="*/ 2147483647 h 100"/>
              <a:gd name="T20" fmla="*/ 2147483647 w 101"/>
              <a:gd name="T21" fmla="*/ 2147483647 h 100"/>
              <a:gd name="T22" fmla="*/ 2147483647 w 101"/>
              <a:gd name="T23" fmla="*/ 2147483647 h 100"/>
              <a:gd name="T24" fmla="*/ 0 w 101"/>
              <a:gd name="T25" fmla="*/ 2147483647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1"/>
              <a:gd name="T40" fmla="*/ 0 h 100"/>
              <a:gd name="T41" fmla="*/ 101 w 101"/>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1" h="100">
                <a:moveTo>
                  <a:pt x="0" y="66"/>
                </a:moveTo>
                <a:lnTo>
                  <a:pt x="1" y="50"/>
                </a:lnTo>
                <a:lnTo>
                  <a:pt x="6" y="35"/>
                </a:lnTo>
                <a:lnTo>
                  <a:pt x="15" y="38"/>
                </a:lnTo>
                <a:lnTo>
                  <a:pt x="10" y="7"/>
                </a:lnTo>
                <a:lnTo>
                  <a:pt x="40" y="0"/>
                </a:lnTo>
                <a:lnTo>
                  <a:pt x="56" y="5"/>
                </a:lnTo>
                <a:lnTo>
                  <a:pt x="64" y="15"/>
                </a:lnTo>
                <a:lnTo>
                  <a:pt x="100" y="17"/>
                </a:lnTo>
                <a:lnTo>
                  <a:pt x="93" y="89"/>
                </a:lnTo>
                <a:lnTo>
                  <a:pt x="17" y="99"/>
                </a:lnTo>
                <a:lnTo>
                  <a:pt x="19" y="76"/>
                </a:lnTo>
                <a:lnTo>
                  <a:pt x="0" y="6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7" name="Freeform 119"/>
          <p:cNvSpPr>
            <a:spLocks/>
          </p:cNvSpPr>
          <p:nvPr/>
        </p:nvSpPr>
        <p:spPr bwMode="auto">
          <a:xfrm>
            <a:off x="7237413" y="3636963"/>
            <a:ext cx="57150" cy="65087"/>
          </a:xfrm>
          <a:custGeom>
            <a:avLst/>
            <a:gdLst>
              <a:gd name="T0" fmla="*/ 0 w 42"/>
              <a:gd name="T1" fmla="*/ 2147483647 h 45"/>
              <a:gd name="T2" fmla="*/ 2147483647 w 42"/>
              <a:gd name="T3" fmla="*/ 2147483647 h 45"/>
              <a:gd name="T4" fmla="*/ 2147483647 w 42"/>
              <a:gd name="T5" fmla="*/ 2147483647 h 45"/>
              <a:gd name="T6" fmla="*/ 2147483647 w 42"/>
              <a:gd name="T7" fmla="*/ 2147483647 h 45"/>
              <a:gd name="T8" fmla="*/ 2147483647 w 42"/>
              <a:gd name="T9" fmla="*/ 2147483647 h 45"/>
              <a:gd name="T10" fmla="*/ 2147483647 w 42"/>
              <a:gd name="T11" fmla="*/ 2147483647 h 45"/>
              <a:gd name="T12" fmla="*/ 2147483647 w 42"/>
              <a:gd name="T13" fmla="*/ 2147483647 h 45"/>
              <a:gd name="T14" fmla="*/ 2147483647 w 42"/>
              <a:gd name="T15" fmla="*/ 2147483647 h 45"/>
              <a:gd name="T16" fmla="*/ 2147483647 w 42"/>
              <a:gd name="T17" fmla="*/ 0 h 45"/>
              <a:gd name="T18" fmla="*/ 0 w 42"/>
              <a:gd name="T19" fmla="*/ 2147483647 h 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45"/>
              <a:gd name="T32" fmla="*/ 42 w 42"/>
              <a:gd name="T33" fmla="*/ 45 h 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45">
                <a:moveTo>
                  <a:pt x="0" y="12"/>
                </a:moveTo>
                <a:lnTo>
                  <a:pt x="4" y="22"/>
                </a:lnTo>
                <a:lnTo>
                  <a:pt x="12" y="12"/>
                </a:lnTo>
                <a:lnTo>
                  <a:pt x="16" y="19"/>
                </a:lnTo>
                <a:lnTo>
                  <a:pt x="12" y="44"/>
                </a:lnTo>
                <a:lnTo>
                  <a:pt x="30" y="44"/>
                </a:lnTo>
                <a:lnTo>
                  <a:pt x="41" y="17"/>
                </a:lnTo>
                <a:lnTo>
                  <a:pt x="35" y="3"/>
                </a:lnTo>
                <a:lnTo>
                  <a:pt x="16" y="0"/>
                </a:lnTo>
                <a:lnTo>
                  <a:pt x="0" y="1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8" name="Freeform 120"/>
          <p:cNvSpPr>
            <a:spLocks/>
          </p:cNvSpPr>
          <p:nvPr/>
        </p:nvSpPr>
        <p:spPr bwMode="auto">
          <a:xfrm>
            <a:off x="7269163" y="3435350"/>
            <a:ext cx="260350" cy="211138"/>
          </a:xfrm>
          <a:custGeom>
            <a:avLst/>
            <a:gdLst>
              <a:gd name="T0" fmla="*/ 0 w 189"/>
              <a:gd name="T1" fmla="*/ 2147483647 h 145"/>
              <a:gd name="T2" fmla="*/ 2147483647 w 189"/>
              <a:gd name="T3" fmla="*/ 2147483647 h 145"/>
              <a:gd name="T4" fmla="*/ 2147483647 w 189"/>
              <a:gd name="T5" fmla="*/ 2147483647 h 145"/>
              <a:gd name="T6" fmla="*/ 2147483647 w 189"/>
              <a:gd name="T7" fmla="*/ 2147483647 h 145"/>
              <a:gd name="T8" fmla="*/ 2147483647 w 189"/>
              <a:gd name="T9" fmla="*/ 2147483647 h 145"/>
              <a:gd name="T10" fmla="*/ 2147483647 w 189"/>
              <a:gd name="T11" fmla="*/ 2147483647 h 145"/>
              <a:gd name="T12" fmla="*/ 2147483647 w 189"/>
              <a:gd name="T13" fmla="*/ 2147483647 h 145"/>
              <a:gd name="T14" fmla="*/ 2147483647 w 189"/>
              <a:gd name="T15" fmla="*/ 2147483647 h 145"/>
              <a:gd name="T16" fmla="*/ 2147483647 w 189"/>
              <a:gd name="T17" fmla="*/ 2147483647 h 145"/>
              <a:gd name="T18" fmla="*/ 2147483647 w 189"/>
              <a:gd name="T19" fmla="*/ 2147483647 h 145"/>
              <a:gd name="T20" fmla="*/ 2147483647 w 189"/>
              <a:gd name="T21" fmla="*/ 0 h 145"/>
              <a:gd name="T22" fmla="*/ 2147483647 w 189"/>
              <a:gd name="T23" fmla="*/ 2147483647 h 145"/>
              <a:gd name="T24" fmla="*/ 2147483647 w 189"/>
              <a:gd name="T25" fmla="*/ 2147483647 h 145"/>
              <a:gd name="T26" fmla="*/ 2147483647 w 189"/>
              <a:gd name="T27" fmla="*/ 2147483647 h 145"/>
              <a:gd name="T28" fmla="*/ 2147483647 w 189"/>
              <a:gd name="T29" fmla="*/ 2147483647 h 145"/>
              <a:gd name="T30" fmla="*/ 2147483647 w 189"/>
              <a:gd name="T31" fmla="*/ 2147483647 h 145"/>
              <a:gd name="T32" fmla="*/ 2147483647 w 189"/>
              <a:gd name="T33" fmla="*/ 2147483647 h 145"/>
              <a:gd name="T34" fmla="*/ 2147483647 w 189"/>
              <a:gd name="T35" fmla="*/ 2147483647 h 145"/>
              <a:gd name="T36" fmla="*/ 2147483647 w 189"/>
              <a:gd name="T37" fmla="*/ 2147483647 h 145"/>
              <a:gd name="T38" fmla="*/ 2147483647 w 189"/>
              <a:gd name="T39" fmla="*/ 2147483647 h 145"/>
              <a:gd name="T40" fmla="*/ 2147483647 w 189"/>
              <a:gd name="T41" fmla="*/ 2147483647 h 145"/>
              <a:gd name="T42" fmla="*/ 2147483647 w 189"/>
              <a:gd name="T43" fmla="*/ 2147483647 h 145"/>
              <a:gd name="T44" fmla="*/ 2147483647 w 189"/>
              <a:gd name="T45" fmla="*/ 2147483647 h 145"/>
              <a:gd name="T46" fmla="*/ 0 w 189"/>
              <a:gd name="T47" fmla="*/ 2147483647 h 14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89"/>
              <a:gd name="T73" fmla="*/ 0 h 145"/>
              <a:gd name="T74" fmla="*/ 189 w 189"/>
              <a:gd name="T75" fmla="*/ 145 h 14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89" h="145">
                <a:moveTo>
                  <a:pt x="0" y="136"/>
                </a:moveTo>
                <a:lnTo>
                  <a:pt x="32" y="107"/>
                </a:lnTo>
                <a:lnTo>
                  <a:pt x="79" y="107"/>
                </a:lnTo>
                <a:lnTo>
                  <a:pt x="99" y="77"/>
                </a:lnTo>
                <a:lnTo>
                  <a:pt x="108" y="73"/>
                </a:lnTo>
                <a:lnTo>
                  <a:pt x="109" y="86"/>
                </a:lnTo>
                <a:lnTo>
                  <a:pt x="129" y="73"/>
                </a:lnTo>
                <a:lnTo>
                  <a:pt x="150" y="48"/>
                </a:lnTo>
                <a:lnTo>
                  <a:pt x="157" y="8"/>
                </a:lnTo>
                <a:lnTo>
                  <a:pt x="171" y="10"/>
                </a:lnTo>
                <a:lnTo>
                  <a:pt x="167" y="0"/>
                </a:lnTo>
                <a:lnTo>
                  <a:pt x="176" y="1"/>
                </a:lnTo>
                <a:lnTo>
                  <a:pt x="188" y="36"/>
                </a:lnTo>
                <a:lnTo>
                  <a:pt x="171" y="60"/>
                </a:lnTo>
                <a:lnTo>
                  <a:pt x="171" y="82"/>
                </a:lnTo>
                <a:lnTo>
                  <a:pt x="160" y="115"/>
                </a:lnTo>
                <a:lnTo>
                  <a:pt x="151" y="120"/>
                </a:lnTo>
                <a:lnTo>
                  <a:pt x="151" y="106"/>
                </a:lnTo>
                <a:lnTo>
                  <a:pt x="122" y="125"/>
                </a:lnTo>
                <a:lnTo>
                  <a:pt x="99" y="117"/>
                </a:lnTo>
                <a:lnTo>
                  <a:pt x="99" y="131"/>
                </a:lnTo>
                <a:lnTo>
                  <a:pt x="80" y="144"/>
                </a:lnTo>
                <a:lnTo>
                  <a:pt x="75" y="123"/>
                </a:lnTo>
                <a:lnTo>
                  <a:pt x="0" y="13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29" name="Freeform 121"/>
          <p:cNvSpPr>
            <a:spLocks/>
          </p:cNvSpPr>
          <p:nvPr/>
        </p:nvSpPr>
        <p:spPr bwMode="auto">
          <a:xfrm>
            <a:off x="7296150" y="3625850"/>
            <a:ext cx="58738" cy="41275"/>
          </a:xfrm>
          <a:custGeom>
            <a:avLst/>
            <a:gdLst>
              <a:gd name="T0" fmla="*/ 0 w 43"/>
              <a:gd name="T1" fmla="*/ 2147483647 h 28"/>
              <a:gd name="T2" fmla="*/ 2147483647 w 43"/>
              <a:gd name="T3" fmla="*/ 2147483647 h 28"/>
              <a:gd name="T4" fmla="*/ 2147483647 w 43"/>
              <a:gd name="T5" fmla="*/ 2147483647 h 28"/>
              <a:gd name="T6" fmla="*/ 2147483647 w 43"/>
              <a:gd name="T7" fmla="*/ 0 h 28"/>
              <a:gd name="T8" fmla="*/ 0 w 43"/>
              <a:gd name="T9" fmla="*/ 2147483647 h 28"/>
              <a:gd name="T10" fmla="*/ 0 60000 65536"/>
              <a:gd name="T11" fmla="*/ 0 60000 65536"/>
              <a:gd name="T12" fmla="*/ 0 60000 65536"/>
              <a:gd name="T13" fmla="*/ 0 60000 65536"/>
              <a:gd name="T14" fmla="*/ 0 60000 65536"/>
              <a:gd name="T15" fmla="*/ 0 w 43"/>
              <a:gd name="T16" fmla="*/ 0 h 28"/>
              <a:gd name="T17" fmla="*/ 43 w 43"/>
              <a:gd name="T18" fmla="*/ 28 h 28"/>
            </a:gdLst>
            <a:ahLst/>
            <a:cxnLst>
              <a:cxn ang="T10">
                <a:pos x="T0" y="T1"/>
              </a:cxn>
              <a:cxn ang="T11">
                <a:pos x="T2" y="T3"/>
              </a:cxn>
              <a:cxn ang="T12">
                <a:pos x="T4" y="T5"/>
              </a:cxn>
              <a:cxn ang="T13">
                <a:pos x="T6" y="T7"/>
              </a:cxn>
              <a:cxn ang="T14">
                <a:pos x="T8" y="T9"/>
              </a:cxn>
            </a:cxnLst>
            <a:rect l="T15" t="T16" r="T17" b="T18"/>
            <a:pathLst>
              <a:path w="43" h="28">
                <a:moveTo>
                  <a:pt x="0" y="15"/>
                </a:moveTo>
                <a:lnTo>
                  <a:pt x="15" y="27"/>
                </a:lnTo>
                <a:lnTo>
                  <a:pt x="37" y="16"/>
                </a:lnTo>
                <a:lnTo>
                  <a:pt x="42" y="0"/>
                </a:lnTo>
                <a:lnTo>
                  <a:pt x="0" y="1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0" name="Freeform 122"/>
          <p:cNvSpPr>
            <a:spLocks/>
          </p:cNvSpPr>
          <p:nvPr/>
        </p:nvSpPr>
        <p:spPr bwMode="auto">
          <a:xfrm>
            <a:off x="7473950" y="3321050"/>
            <a:ext cx="139700" cy="115888"/>
          </a:xfrm>
          <a:custGeom>
            <a:avLst/>
            <a:gdLst>
              <a:gd name="T0" fmla="*/ 0 w 101"/>
              <a:gd name="T1" fmla="*/ 2147483647 h 79"/>
              <a:gd name="T2" fmla="*/ 2147483647 w 101"/>
              <a:gd name="T3" fmla="*/ 2147483647 h 79"/>
              <a:gd name="T4" fmla="*/ 2147483647 w 101"/>
              <a:gd name="T5" fmla="*/ 2147483647 h 79"/>
              <a:gd name="T6" fmla="*/ 2147483647 w 101"/>
              <a:gd name="T7" fmla="*/ 2147483647 h 79"/>
              <a:gd name="T8" fmla="*/ 2147483647 w 101"/>
              <a:gd name="T9" fmla="*/ 2147483647 h 79"/>
              <a:gd name="T10" fmla="*/ 2147483647 w 101"/>
              <a:gd name="T11" fmla="*/ 2147483647 h 79"/>
              <a:gd name="T12" fmla="*/ 2147483647 w 101"/>
              <a:gd name="T13" fmla="*/ 2147483647 h 79"/>
              <a:gd name="T14" fmla="*/ 2147483647 w 101"/>
              <a:gd name="T15" fmla="*/ 2147483647 h 79"/>
              <a:gd name="T16" fmla="*/ 2147483647 w 101"/>
              <a:gd name="T17" fmla="*/ 2147483647 h 79"/>
              <a:gd name="T18" fmla="*/ 2147483647 w 101"/>
              <a:gd name="T19" fmla="*/ 2147483647 h 79"/>
              <a:gd name="T20" fmla="*/ 2147483647 w 101"/>
              <a:gd name="T21" fmla="*/ 0 h 79"/>
              <a:gd name="T22" fmla="*/ 2147483647 w 101"/>
              <a:gd name="T23" fmla="*/ 2147483647 h 79"/>
              <a:gd name="T24" fmla="*/ 2147483647 w 101"/>
              <a:gd name="T25" fmla="*/ 2147483647 h 79"/>
              <a:gd name="T26" fmla="*/ 0 w 101"/>
              <a:gd name="T27" fmla="*/ 2147483647 h 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1"/>
              <a:gd name="T43" fmla="*/ 0 h 79"/>
              <a:gd name="T44" fmla="*/ 101 w 101"/>
              <a:gd name="T45" fmla="*/ 79 h 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1" h="79">
                <a:moveTo>
                  <a:pt x="0" y="57"/>
                </a:moveTo>
                <a:lnTo>
                  <a:pt x="3" y="78"/>
                </a:lnTo>
                <a:lnTo>
                  <a:pt x="23" y="71"/>
                </a:lnTo>
                <a:lnTo>
                  <a:pt x="9" y="58"/>
                </a:lnTo>
                <a:lnTo>
                  <a:pt x="58" y="69"/>
                </a:lnTo>
                <a:lnTo>
                  <a:pt x="68" y="50"/>
                </a:lnTo>
                <a:lnTo>
                  <a:pt x="100" y="43"/>
                </a:lnTo>
                <a:lnTo>
                  <a:pt x="89" y="34"/>
                </a:lnTo>
                <a:lnTo>
                  <a:pt x="92" y="24"/>
                </a:lnTo>
                <a:lnTo>
                  <a:pt x="66" y="26"/>
                </a:lnTo>
                <a:lnTo>
                  <a:pt x="35" y="0"/>
                </a:lnTo>
                <a:lnTo>
                  <a:pt x="24" y="43"/>
                </a:lnTo>
                <a:lnTo>
                  <a:pt x="9" y="43"/>
                </a:lnTo>
                <a:lnTo>
                  <a:pt x="0" y="5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1" name="Freeform 123"/>
          <p:cNvSpPr>
            <a:spLocks/>
          </p:cNvSpPr>
          <p:nvPr/>
        </p:nvSpPr>
        <p:spPr bwMode="auto">
          <a:xfrm>
            <a:off x="5041900" y="3649663"/>
            <a:ext cx="101600" cy="106362"/>
          </a:xfrm>
          <a:custGeom>
            <a:avLst/>
            <a:gdLst>
              <a:gd name="T0" fmla="*/ 0 w 74"/>
              <a:gd name="T1" fmla="*/ 2147483647 h 72"/>
              <a:gd name="T2" fmla="*/ 2147483647 w 74"/>
              <a:gd name="T3" fmla="*/ 2147483647 h 72"/>
              <a:gd name="T4" fmla="*/ 2147483647 w 74"/>
              <a:gd name="T5" fmla="*/ 2147483647 h 72"/>
              <a:gd name="T6" fmla="*/ 2147483647 w 74"/>
              <a:gd name="T7" fmla="*/ 2147483647 h 72"/>
              <a:gd name="T8" fmla="*/ 2147483647 w 74"/>
              <a:gd name="T9" fmla="*/ 0 h 72"/>
              <a:gd name="T10" fmla="*/ 2147483647 w 74"/>
              <a:gd name="T11" fmla="*/ 2147483647 h 72"/>
              <a:gd name="T12" fmla="*/ 2147483647 w 74"/>
              <a:gd name="T13" fmla="*/ 2147483647 h 72"/>
              <a:gd name="T14" fmla="*/ 2147483647 w 74"/>
              <a:gd name="T15" fmla="*/ 2147483647 h 72"/>
              <a:gd name="T16" fmla="*/ 2147483647 w 74"/>
              <a:gd name="T17" fmla="*/ 2147483647 h 72"/>
              <a:gd name="T18" fmla="*/ 2147483647 w 74"/>
              <a:gd name="T19" fmla="*/ 2147483647 h 72"/>
              <a:gd name="T20" fmla="*/ 2147483647 w 74"/>
              <a:gd name="T21" fmla="*/ 2147483647 h 72"/>
              <a:gd name="T22" fmla="*/ 2147483647 w 74"/>
              <a:gd name="T23" fmla="*/ 2147483647 h 72"/>
              <a:gd name="T24" fmla="*/ 0 w 74"/>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2"/>
              <a:gd name="T41" fmla="*/ 74 w 74"/>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2">
                <a:moveTo>
                  <a:pt x="0" y="36"/>
                </a:moveTo>
                <a:lnTo>
                  <a:pt x="1" y="19"/>
                </a:lnTo>
                <a:lnTo>
                  <a:pt x="11" y="11"/>
                </a:lnTo>
                <a:lnTo>
                  <a:pt x="30" y="18"/>
                </a:lnTo>
                <a:lnTo>
                  <a:pt x="64" y="0"/>
                </a:lnTo>
                <a:lnTo>
                  <a:pt x="73" y="19"/>
                </a:lnTo>
                <a:lnTo>
                  <a:pt x="35" y="31"/>
                </a:lnTo>
                <a:lnTo>
                  <a:pt x="53" y="47"/>
                </a:lnTo>
                <a:lnTo>
                  <a:pt x="45" y="57"/>
                </a:lnTo>
                <a:lnTo>
                  <a:pt x="21" y="71"/>
                </a:lnTo>
                <a:lnTo>
                  <a:pt x="1" y="68"/>
                </a:lnTo>
                <a:lnTo>
                  <a:pt x="10" y="32"/>
                </a:lnTo>
                <a:lnTo>
                  <a:pt x="0" y="3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2" name="Freeform 124"/>
          <p:cNvSpPr>
            <a:spLocks/>
          </p:cNvSpPr>
          <p:nvPr/>
        </p:nvSpPr>
        <p:spPr bwMode="auto">
          <a:xfrm>
            <a:off x="5027613" y="4338638"/>
            <a:ext cx="184150" cy="214312"/>
          </a:xfrm>
          <a:custGeom>
            <a:avLst/>
            <a:gdLst>
              <a:gd name="T0" fmla="*/ 0 w 134"/>
              <a:gd name="T1" fmla="*/ 2147483647 h 146"/>
              <a:gd name="T2" fmla="*/ 2147483647 w 134"/>
              <a:gd name="T3" fmla="*/ 2147483647 h 146"/>
              <a:gd name="T4" fmla="*/ 0 w 134"/>
              <a:gd name="T5" fmla="*/ 2147483647 h 146"/>
              <a:gd name="T6" fmla="*/ 2147483647 w 134"/>
              <a:gd name="T7" fmla="*/ 2147483647 h 146"/>
              <a:gd name="T8" fmla="*/ 2147483647 w 134"/>
              <a:gd name="T9" fmla="*/ 2147483647 h 146"/>
              <a:gd name="T10" fmla="*/ 2147483647 w 134"/>
              <a:gd name="T11" fmla="*/ 2147483647 h 146"/>
              <a:gd name="T12" fmla="*/ 2147483647 w 134"/>
              <a:gd name="T13" fmla="*/ 2147483647 h 146"/>
              <a:gd name="T14" fmla="*/ 2147483647 w 134"/>
              <a:gd name="T15" fmla="*/ 2147483647 h 146"/>
              <a:gd name="T16" fmla="*/ 2147483647 w 134"/>
              <a:gd name="T17" fmla="*/ 2147483647 h 146"/>
              <a:gd name="T18" fmla="*/ 2147483647 w 134"/>
              <a:gd name="T19" fmla="*/ 2147483647 h 146"/>
              <a:gd name="T20" fmla="*/ 2147483647 w 134"/>
              <a:gd name="T21" fmla="*/ 2147483647 h 146"/>
              <a:gd name="T22" fmla="*/ 2147483647 w 134"/>
              <a:gd name="T23" fmla="*/ 0 h 146"/>
              <a:gd name="T24" fmla="*/ 0 w 134"/>
              <a:gd name="T25" fmla="*/ 2147483647 h 1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4"/>
              <a:gd name="T40" fmla="*/ 0 h 146"/>
              <a:gd name="T41" fmla="*/ 134 w 134"/>
              <a:gd name="T42" fmla="*/ 146 h 1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4" h="146">
                <a:moveTo>
                  <a:pt x="0" y="9"/>
                </a:moveTo>
                <a:lnTo>
                  <a:pt x="16" y="39"/>
                </a:lnTo>
                <a:lnTo>
                  <a:pt x="0" y="68"/>
                </a:lnTo>
                <a:lnTo>
                  <a:pt x="14" y="77"/>
                </a:lnTo>
                <a:lnTo>
                  <a:pt x="4" y="87"/>
                </a:lnTo>
                <a:lnTo>
                  <a:pt x="91" y="145"/>
                </a:lnTo>
                <a:lnTo>
                  <a:pt x="127" y="99"/>
                </a:lnTo>
                <a:lnTo>
                  <a:pt x="118" y="86"/>
                </a:lnTo>
                <a:lnTo>
                  <a:pt x="118" y="28"/>
                </a:lnTo>
                <a:lnTo>
                  <a:pt x="133" y="10"/>
                </a:lnTo>
                <a:lnTo>
                  <a:pt x="83" y="17"/>
                </a:lnTo>
                <a:lnTo>
                  <a:pt x="30" y="0"/>
                </a:lnTo>
                <a:lnTo>
                  <a:pt x="0" y="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3" name="Freeform 125"/>
          <p:cNvSpPr>
            <a:spLocks/>
          </p:cNvSpPr>
          <p:nvPr/>
        </p:nvSpPr>
        <p:spPr bwMode="auto">
          <a:xfrm>
            <a:off x="7115175" y="3394075"/>
            <a:ext cx="147638" cy="142875"/>
          </a:xfrm>
          <a:custGeom>
            <a:avLst/>
            <a:gdLst>
              <a:gd name="T0" fmla="*/ 0 w 108"/>
              <a:gd name="T1" fmla="*/ 2147483647 h 98"/>
              <a:gd name="T2" fmla="*/ 2147483647 w 108"/>
              <a:gd name="T3" fmla="*/ 2147483647 h 98"/>
              <a:gd name="T4" fmla="*/ 2147483647 w 108"/>
              <a:gd name="T5" fmla="*/ 2147483647 h 98"/>
              <a:gd name="T6" fmla="*/ 2147483647 w 108"/>
              <a:gd name="T7" fmla="*/ 2147483647 h 98"/>
              <a:gd name="T8" fmla="*/ 2147483647 w 108"/>
              <a:gd name="T9" fmla="*/ 2147483647 h 98"/>
              <a:gd name="T10" fmla="*/ 2147483647 w 108"/>
              <a:gd name="T11" fmla="*/ 2147483647 h 98"/>
              <a:gd name="T12" fmla="*/ 2147483647 w 108"/>
              <a:gd name="T13" fmla="*/ 2147483647 h 98"/>
              <a:gd name="T14" fmla="*/ 2147483647 w 108"/>
              <a:gd name="T15" fmla="*/ 2147483647 h 98"/>
              <a:gd name="T16" fmla="*/ 2147483647 w 108"/>
              <a:gd name="T17" fmla="*/ 2147483647 h 98"/>
              <a:gd name="T18" fmla="*/ 2147483647 w 108"/>
              <a:gd name="T19" fmla="*/ 0 h 98"/>
              <a:gd name="T20" fmla="*/ 2147483647 w 108"/>
              <a:gd name="T21" fmla="*/ 2147483647 h 98"/>
              <a:gd name="T22" fmla="*/ 2147483647 w 108"/>
              <a:gd name="T23" fmla="*/ 2147483647 h 98"/>
              <a:gd name="T24" fmla="*/ 2147483647 w 108"/>
              <a:gd name="T25" fmla="*/ 2147483647 h 98"/>
              <a:gd name="T26" fmla="*/ 0 w 108"/>
              <a:gd name="T27" fmla="*/ 2147483647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8"/>
              <a:gd name="T43" fmla="*/ 0 h 98"/>
              <a:gd name="T44" fmla="*/ 108 w 108"/>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8" h="98">
                <a:moveTo>
                  <a:pt x="0" y="55"/>
                </a:moveTo>
                <a:lnTo>
                  <a:pt x="19" y="64"/>
                </a:lnTo>
                <a:lnTo>
                  <a:pt x="7" y="90"/>
                </a:lnTo>
                <a:lnTo>
                  <a:pt x="37" y="97"/>
                </a:lnTo>
                <a:lnTo>
                  <a:pt x="68" y="82"/>
                </a:lnTo>
                <a:lnTo>
                  <a:pt x="54" y="58"/>
                </a:lnTo>
                <a:lnTo>
                  <a:pt x="91" y="38"/>
                </a:lnTo>
                <a:lnTo>
                  <a:pt x="107" y="9"/>
                </a:lnTo>
                <a:lnTo>
                  <a:pt x="105" y="7"/>
                </a:lnTo>
                <a:lnTo>
                  <a:pt x="98" y="0"/>
                </a:lnTo>
                <a:lnTo>
                  <a:pt x="66" y="18"/>
                </a:lnTo>
                <a:lnTo>
                  <a:pt x="66" y="29"/>
                </a:lnTo>
                <a:lnTo>
                  <a:pt x="44" y="27"/>
                </a:lnTo>
                <a:lnTo>
                  <a:pt x="0" y="5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4" name="Freeform 126"/>
          <p:cNvSpPr>
            <a:spLocks/>
          </p:cNvSpPr>
          <p:nvPr/>
        </p:nvSpPr>
        <p:spPr bwMode="auto">
          <a:xfrm>
            <a:off x="7158038" y="3514725"/>
            <a:ext cx="80962" cy="111125"/>
          </a:xfrm>
          <a:custGeom>
            <a:avLst/>
            <a:gdLst>
              <a:gd name="T0" fmla="*/ 0 w 58"/>
              <a:gd name="T1" fmla="*/ 2147483647 h 75"/>
              <a:gd name="T2" fmla="*/ 2147483647 w 58"/>
              <a:gd name="T3" fmla="*/ 2147483647 h 75"/>
              <a:gd name="T4" fmla="*/ 2147483647 w 58"/>
              <a:gd name="T5" fmla="*/ 0 h 75"/>
              <a:gd name="T6" fmla="*/ 2147483647 w 58"/>
              <a:gd name="T7" fmla="*/ 2147483647 h 75"/>
              <a:gd name="T8" fmla="*/ 2147483647 w 58"/>
              <a:gd name="T9" fmla="*/ 2147483647 h 75"/>
              <a:gd name="T10" fmla="*/ 0 w 58"/>
              <a:gd name="T11" fmla="*/ 2147483647 h 75"/>
              <a:gd name="T12" fmla="*/ 0 60000 65536"/>
              <a:gd name="T13" fmla="*/ 0 60000 65536"/>
              <a:gd name="T14" fmla="*/ 0 60000 65536"/>
              <a:gd name="T15" fmla="*/ 0 60000 65536"/>
              <a:gd name="T16" fmla="*/ 0 60000 65536"/>
              <a:gd name="T17" fmla="*/ 0 60000 65536"/>
              <a:gd name="T18" fmla="*/ 0 w 58"/>
              <a:gd name="T19" fmla="*/ 0 h 75"/>
              <a:gd name="T20" fmla="*/ 58 w 58"/>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58" h="75">
                <a:moveTo>
                  <a:pt x="0" y="74"/>
                </a:moveTo>
                <a:lnTo>
                  <a:pt x="5" y="15"/>
                </a:lnTo>
                <a:lnTo>
                  <a:pt x="37" y="0"/>
                </a:lnTo>
                <a:lnTo>
                  <a:pt x="57" y="44"/>
                </a:lnTo>
                <a:lnTo>
                  <a:pt x="37" y="67"/>
                </a:lnTo>
                <a:lnTo>
                  <a:pt x="0" y="7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5" name="Freeform 127"/>
          <p:cNvSpPr>
            <a:spLocks/>
          </p:cNvSpPr>
          <p:nvPr/>
        </p:nvSpPr>
        <p:spPr bwMode="auto">
          <a:xfrm>
            <a:off x="5316538" y="3733800"/>
            <a:ext cx="46037" cy="38100"/>
          </a:xfrm>
          <a:custGeom>
            <a:avLst/>
            <a:gdLst>
              <a:gd name="T0" fmla="*/ 0 w 33"/>
              <a:gd name="T1" fmla="*/ 2147483647 h 26"/>
              <a:gd name="T2" fmla="*/ 2147483647 w 33"/>
              <a:gd name="T3" fmla="*/ 0 h 26"/>
              <a:gd name="T4" fmla="*/ 2147483647 w 33"/>
              <a:gd name="T5" fmla="*/ 2147483647 h 26"/>
              <a:gd name="T6" fmla="*/ 0 w 33"/>
              <a:gd name="T7" fmla="*/ 2147483647 h 26"/>
              <a:gd name="T8" fmla="*/ 0 60000 65536"/>
              <a:gd name="T9" fmla="*/ 0 60000 65536"/>
              <a:gd name="T10" fmla="*/ 0 60000 65536"/>
              <a:gd name="T11" fmla="*/ 0 60000 65536"/>
              <a:gd name="T12" fmla="*/ 0 w 33"/>
              <a:gd name="T13" fmla="*/ 0 h 26"/>
              <a:gd name="T14" fmla="*/ 33 w 33"/>
              <a:gd name="T15" fmla="*/ 26 h 26"/>
            </a:gdLst>
            <a:ahLst/>
            <a:cxnLst>
              <a:cxn ang="T8">
                <a:pos x="T0" y="T1"/>
              </a:cxn>
              <a:cxn ang="T9">
                <a:pos x="T2" y="T3"/>
              </a:cxn>
              <a:cxn ang="T10">
                <a:pos x="T4" y="T5"/>
              </a:cxn>
              <a:cxn ang="T11">
                <a:pos x="T6" y="T7"/>
              </a:cxn>
            </a:cxnLst>
            <a:rect l="T12" t="T13" r="T14" b="T15"/>
            <a:pathLst>
              <a:path w="33" h="26">
                <a:moveTo>
                  <a:pt x="0" y="15"/>
                </a:moveTo>
                <a:lnTo>
                  <a:pt x="27" y="0"/>
                </a:lnTo>
                <a:lnTo>
                  <a:pt x="32" y="25"/>
                </a:lnTo>
                <a:lnTo>
                  <a:pt x="0" y="1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6" name="Freeform 128"/>
          <p:cNvSpPr>
            <a:spLocks/>
          </p:cNvSpPr>
          <p:nvPr/>
        </p:nvSpPr>
        <p:spPr bwMode="auto">
          <a:xfrm>
            <a:off x="6556375" y="3919538"/>
            <a:ext cx="169863" cy="195262"/>
          </a:xfrm>
          <a:custGeom>
            <a:avLst/>
            <a:gdLst>
              <a:gd name="T0" fmla="*/ 0 w 123"/>
              <a:gd name="T1" fmla="*/ 2147483647 h 134"/>
              <a:gd name="T2" fmla="*/ 2147483647 w 123"/>
              <a:gd name="T3" fmla="*/ 2147483647 h 134"/>
              <a:gd name="T4" fmla="*/ 2147483647 w 123"/>
              <a:gd name="T5" fmla="*/ 2147483647 h 134"/>
              <a:gd name="T6" fmla="*/ 2147483647 w 123"/>
              <a:gd name="T7" fmla="*/ 2147483647 h 134"/>
              <a:gd name="T8" fmla="*/ 2147483647 w 123"/>
              <a:gd name="T9" fmla="*/ 2147483647 h 134"/>
              <a:gd name="T10" fmla="*/ 2147483647 w 123"/>
              <a:gd name="T11" fmla="*/ 2147483647 h 134"/>
              <a:gd name="T12" fmla="*/ 2147483647 w 123"/>
              <a:gd name="T13" fmla="*/ 2147483647 h 134"/>
              <a:gd name="T14" fmla="*/ 2147483647 w 123"/>
              <a:gd name="T15" fmla="*/ 2147483647 h 134"/>
              <a:gd name="T16" fmla="*/ 2147483647 w 123"/>
              <a:gd name="T17" fmla="*/ 2147483647 h 134"/>
              <a:gd name="T18" fmla="*/ 2147483647 w 123"/>
              <a:gd name="T19" fmla="*/ 2147483647 h 134"/>
              <a:gd name="T20" fmla="*/ 2147483647 w 123"/>
              <a:gd name="T21" fmla="*/ 2147483647 h 134"/>
              <a:gd name="T22" fmla="*/ 2147483647 w 123"/>
              <a:gd name="T23" fmla="*/ 2147483647 h 134"/>
              <a:gd name="T24" fmla="*/ 2147483647 w 123"/>
              <a:gd name="T25" fmla="*/ 0 h 134"/>
              <a:gd name="T26" fmla="*/ 2147483647 w 123"/>
              <a:gd name="T27" fmla="*/ 2147483647 h 134"/>
              <a:gd name="T28" fmla="*/ 2147483647 w 123"/>
              <a:gd name="T29" fmla="*/ 2147483647 h 134"/>
              <a:gd name="T30" fmla="*/ 2147483647 w 123"/>
              <a:gd name="T31" fmla="*/ 2147483647 h 134"/>
              <a:gd name="T32" fmla="*/ 0 w 123"/>
              <a:gd name="T33" fmla="*/ 2147483647 h 1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3"/>
              <a:gd name="T52" fmla="*/ 0 h 134"/>
              <a:gd name="T53" fmla="*/ 123 w 123"/>
              <a:gd name="T54" fmla="*/ 134 h 1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3" h="134">
                <a:moveTo>
                  <a:pt x="0" y="29"/>
                </a:moveTo>
                <a:lnTo>
                  <a:pt x="17" y="47"/>
                </a:lnTo>
                <a:lnTo>
                  <a:pt x="14" y="80"/>
                </a:lnTo>
                <a:lnTo>
                  <a:pt x="57" y="66"/>
                </a:lnTo>
                <a:lnTo>
                  <a:pt x="73" y="80"/>
                </a:lnTo>
                <a:lnTo>
                  <a:pt x="89" y="111"/>
                </a:lnTo>
                <a:lnTo>
                  <a:pt x="85" y="133"/>
                </a:lnTo>
                <a:lnTo>
                  <a:pt x="122" y="126"/>
                </a:lnTo>
                <a:lnTo>
                  <a:pt x="104" y="83"/>
                </a:lnTo>
                <a:lnTo>
                  <a:pt x="63" y="51"/>
                </a:lnTo>
                <a:lnTo>
                  <a:pt x="74" y="36"/>
                </a:lnTo>
                <a:lnTo>
                  <a:pt x="51" y="25"/>
                </a:lnTo>
                <a:lnTo>
                  <a:pt x="32" y="0"/>
                </a:lnTo>
                <a:lnTo>
                  <a:pt x="25" y="1"/>
                </a:lnTo>
                <a:lnTo>
                  <a:pt x="26" y="19"/>
                </a:lnTo>
                <a:lnTo>
                  <a:pt x="17" y="13"/>
                </a:lnTo>
                <a:lnTo>
                  <a:pt x="0" y="2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7" name="Freeform 129"/>
          <p:cNvSpPr>
            <a:spLocks/>
          </p:cNvSpPr>
          <p:nvPr/>
        </p:nvSpPr>
        <p:spPr bwMode="auto">
          <a:xfrm>
            <a:off x="5049838" y="3613150"/>
            <a:ext cx="41275" cy="42863"/>
          </a:xfrm>
          <a:custGeom>
            <a:avLst/>
            <a:gdLst>
              <a:gd name="T0" fmla="*/ 0 w 30"/>
              <a:gd name="T1" fmla="*/ 2147483647 h 29"/>
              <a:gd name="T2" fmla="*/ 2147483647 w 30"/>
              <a:gd name="T3" fmla="*/ 2147483647 h 29"/>
              <a:gd name="T4" fmla="*/ 2147483647 w 30"/>
              <a:gd name="T5" fmla="*/ 2147483647 h 29"/>
              <a:gd name="T6" fmla="*/ 2147483647 w 30"/>
              <a:gd name="T7" fmla="*/ 0 h 29"/>
              <a:gd name="T8" fmla="*/ 0 w 30"/>
              <a:gd name="T9" fmla="*/ 2147483647 h 29"/>
              <a:gd name="T10" fmla="*/ 0 60000 65536"/>
              <a:gd name="T11" fmla="*/ 0 60000 65536"/>
              <a:gd name="T12" fmla="*/ 0 60000 65536"/>
              <a:gd name="T13" fmla="*/ 0 60000 65536"/>
              <a:gd name="T14" fmla="*/ 0 60000 65536"/>
              <a:gd name="T15" fmla="*/ 0 w 30"/>
              <a:gd name="T16" fmla="*/ 0 h 29"/>
              <a:gd name="T17" fmla="*/ 30 w 30"/>
              <a:gd name="T18" fmla="*/ 29 h 29"/>
            </a:gdLst>
            <a:ahLst/>
            <a:cxnLst>
              <a:cxn ang="T10">
                <a:pos x="T0" y="T1"/>
              </a:cxn>
              <a:cxn ang="T11">
                <a:pos x="T2" y="T3"/>
              </a:cxn>
              <a:cxn ang="T12">
                <a:pos x="T4" y="T5"/>
              </a:cxn>
              <a:cxn ang="T13">
                <a:pos x="T6" y="T7"/>
              </a:cxn>
              <a:cxn ang="T14">
                <a:pos x="T8" y="T9"/>
              </a:cxn>
            </a:cxnLst>
            <a:rect l="T15" t="T16" r="T17" b="T18"/>
            <a:pathLst>
              <a:path w="30" h="29">
                <a:moveTo>
                  <a:pt x="0" y="28"/>
                </a:moveTo>
                <a:lnTo>
                  <a:pt x="10" y="26"/>
                </a:lnTo>
                <a:lnTo>
                  <a:pt x="29" y="7"/>
                </a:lnTo>
                <a:lnTo>
                  <a:pt x="16" y="0"/>
                </a:lnTo>
                <a:lnTo>
                  <a:pt x="0" y="2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8" name="Freeform 130"/>
          <p:cNvSpPr>
            <a:spLocks/>
          </p:cNvSpPr>
          <p:nvPr/>
        </p:nvSpPr>
        <p:spPr bwMode="auto">
          <a:xfrm>
            <a:off x="3973513" y="4249738"/>
            <a:ext cx="93662" cy="93662"/>
          </a:xfrm>
          <a:custGeom>
            <a:avLst/>
            <a:gdLst>
              <a:gd name="T0" fmla="*/ 0 w 68"/>
              <a:gd name="T1" fmla="*/ 2147483647 h 64"/>
              <a:gd name="T2" fmla="*/ 2147483647 w 68"/>
              <a:gd name="T3" fmla="*/ 0 h 64"/>
              <a:gd name="T4" fmla="*/ 2147483647 w 68"/>
              <a:gd name="T5" fmla="*/ 2147483647 h 64"/>
              <a:gd name="T6" fmla="*/ 2147483647 w 68"/>
              <a:gd name="T7" fmla="*/ 2147483647 h 64"/>
              <a:gd name="T8" fmla="*/ 2147483647 w 68"/>
              <a:gd name="T9" fmla="*/ 2147483647 h 64"/>
              <a:gd name="T10" fmla="*/ 2147483647 w 68"/>
              <a:gd name="T11" fmla="*/ 2147483647 h 64"/>
              <a:gd name="T12" fmla="*/ 2147483647 w 68"/>
              <a:gd name="T13" fmla="*/ 2147483647 h 64"/>
              <a:gd name="T14" fmla="*/ 2147483647 w 68"/>
              <a:gd name="T15" fmla="*/ 2147483647 h 64"/>
              <a:gd name="T16" fmla="*/ 0 w 68"/>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8"/>
              <a:gd name="T28" fmla="*/ 0 h 64"/>
              <a:gd name="T29" fmla="*/ 68 w 68"/>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8" h="64">
                <a:moveTo>
                  <a:pt x="0" y="23"/>
                </a:moveTo>
                <a:lnTo>
                  <a:pt x="19" y="0"/>
                </a:lnTo>
                <a:lnTo>
                  <a:pt x="33" y="2"/>
                </a:lnTo>
                <a:lnTo>
                  <a:pt x="34" y="18"/>
                </a:lnTo>
                <a:lnTo>
                  <a:pt x="50" y="14"/>
                </a:lnTo>
                <a:lnTo>
                  <a:pt x="49" y="30"/>
                </a:lnTo>
                <a:lnTo>
                  <a:pt x="67" y="40"/>
                </a:lnTo>
                <a:lnTo>
                  <a:pt x="66" y="63"/>
                </a:lnTo>
                <a:lnTo>
                  <a:pt x="0" y="2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39" name="Freeform 131"/>
          <p:cNvSpPr>
            <a:spLocks/>
          </p:cNvSpPr>
          <p:nvPr/>
        </p:nvSpPr>
        <p:spPr bwMode="auto">
          <a:xfrm>
            <a:off x="4454525" y="3654425"/>
            <a:ext cx="365125" cy="339725"/>
          </a:xfrm>
          <a:custGeom>
            <a:avLst/>
            <a:gdLst>
              <a:gd name="T0" fmla="*/ 0 w 265"/>
              <a:gd name="T1" fmla="*/ 2147483647 h 232"/>
              <a:gd name="T2" fmla="*/ 0 w 265"/>
              <a:gd name="T3" fmla="*/ 2147483647 h 232"/>
              <a:gd name="T4" fmla="*/ 2147483647 w 265"/>
              <a:gd name="T5" fmla="*/ 0 h 232"/>
              <a:gd name="T6" fmla="*/ 2147483647 w 265"/>
              <a:gd name="T7" fmla="*/ 2147483647 h 232"/>
              <a:gd name="T8" fmla="*/ 2147483647 w 265"/>
              <a:gd name="T9" fmla="*/ 2147483647 h 232"/>
              <a:gd name="T10" fmla="*/ 2147483647 w 265"/>
              <a:gd name="T11" fmla="*/ 2147483647 h 232"/>
              <a:gd name="T12" fmla="*/ 2147483647 w 265"/>
              <a:gd name="T13" fmla="*/ 2147483647 h 232"/>
              <a:gd name="T14" fmla="*/ 2147483647 w 265"/>
              <a:gd name="T15" fmla="*/ 2147483647 h 232"/>
              <a:gd name="T16" fmla="*/ 2147483647 w 265"/>
              <a:gd name="T17" fmla="*/ 2147483647 h 232"/>
              <a:gd name="T18" fmla="*/ 2147483647 w 265"/>
              <a:gd name="T19" fmla="*/ 2147483647 h 232"/>
              <a:gd name="T20" fmla="*/ 2147483647 w 265"/>
              <a:gd name="T21" fmla="*/ 2147483647 h 232"/>
              <a:gd name="T22" fmla="*/ 2147483647 w 265"/>
              <a:gd name="T23" fmla="*/ 2147483647 h 232"/>
              <a:gd name="T24" fmla="*/ 2147483647 w 265"/>
              <a:gd name="T25" fmla="*/ 2147483647 h 232"/>
              <a:gd name="T26" fmla="*/ 2147483647 w 265"/>
              <a:gd name="T27" fmla="*/ 2147483647 h 232"/>
              <a:gd name="T28" fmla="*/ 2147483647 w 265"/>
              <a:gd name="T29" fmla="*/ 2147483647 h 232"/>
              <a:gd name="T30" fmla="*/ 2147483647 w 265"/>
              <a:gd name="T31" fmla="*/ 2147483647 h 232"/>
              <a:gd name="T32" fmla="*/ 2147483647 w 265"/>
              <a:gd name="T33" fmla="*/ 2147483647 h 232"/>
              <a:gd name="T34" fmla="*/ 2147483647 w 265"/>
              <a:gd name="T35" fmla="*/ 2147483647 h 232"/>
              <a:gd name="T36" fmla="*/ 0 w 265"/>
              <a:gd name="T37" fmla="*/ 2147483647 h 2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5"/>
              <a:gd name="T58" fmla="*/ 0 h 232"/>
              <a:gd name="T59" fmla="*/ 265 w 265"/>
              <a:gd name="T60" fmla="*/ 232 h 2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5" h="232">
                <a:moveTo>
                  <a:pt x="0" y="120"/>
                </a:moveTo>
                <a:lnTo>
                  <a:pt x="0" y="50"/>
                </a:lnTo>
                <a:lnTo>
                  <a:pt x="33" y="0"/>
                </a:lnTo>
                <a:lnTo>
                  <a:pt x="97" y="14"/>
                </a:lnTo>
                <a:lnTo>
                  <a:pt x="107" y="33"/>
                </a:lnTo>
                <a:lnTo>
                  <a:pt x="159" y="50"/>
                </a:lnTo>
                <a:lnTo>
                  <a:pt x="175" y="43"/>
                </a:lnTo>
                <a:lnTo>
                  <a:pt x="177" y="19"/>
                </a:lnTo>
                <a:lnTo>
                  <a:pt x="193" y="7"/>
                </a:lnTo>
                <a:lnTo>
                  <a:pt x="264" y="27"/>
                </a:lnTo>
                <a:lnTo>
                  <a:pt x="255" y="53"/>
                </a:lnTo>
                <a:lnTo>
                  <a:pt x="264" y="189"/>
                </a:lnTo>
                <a:lnTo>
                  <a:pt x="264" y="219"/>
                </a:lnTo>
                <a:lnTo>
                  <a:pt x="249" y="221"/>
                </a:lnTo>
                <a:lnTo>
                  <a:pt x="249" y="231"/>
                </a:lnTo>
                <a:lnTo>
                  <a:pt x="113" y="166"/>
                </a:lnTo>
                <a:lnTo>
                  <a:pt x="95" y="173"/>
                </a:lnTo>
                <a:lnTo>
                  <a:pt x="40" y="164"/>
                </a:lnTo>
                <a:lnTo>
                  <a:pt x="0" y="12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0" name="Freeform 132"/>
          <p:cNvSpPr>
            <a:spLocks/>
          </p:cNvSpPr>
          <p:nvPr/>
        </p:nvSpPr>
        <p:spPr bwMode="auto">
          <a:xfrm>
            <a:off x="4373563" y="3184525"/>
            <a:ext cx="11112" cy="17463"/>
          </a:xfrm>
          <a:custGeom>
            <a:avLst/>
            <a:gdLst>
              <a:gd name="T0" fmla="*/ 0 w 8"/>
              <a:gd name="T1" fmla="*/ 2147483647 h 12"/>
              <a:gd name="T2" fmla="*/ 2147483647 w 8"/>
              <a:gd name="T3" fmla="*/ 0 h 12"/>
              <a:gd name="T4" fmla="*/ 2147483647 w 8"/>
              <a:gd name="T5" fmla="*/ 2147483647 h 12"/>
              <a:gd name="T6" fmla="*/ 0 w 8"/>
              <a:gd name="T7" fmla="*/ 2147483647 h 12"/>
              <a:gd name="T8" fmla="*/ 0 60000 65536"/>
              <a:gd name="T9" fmla="*/ 0 60000 65536"/>
              <a:gd name="T10" fmla="*/ 0 60000 65536"/>
              <a:gd name="T11" fmla="*/ 0 60000 65536"/>
              <a:gd name="T12" fmla="*/ 0 w 8"/>
              <a:gd name="T13" fmla="*/ 0 h 12"/>
              <a:gd name="T14" fmla="*/ 8 w 8"/>
              <a:gd name="T15" fmla="*/ 12 h 12"/>
            </a:gdLst>
            <a:ahLst/>
            <a:cxnLst>
              <a:cxn ang="T8">
                <a:pos x="T0" y="T1"/>
              </a:cxn>
              <a:cxn ang="T9">
                <a:pos x="T2" y="T3"/>
              </a:cxn>
              <a:cxn ang="T10">
                <a:pos x="T4" y="T5"/>
              </a:cxn>
              <a:cxn ang="T11">
                <a:pos x="T6" y="T7"/>
              </a:cxn>
            </a:cxnLst>
            <a:rect l="T12" t="T13" r="T14" b="T15"/>
            <a:pathLst>
              <a:path w="8" h="12">
                <a:moveTo>
                  <a:pt x="0" y="10"/>
                </a:moveTo>
                <a:lnTo>
                  <a:pt x="4" y="0"/>
                </a:lnTo>
                <a:lnTo>
                  <a:pt x="7" y="11"/>
                </a:lnTo>
                <a:lnTo>
                  <a:pt x="0" y="1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1" name="Freeform 133"/>
          <p:cNvSpPr>
            <a:spLocks/>
          </p:cNvSpPr>
          <p:nvPr/>
        </p:nvSpPr>
        <p:spPr bwMode="auto">
          <a:xfrm>
            <a:off x="5237163" y="4725988"/>
            <a:ext cx="165100" cy="322262"/>
          </a:xfrm>
          <a:custGeom>
            <a:avLst/>
            <a:gdLst>
              <a:gd name="T0" fmla="*/ 0 w 120"/>
              <a:gd name="T1" fmla="*/ 2147483647 h 220"/>
              <a:gd name="T2" fmla="*/ 2147483647 w 120"/>
              <a:gd name="T3" fmla="*/ 2147483647 h 220"/>
              <a:gd name="T4" fmla="*/ 2147483647 w 120"/>
              <a:gd name="T5" fmla="*/ 2147483647 h 220"/>
              <a:gd name="T6" fmla="*/ 2147483647 w 120"/>
              <a:gd name="T7" fmla="*/ 2147483647 h 220"/>
              <a:gd name="T8" fmla="*/ 2147483647 w 120"/>
              <a:gd name="T9" fmla="*/ 2147483647 h 220"/>
              <a:gd name="T10" fmla="*/ 2147483647 w 120"/>
              <a:gd name="T11" fmla="*/ 2147483647 h 220"/>
              <a:gd name="T12" fmla="*/ 2147483647 w 120"/>
              <a:gd name="T13" fmla="*/ 0 h 220"/>
              <a:gd name="T14" fmla="*/ 2147483647 w 120"/>
              <a:gd name="T15" fmla="*/ 2147483647 h 220"/>
              <a:gd name="T16" fmla="*/ 2147483647 w 120"/>
              <a:gd name="T17" fmla="*/ 2147483647 h 220"/>
              <a:gd name="T18" fmla="*/ 2147483647 w 120"/>
              <a:gd name="T19" fmla="*/ 2147483647 h 220"/>
              <a:gd name="T20" fmla="*/ 2147483647 w 120"/>
              <a:gd name="T21" fmla="*/ 2147483647 h 220"/>
              <a:gd name="T22" fmla="*/ 2147483647 w 120"/>
              <a:gd name="T23" fmla="*/ 2147483647 h 220"/>
              <a:gd name="T24" fmla="*/ 2147483647 w 120"/>
              <a:gd name="T25" fmla="*/ 2147483647 h 220"/>
              <a:gd name="T26" fmla="*/ 0 w 120"/>
              <a:gd name="T27" fmla="*/ 2147483647 h 2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0"/>
              <a:gd name="T43" fmla="*/ 0 h 220"/>
              <a:gd name="T44" fmla="*/ 120 w 120"/>
              <a:gd name="T45" fmla="*/ 220 h 2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0" h="220">
                <a:moveTo>
                  <a:pt x="0" y="155"/>
                </a:moveTo>
                <a:lnTo>
                  <a:pt x="10" y="200"/>
                </a:lnTo>
                <a:lnTo>
                  <a:pt x="32" y="219"/>
                </a:lnTo>
                <a:lnTo>
                  <a:pt x="69" y="200"/>
                </a:lnTo>
                <a:lnTo>
                  <a:pt x="110" y="52"/>
                </a:lnTo>
                <a:lnTo>
                  <a:pt x="119" y="57"/>
                </a:lnTo>
                <a:lnTo>
                  <a:pt x="100" y="0"/>
                </a:lnTo>
                <a:lnTo>
                  <a:pt x="77" y="23"/>
                </a:lnTo>
                <a:lnTo>
                  <a:pt x="79" y="39"/>
                </a:lnTo>
                <a:lnTo>
                  <a:pt x="53" y="57"/>
                </a:lnTo>
                <a:lnTo>
                  <a:pt x="20" y="65"/>
                </a:lnTo>
                <a:lnTo>
                  <a:pt x="12" y="86"/>
                </a:lnTo>
                <a:lnTo>
                  <a:pt x="21" y="123"/>
                </a:lnTo>
                <a:lnTo>
                  <a:pt x="0" y="15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2" name="Freeform 134"/>
          <p:cNvSpPr>
            <a:spLocks/>
          </p:cNvSpPr>
          <p:nvPr/>
        </p:nvSpPr>
        <p:spPr bwMode="auto">
          <a:xfrm>
            <a:off x="4995863" y="4660900"/>
            <a:ext cx="74612" cy="180975"/>
          </a:xfrm>
          <a:custGeom>
            <a:avLst/>
            <a:gdLst>
              <a:gd name="T0" fmla="*/ 0 w 55"/>
              <a:gd name="T1" fmla="*/ 2147483647 h 124"/>
              <a:gd name="T2" fmla="*/ 2147483647 w 55"/>
              <a:gd name="T3" fmla="*/ 2147483647 h 124"/>
              <a:gd name="T4" fmla="*/ 2147483647 w 55"/>
              <a:gd name="T5" fmla="*/ 2147483647 h 124"/>
              <a:gd name="T6" fmla="*/ 2147483647 w 55"/>
              <a:gd name="T7" fmla="*/ 2147483647 h 124"/>
              <a:gd name="T8" fmla="*/ 2147483647 w 55"/>
              <a:gd name="T9" fmla="*/ 2147483647 h 124"/>
              <a:gd name="T10" fmla="*/ 2147483647 w 55"/>
              <a:gd name="T11" fmla="*/ 2147483647 h 124"/>
              <a:gd name="T12" fmla="*/ 2147483647 w 55"/>
              <a:gd name="T13" fmla="*/ 2147483647 h 124"/>
              <a:gd name="T14" fmla="*/ 2147483647 w 55"/>
              <a:gd name="T15" fmla="*/ 2147483647 h 124"/>
              <a:gd name="T16" fmla="*/ 2147483647 w 55"/>
              <a:gd name="T17" fmla="*/ 2147483647 h 124"/>
              <a:gd name="T18" fmla="*/ 2147483647 w 55"/>
              <a:gd name="T19" fmla="*/ 2147483647 h 124"/>
              <a:gd name="T20" fmla="*/ 2147483647 w 55"/>
              <a:gd name="T21" fmla="*/ 2147483647 h 124"/>
              <a:gd name="T22" fmla="*/ 2147483647 w 55"/>
              <a:gd name="T23" fmla="*/ 0 h 124"/>
              <a:gd name="T24" fmla="*/ 2147483647 w 55"/>
              <a:gd name="T25" fmla="*/ 2147483647 h 124"/>
              <a:gd name="T26" fmla="*/ 0 w 55"/>
              <a:gd name="T27" fmla="*/ 2147483647 h 1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5"/>
              <a:gd name="T43" fmla="*/ 0 h 124"/>
              <a:gd name="T44" fmla="*/ 55 w 55"/>
              <a:gd name="T45" fmla="*/ 124 h 1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5" h="124">
                <a:moveTo>
                  <a:pt x="0" y="68"/>
                </a:moveTo>
                <a:lnTo>
                  <a:pt x="7" y="74"/>
                </a:lnTo>
                <a:lnTo>
                  <a:pt x="29" y="82"/>
                </a:lnTo>
                <a:lnTo>
                  <a:pt x="27" y="103"/>
                </a:lnTo>
                <a:lnTo>
                  <a:pt x="44" y="123"/>
                </a:lnTo>
                <a:lnTo>
                  <a:pt x="54" y="89"/>
                </a:lnTo>
                <a:lnTo>
                  <a:pt x="36" y="66"/>
                </a:lnTo>
                <a:lnTo>
                  <a:pt x="42" y="79"/>
                </a:lnTo>
                <a:lnTo>
                  <a:pt x="32" y="78"/>
                </a:lnTo>
                <a:lnTo>
                  <a:pt x="22" y="47"/>
                </a:lnTo>
                <a:lnTo>
                  <a:pt x="20" y="6"/>
                </a:lnTo>
                <a:lnTo>
                  <a:pt x="5" y="0"/>
                </a:lnTo>
                <a:lnTo>
                  <a:pt x="17" y="21"/>
                </a:lnTo>
                <a:lnTo>
                  <a:pt x="0" y="6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3" name="Freeform 135"/>
          <p:cNvSpPr>
            <a:spLocks/>
          </p:cNvSpPr>
          <p:nvPr/>
        </p:nvSpPr>
        <p:spPr bwMode="auto">
          <a:xfrm>
            <a:off x="3959225" y="3857625"/>
            <a:ext cx="376238" cy="350838"/>
          </a:xfrm>
          <a:custGeom>
            <a:avLst/>
            <a:gdLst>
              <a:gd name="T0" fmla="*/ 0 w 274"/>
              <a:gd name="T1" fmla="*/ 2147483647 h 240"/>
              <a:gd name="T2" fmla="*/ 2147483647 w 274"/>
              <a:gd name="T3" fmla="*/ 2147483647 h 240"/>
              <a:gd name="T4" fmla="*/ 2147483647 w 274"/>
              <a:gd name="T5" fmla="*/ 2147483647 h 240"/>
              <a:gd name="T6" fmla="*/ 2147483647 w 274"/>
              <a:gd name="T7" fmla="*/ 2147483647 h 240"/>
              <a:gd name="T8" fmla="*/ 2147483647 w 274"/>
              <a:gd name="T9" fmla="*/ 0 h 240"/>
              <a:gd name="T10" fmla="*/ 2147483647 w 274"/>
              <a:gd name="T11" fmla="*/ 0 h 240"/>
              <a:gd name="T12" fmla="*/ 2147483647 w 274"/>
              <a:gd name="T13" fmla="*/ 2147483647 h 240"/>
              <a:gd name="T14" fmla="*/ 2147483647 w 274"/>
              <a:gd name="T15" fmla="*/ 2147483647 h 240"/>
              <a:gd name="T16" fmla="*/ 2147483647 w 274"/>
              <a:gd name="T17" fmla="*/ 2147483647 h 240"/>
              <a:gd name="T18" fmla="*/ 2147483647 w 274"/>
              <a:gd name="T19" fmla="*/ 2147483647 h 240"/>
              <a:gd name="T20" fmla="*/ 2147483647 w 274"/>
              <a:gd name="T21" fmla="*/ 2147483647 h 240"/>
              <a:gd name="T22" fmla="*/ 2147483647 w 274"/>
              <a:gd name="T23" fmla="*/ 2147483647 h 240"/>
              <a:gd name="T24" fmla="*/ 2147483647 w 274"/>
              <a:gd name="T25" fmla="*/ 2147483647 h 240"/>
              <a:gd name="T26" fmla="*/ 2147483647 w 274"/>
              <a:gd name="T27" fmla="*/ 2147483647 h 240"/>
              <a:gd name="T28" fmla="*/ 2147483647 w 274"/>
              <a:gd name="T29" fmla="*/ 2147483647 h 240"/>
              <a:gd name="T30" fmla="*/ 2147483647 w 274"/>
              <a:gd name="T31" fmla="*/ 2147483647 h 240"/>
              <a:gd name="T32" fmla="*/ 2147483647 w 274"/>
              <a:gd name="T33" fmla="*/ 2147483647 h 240"/>
              <a:gd name="T34" fmla="*/ 2147483647 w 274"/>
              <a:gd name="T35" fmla="*/ 2147483647 h 240"/>
              <a:gd name="T36" fmla="*/ 2147483647 w 274"/>
              <a:gd name="T37" fmla="*/ 2147483647 h 240"/>
              <a:gd name="T38" fmla="*/ 0 w 274"/>
              <a:gd name="T39" fmla="*/ 2147483647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4"/>
              <a:gd name="T61" fmla="*/ 0 h 240"/>
              <a:gd name="T62" fmla="*/ 274 w 274"/>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4" h="240">
                <a:moveTo>
                  <a:pt x="0" y="167"/>
                </a:moveTo>
                <a:lnTo>
                  <a:pt x="12" y="150"/>
                </a:lnTo>
                <a:lnTo>
                  <a:pt x="26" y="160"/>
                </a:lnTo>
                <a:lnTo>
                  <a:pt x="112" y="155"/>
                </a:lnTo>
                <a:lnTo>
                  <a:pt x="93" y="0"/>
                </a:lnTo>
                <a:lnTo>
                  <a:pt x="122" y="0"/>
                </a:lnTo>
                <a:lnTo>
                  <a:pt x="257" y="85"/>
                </a:lnTo>
                <a:lnTo>
                  <a:pt x="258" y="99"/>
                </a:lnTo>
                <a:lnTo>
                  <a:pt x="273" y="96"/>
                </a:lnTo>
                <a:lnTo>
                  <a:pt x="273" y="146"/>
                </a:lnTo>
                <a:lnTo>
                  <a:pt x="262" y="158"/>
                </a:lnTo>
                <a:lnTo>
                  <a:pt x="208" y="164"/>
                </a:lnTo>
                <a:lnTo>
                  <a:pt x="138" y="193"/>
                </a:lnTo>
                <a:lnTo>
                  <a:pt x="116" y="237"/>
                </a:lnTo>
                <a:lnTo>
                  <a:pt x="100" y="232"/>
                </a:lnTo>
                <a:lnTo>
                  <a:pt x="70" y="239"/>
                </a:lnTo>
                <a:lnTo>
                  <a:pt x="52" y="203"/>
                </a:lnTo>
                <a:lnTo>
                  <a:pt x="26" y="211"/>
                </a:lnTo>
                <a:lnTo>
                  <a:pt x="14" y="204"/>
                </a:lnTo>
                <a:lnTo>
                  <a:pt x="0" y="16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4" name="Freeform 136"/>
          <p:cNvSpPr>
            <a:spLocks/>
          </p:cNvSpPr>
          <p:nvPr/>
        </p:nvSpPr>
        <p:spPr bwMode="auto">
          <a:xfrm>
            <a:off x="3849688" y="3802063"/>
            <a:ext cx="279400" cy="301625"/>
          </a:xfrm>
          <a:custGeom>
            <a:avLst/>
            <a:gdLst>
              <a:gd name="T0" fmla="*/ 0 w 203"/>
              <a:gd name="T1" fmla="*/ 2147483647 h 206"/>
              <a:gd name="T2" fmla="*/ 2147483647 w 203"/>
              <a:gd name="T3" fmla="*/ 2147483647 h 206"/>
              <a:gd name="T4" fmla="*/ 2147483647 w 203"/>
              <a:gd name="T5" fmla="*/ 2147483647 h 206"/>
              <a:gd name="T6" fmla="*/ 2147483647 w 203"/>
              <a:gd name="T7" fmla="*/ 2147483647 h 206"/>
              <a:gd name="T8" fmla="*/ 2147483647 w 203"/>
              <a:gd name="T9" fmla="*/ 2147483647 h 206"/>
              <a:gd name="T10" fmla="*/ 2147483647 w 203"/>
              <a:gd name="T11" fmla="*/ 2147483647 h 206"/>
              <a:gd name="T12" fmla="*/ 2147483647 w 203"/>
              <a:gd name="T13" fmla="*/ 2147483647 h 206"/>
              <a:gd name="T14" fmla="*/ 2147483647 w 203"/>
              <a:gd name="T15" fmla="*/ 2147483647 h 206"/>
              <a:gd name="T16" fmla="*/ 2147483647 w 203"/>
              <a:gd name="T17" fmla="*/ 2147483647 h 206"/>
              <a:gd name="T18" fmla="*/ 2147483647 w 203"/>
              <a:gd name="T19" fmla="*/ 2147483647 h 206"/>
              <a:gd name="T20" fmla="*/ 2147483647 w 203"/>
              <a:gd name="T21" fmla="*/ 2147483647 h 206"/>
              <a:gd name="T22" fmla="*/ 2147483647 w 203"/>
              <a:gd name="T23" fmla="*/ 0 h 206"/>
              <a:gd name="T24" fmla="*/ 2147483647 w 203"/>
              <a:gd name="T25" fmla="*/ 2147483647 h 206"/>
              <a:gd name="T26" fmla="*/ 2147483647 w 203"/>
              <a:gd name="T27" fmla="*/ 2147483647 h 206"/>
              <a:gd name="T28" fmla="*/ 2147483647 w 203"/>
              <a:gd name="T29" fmla="*/ 2147483647 h 206"/>
              <a:gd name="T30" fmla="*/ 2147483647 w 203"/>
              <a:gd name="T31" fmla="*/ 2147483647 h 206"/>
              <a:gd name="T32" fmla="*/ 2147483647 w 203"/>
              <a:gd name="T33" fmla="*/ 2147483647 h 206"/>
              <a:gd name="T34" fmla="*/ 0 w 203"/>
              <a:gd name="T35" fmla="*/ 2147483647 h 2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3"/>
              <a:gd name="T55" fmla="*/ 0 h 206"/>
              <a:gd name="T56" fmla="*/ 203 w 203"/>
              <a:gd name="T57" fmla="*/ 206 h 2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3" h="206">
                <a:moveTo>
                  <a:pt x="0" y="103"/>
                </a:moveTo>
                <a:lnTo>
                  <a:pt x="12" y="116"/>
                </a:lnTo>
                <a:lnTo>
                  <a:pt x="16" y="145"/>
                </a:lnTo>
                <a:lnTo>
                  <a:pt x="6" y="183"/>
                </a:lnTo>
                <a:lnTo>
                  <a:pt x="42" y="174"/>
                </a:lnTo>
                <a:lnTo>
                  <a:pt x="80" y="205"/>
                </a:lnTo>
                <a:lnTo>
                  <a:pt x="92" y="188"/>
                </a:lnTo>
                <a:lnTo>
                  <a:pt x="106" y="198"/>
                </a:lnTo>
                <a:lnTo>
                  <a:pt x="192" y="193"/>
                </a:lnTo>
                <a:lnTo>
                  <a:pt x="172" y="38"/>
                </a:lnTo>
                <a:lnTo>
                  <a:pt x="202" y="38"/>
                </a:lnTo>
                <a:lnTo>
                  <a:pt x="140" y="0"/>
                </a:lnTo>
                <a:lnTo>
                  <a:pt x="140" y="21"/>
                </a:lnTo>
                <a:lnTo>
                  <a:pt x="86" y="20"/>
                </a:lnTo>
                <a:lnTo>
                  <a:pt x="85" y="63"/>
                </a:lnTo>
                <a:lnTo>
                  <a:pt x="67" y="72"/>
                </a:lnTo>
                <a:lnTo>
                  <a:pt x="67" y="97"/>
                </a:lnTo>
                <a:lnTo>
                  <a:pt x="0" y="10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5" name="Freeform 137"/>
          <p:cNvSpPr>
            <a:spLocks/>
          </p:cNvSpPr>
          <p:nvPr/>
        </p:nvSpPr>
        <p:spPr bwMode="auto">
          <a:xfrm>
            <a:off x="1530350" y="3667125"/>
            <a:ext cx="703263" cy="439738"/>
          </a:xfrm>
          <a:custGeom>
            <a:avLst/>
            <a:gdLst>
              <a:gd name="T0" fmla="*/ 0 w 511"/>
              <a:gd name="T1" fmla="*/ 2147483647 h 300"/>
              <a:gd name="T2" fmla="*/ 2147483647 w 511"/>
              <a:gd name="T3" fmla="*/ 2147483647 h 300"/>
              <a:gd name="T4" fmla="*/ 2147483647 w 511"/>
              <a:gd name="T5" fmla="*/ 2147483647 h 300"/>
              <a:gd name="T6" fmla="*/ 2147483647 w 511"/>
              <a:gd name="T7" fmla="*/ 2147483647 h 300"/>
              <a:gd name="T8" fmla="*/ 2147483647 w 511"/>
              <a:gd name="T9" fmla="*/ 2147483647 h 300"/>
              <a:gd name="T10" fmla="*/ 2147483647 w 511"/>
              <a:gd name="T11" fmla="*/ 2147483647 h 300"/>
              <a:gd name="T12" fmla="*/ 2147483647 w 511"/>
              <a:gd name="T13" fmla="*/ 2147483647 h 300"/>
              <a:gd name="T14" fmla="*/ 2147483647 w 511"/>
              <a:gd name="T15" fmla="*/ 2147483647 h 300"/>
              <a:gd name="T16" fmla="*/ 2147483647 w 511"/>
              <a:gd name="T17" fmla="*/ 2147483647 h 300"/>
              <a:gd name="T18" fmla="*/ 2147483647 w 511"/>
              <a:gd name="T19" fmla="*/ 2147483647 h 300"/>
              <a:gd name="T20" fmla="*/ 2147483647 w 511"/>
              <a:gd name="T21" fmla="*/ 2147483647 h 300"/>
              <a:gd name="T22" fmla="*/ 2147483647 w 511"/>
              <a:gd name="T23" fmla="*/ 2147483647 h 300"/>
              <a:gd name="T24" fmla="*/ 2147483647 w 511"/>
              <a:gd name="T25" fmla="*/ 2147483647 h 300"/>
              <a:gd name="T26" fmla="*/ 2147483647 w 511"/>
              <a:gd name="T27" fmla="*/ 2147483647 h 300"/>
              <a:gd name="T28" fmla="*/ 2147483647 w 511"/>
              <a:gd name="T29" fmla="*/ 2147483647 h 300"/>
              <a:gd name="T30" fmla="*/ 2147483647 w 511"/>
              <a:gd name="T31" fmla="*/ 2147483647 h 300"/>
              <a:gd name="T32" fmla="*/ 2147483647 w 511"/>
              <a:gd name="T33" fmla="*/ 2147483647 h 300"/>
              <a:gd name="T34" fmla="*/ 2147483647 w 511"/>
              <a:gd name="T35" fmla="*/ 2147483647 h 300"/>
              <a:gd name="T36" fmla="*/ 2147483647 w 511"/>
              <a:gd name="T37" fmla="*/ 2147483647 h 300"/>
              <a:gd name="T38" fmla="*/ 2147483647 w 511"/>
              <a:gd name="T39" fmla="*/ 2147483647 h 300"/>
              <a:gd name="T40" fmla="*/ 2147483647 w 511"/>
              <a:gd name="T41" fmla="*/ 2147483647 h 300"/>
              <a:gd name="T42" fmla="*/ 2147483647 w 511"/>
              <a:gd name="T43" fmla="*/ 2147483647 h 300"/>
              <a:gd name="T44" fmla="*/ 2147483647 w 511"/>
              <a:gd name="T45" fmla="*/ 2147483647 h 300"/>
              <a:gd name="T46" fmla="*/ 2147483647 w 511"/>
              <a:gd name="T47" fmla="*/ 2147483647 h 300"/>
              <a:gd name="T48" fmla="*/ 2147483647 w 511"/>
              <a:gd name="T49" fmla="*/ 2147483647 h 300"/>
              <a:gd name="T50" fmla="*/ 2147483647 w 511"/>
              <a:gd name="T51" fmla="*/ 2147483647 h 300"/>
              <a:gd name="T52" fmla="*/ 2147483647 w 511"/>
              <a:gd name="T53" fmla="*/ 2147483647 h 300"/>
              <a:gd name="T54" fmla="*/ 2147483647 w 511"/>
              <a:gd name="T55" fmla="*/ 2147483647 h 300"/>
              <a:gd name="T56" fmla="*/ 2147483647 w 511"/>
              <a:gd name="T57" fmla="*/ 2147483647 h 300"/>
              <a:gd name="T58" fmla="*/ 2147483647 w 511"/>
              <a:gd name="T59" fmla="*/ 2147483647 h 300"/>
              <a:gd name="T60" fmla="*/ 2147483647 w 511"/>
              <a:gd name="T61" fmla="*/ 2147483647 h 300"/>
              <a:gd name="T62" fmla="*/ 2147483647 w 511"/>
              <a:gd name="T63" fmla="*/ 2147483647 h 300"/>
              <a:gd name="T64" fmla="*/ 2147483647 w 511"/>
              <a:gd name="T65" fmla="*/ 2147483647 h 300"/>
              <a:gd name="T66" fmla="*/ 2147483647 w 511"/>
              <a:gd name="T67" fmla="*/ 2147483647 h 300"/>
              <a:gd name="T68" fmla="*/ 2147483647 w 511"/>
              <a:gd name="T69" fmla="*/ 2147483647 h 300"/>
              <a:gd name="T70" fmla="*/ 2147483647 w 511"/>
              <a:gd name="T71" fmla="*/ 2147483647 h 300"/>
              <a:gd name="T72" fmla="*/ 2147483647 w 511"/>
              <a:gd name="T73" fmla="*/ 2147483647 h 300"/>
              <a:gd name="T74" fmla="*/ 2147483647 w 511"/>
              <a:gd name="T75" fmla="*/ 2147483647 h 300"/>
              <a:gd name="T76" fmla="*/ 2147483647 w 511"/>
              <a:gd name="T77" fmla="*/ 2147483647 h 300"/>
              <a:gd name="T78" fmla="*/ 2147483647 w 511"/>
              <a:gd name="T79" fmla="*/ 2147483647 h 300"/>
              <a:gd name="T80" fmla="*/ 2147483647 w 511"/>
              <a:gd name="T81" fmla="*/ 2147483647 h 300"/>
              <a:gd name="T82" fmla="*/ 2147483647 w 511"/>
              <a:gd name="T83" fmla="*/ 2147483647 h 300"/>
              <a:gd name="T84" fmla="*/ 2147483647 w 511"/>
              <a:gd name="T85" fmla="*/ 2147483647 h 300"/>
              <a:gd name="T86" fmla="*/ 2147483647 w 511"/>
              <a:gd name="T87" fmla="*/ 2147483647 h 300"/>
              <a:gd name="T88" fmla="*/ 2147483647 w 511"/>
              <a:gd name="T89" fmla="*/ 0 h 300"/>
              <a:gd name="T90" fmla="*/ 0 w 511"/>
              <a:gd name="T91" fmla="*/ 2147483647 h 3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11"/>
              <a:gd name="T139" fmla="*/ 0 h 300"/>
              <a:gd name="T140" fmla="*/ 511 w 511"/>
              <a:gd name="T141" fmla="*/ 300 h 30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11" h="300">
                <a:moveTo>
                  <a:pt x="0" y="2"/>
                </a:moveTo>
                <a:lnTo>
                  <a:pt x="26" y="51"/>
                </a:lnTo>
                <a:lnTo>
                  <a:pt x="53" y="72"/>
                </a:lnTo>
                <a:lnTo>
                  <a:pt x="52" y="83"/>
                </a:lnTo>
                <a:lnTo>
                  <a:pt x="37" y="86"/>
                </a:lnTo>
                <a:lnTo>
                  <a:pt x="69" y="99"/>
                </a:lnTo>
                <a:lnTo>
                  <a:pt x="87" y="119"/>
                </a:lnTo>
                <a:lnTo>
                  <a:pt x="84" y="136"/>
                </a:lnTo>
                <a:lnTo>
                  <a:pt x="123" y="166"/>
                </a:lnTo>
                <a:lnTo>
                  <a:pt x="130" y="156"/>
                </a:lnTo>
                <a:lnTo>
                  <a:pt x="45" y="44"/>
                </a:lnTo>
                <a:lnTo>
                  <a:pt x="40" y="13"/>
                </a:lnTo>
                <a:lnTo>
                  <a:pt x="56" y="20"/>
                </a:lnTo>
                <a:lnTo>
                  <a:pt x="89" y="68"/>
                </a:lnTo>
                <a:lnTo>
                  <a:pt x="135" y="108"/>
                </a:lnTo>
                <a:lnTo>
                  <a:pt x="134" y="121"/>
                </a:lnTo>
                <a:lnTo>
                  <a:pt x="194" y="170"/>
                </a:lnTo>
                <a:lnTo>
                  <a:pt x="203" y="192"/>
                </a:lnTo>
                <a:lnTo>
                  <a:pt x="194" y="207"/>
                </a:lnTo>
                <a:lnTo>
                  <a:pt x="210" y="226"/>
                </a:lnTo>
                <a:lnTo>
                  <a:pt x="331" y="279"/>
                </a:lnTo>
                <a:lnTo>
                  <a:pt x="383" y="275"/>
                </a:lnTo>
                <a:lnTo>
                  <a:pt x="418" y="299"/>
                </a:lnTo>
                <a:lnTo>
                  <a:pt x="431" y="276"/>
                </a:lnTo>
                <a:lnTo>
                  <a:pt x="448" y="275"/>
                </a:lnTo>
                <a:lnTo>
                  <a:pt x="431" y="255"/>
                </a:lnTo>
                <a:lnTo>
                  <a:pt x="472" y="247"/>
                </a:lnTo>
                <a:lnTo>
                  <a:pt x="484" y="238"/>
                </a:lnTo>
                <a:lnTo>
                  <a:pt x="489" y="232"/>
                </a:lnTo>
                <a:lnTo>
                  <a:pt x="493" y="243"/>
                </a:lnTo>
                <a:lnTo>
                  <a:pt x="510" y="194"/>
                </a:lnTo>
                <a:lnTo>
                  <a:pt x="488" y="184"/>
                </a:lnTo>
                <a:lnTo>
                  <a:pt x="449" y="194"/>
                </a:lnTo>
                <a:lnTo>
                  <a:pt x="430" y="238"/>
                </a:lnTo>
                <a:lnTo>
                  <a:pt x="381" y="241"/>
                </a:lnTo>
                <a:lnTo>
                  <a:pt x="360" y="231"/>
                </a:lnTo>
                <a:lnTo>
                  <a:pt x="327" y="176"/>
                </a:lnTo>
                <a:lnTo>
                  <a:pt x="326" y="136"/>
                </a:lnTo>
                <a:lnTo>
                  <a:pt x="337" y="115"/>
                </a:lnTo>
                <a:lnTo>
                  <a:pt x="305" y="105"/>
                </a:lnTo>
                <a:lnTo>
                  <a:pt x="262" y="49"/>
                </a:lnTo>
                <a:lnTo>
                  <a:pt x="227" y="61"/>
                </a:lnTo>
                <a:lnTo>
                  <a:pt x="179" y="15"/>
                </a:lnTo>
                <a:lnTo>
                  <a:pt x="104" y="23"/>
                </a:lnTo>
                <a:lnTo>
                  <a:pt x="40" y="0"/>
                </a:lnTo>
                <a:lnTo>
                  <a:pt x="0" y="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6" name="Freeform 138"/>
          <p:cNvSpPr>
            <a:spLocks/>
          </p:cNvSpPr>
          <p:nvPr/>
        </p:nvSpPr>
        <p:spPr bwMode="auto">
          <a:xfrm>
            <a:off x="6270625" y="3125788"/>
            <a:ext cx="731838" cy="304800"/>
          </a:xfrm>
          <a:custGeom>
            <a:avLst/>
            <a:gdLst>
              <a:gd name="T0" fmla="*/ 0 w 531"/>
              <a:gd name="T1" fmla="*/ 2147483647 h 209"/>
              <a:gd name="T2" fmla="*/ 2147483647 w 531"/>
              <a:gd name="T3" fmla="*/ 2147483647 h 209"/>
              <a:gd name="T4" fmla="*/ 2147483647 w 531"/>
              <a:gd name="T5" fmla="*/ 2147483647 h 209"/>
              <a:gd name="T6" fmla="*/ 2147483647 w 531"/>
              <a:gd name="T7" fmla="*/ 2147483647 h 209"/>
              <a:gd name="T8" fmla="*/ 2147483647 w 531"/>
              <a:gd name="T9" fmla="*/ 2147483647 h 209"/>
              <a:gd name="T10" fmla="*/ 2147483647 w 531"/>
              <a:gd name="T11" fmla="*/ 2147483647 h 209"/>
              <a:gd name="T12" fmla="*/ 2147483647 w 531"/>
              <a:gd name="T13" fmla="*/ 2147483647 h 209"/>
              <a:gd name="T14" fmla="*/ 2147483647 w 531"/>
              <a:gd name="T15" fmla="*/ 2147483647 h 209"/>
              <a:gd name="T16" fmla="*/ 2147483647 w 531"/>
              <a:gd name="T17" fmla="*/ 2147483647 h 209"/>
              <a:gd name="T18" fmla="*/ 2147483647 w 531"/>
              <a:gd name="T19" fmla="*/ 2147483647 h 209"/>
              <a:gd name="T20" fmla="*/ 2147483647 w 531"/>
              <a:gd name="T21" fmla="*/ 2147483647 h 209"/>
              <a:gd name="T22" fmla="*/ 2147483647 w 531"/>
              <a:gd name="T23" fmla="*/ 2147483647 h 209"/>
              <a:gd name="T24" fmla="*/ 2147483647 w 531"/>
              <a:gd name="T25" fmla="*/ 2147483647 h 209"/>
              <a:gd name="T26" fmla="*/ 2147483647 w 531"/>
              <a:gd name="T27" fmla="*/ 2147483647 h 209"/>
              <a:gd name="T28" fmla="*/ 2147483647 w 531"/>
              <a:gd name="T29" fmla="*/ 2147483647 h 209"/>
              <a:gd name="T30" fmla="*/ 2147483647 w 531"/>
              <a:gd name="T31" fmla="*/ 2147483647 h 209"/>
              <a:gd name="T32" fmla="*/ 2147483647 w 531"/>
              <a:gd name="T33" fmla="*/ 2147483647 h 209"/>
              <a:gd name="T34" fmla="*/ 2147483647 w 531"/>
              <a:gd name="T35" fmla="*/ 2147483647 h 209"/>
              <a:gd name="T36" fmla="*/ 2147483647 w 531"/>
              <a:gd name="T37" fmla="*/ 2147483647 h 209"/>
              <a:gd name="T38" fmla="*/ 2147483647 w 531"/>
              <a:gd name="T39" fmla="*/ 2147483647 h 209"/>
              <a:gd name="T40" fmla="*/ 2147483647 w 531"/>
              <a:gd name="T41" fmla="*/ 2147483647 h 209"/>
              <a:gd name="T42" fmla="*/ 2147483647 w 531"/>
              <a:gd name="T43" fmla="*/ 2147483647 h 209"/>
              <a:gd name="T44" fmla="*/ 2147483647 w 531"/>
              <a:gd name="T45" fmla="*/ 2147483647 h 209"/>
              <a:gd name="T46" fmla="*/ 2147483647 w 531"/>
              <a:gd name="T47" fmla="*/ 0 h 209"/>
              <a:gd name="T48" fmla="*/ 2147483647 w 531"/>
              <a:gd name="T49" fmla="*/ 2147483647 h 209"/>
              <a:gd name="T50" fmla="*/ 2147483647 w 531"/>
              <a:gd name="T51" fmla="*/ 2147483647 h 209"/>
              <a:gd name="T52" fmla="*/ 2147483647 w 531"/>
              <a:gd name="T53" fmla="*/ 2147483647 h 209"/>
              <a:gd name="T54" fmla="*/ 0 w 531"/>
              <a:gd name="T55" fmla="*/ 2147483647 h 2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31"/>
              <a:gd name="T85" fmla="*/ 0 h 209"/>
              <a:gd name="T86" fmla="*/ 531 w 531"/>
              <a:gd name="T87" fmla="*/ 209 h 2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31" h="209">
                <a:moveTo>
                  <a:pt x="0" y="65"/>
                </a:moveTo>
                <a:lnTo>
                  <a:pt x="17" y="86"/>
                </a:lnTo>
                <a:lnTo>
                  <a:pt x="41" y="94"/>
                </a:lnTo>
                <a:lnTo>
                  <a:pt x="51" y="140"/>
                </a:lnTo>
                <a:lnTo>
                  <a:pt x="126" y="156"/>
                </a:lnTo>
                <a:lnTo>
                  <a:pt x="155" y="187"/>
                </a:lnTo>
                <a:lnTo>
                  <a:pt x="217" y="184"/>
                </a:lnTo>
                <a:lnTo>
                  <a:pt x="285" y="208"/>
                </a:lnTo>
                <a:lnTo>
                  <a:pt x="377" y="187"/>
                </a:lnTo>
                <a:lnTo>
                  <a:pt x="404" y="168"/>
                </a:lnTo>
                <a:lnTo>
                  <a:pt x="404" y="143"/>
                </a:lnTo>
                <a:lnTo>
                  <a:pt x="430" y="148"/>
                </a:lnTo>
                <a:lnTo>
                  <a:pt x="486" y="112"/>
                </a:lnTo>
                <a:lnTo>
                  <a:pt x="530" y="111"/>
                </a:lnTo>
                <a:lnTo>
                  <a:pt x="509" y="83"/>
                </a:lnTo>
                <a:lnTo>
                  <a:pt x="467" y="91"/>
                </a:lnTo>
                <a:lnTo>
                  <a:pt x="466" y="60"/>
                </a:lnTo>
                <a:lnTo>
                  <a:pt x="478" y="45"/>
                </a:lnTo>
                <a:lnTo>
                  <a:pt x="446" y="40"/>
                </a:lnTo>
                <a:lnTo>
                  <a:pt x="366" y="59"/>
                </a:lnTo>
                <a:lnTo>
                  <a:pt x="297" y="32"/>
                </a:lnTo>
                <a:lnTo>
                  <a:pt x="254" y="37"/>
                </a:lnTo>
                <a:lnTo>
                  <a:pt x="237" y="14"/>
                </a:lnTo>
                <a:lnTo>
                  <a:pt x="192" y="0"/>
                </a:lnTo>
                <a:lnTo>
                  <a:pt x="168" y="15"/>
                </a:lnTo>
                <a:lnTo>
                  <a:pt x="166" y="45"/>
                </a:lnTo>
                <a:lnTo>
                  <a:pt x="67" y="31"/>
                </a:lnTo>
                <a:lnTo>
                  <a:pt x="0" y="6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7" name="Freeform 139"/>
          <p:cNvSpPr>
            <a:spLocks/>
          </p:cNvSpPr>
          <p:nvPr/>
        </p:nvSpPr>
        <p:spPr bwMode="auto">
          <a:xfrm>
            <a:off x="3940175" y="3587750"/>
            <a:ext cx="274638" cy="204788"/>
          </a:xfrm>
          <a:custGeom>
            <a:avLst/>
            <a:gdLst>
              <a:gd name="T0" fmla="*/ 0 w 200"/>
              <a:gd name="T1" fmla="*/ 2147483647 h 141"/>
              <a:gd name="T2" fmla="*/ 2147483647 w 200"/>
              <a:gd name="T3" fmla="*/ 2147483647 h 141"/>
              <a:gd name="T4" fmla="*/ 2147483647 w 200"/>
              <a:gd name="T5" fmla="*/ 2147483647 h 141"/>
              <a:gd name="T6" fmla="*/ 2147483647 w 200"/>
              <a:gd name="T7" fmla="*/ 2147483647 h 141"/>
              <a:gd name="T8" fmla="*/ 2147483647 w 200"/>
              <a:gd name="T9" fmla="*/ 0 h 141"/>
              <a:gd name="T10" fmla="*/ 2147483647 w 200"/>
              <a:gd name="T11" fmla="*/ 2147483647 h 141"/>
              <a:gd name="T12" fmla="*/ 2147483647 w 200"/>
              <a:gd name="T13" fmla="*/ 2147483647 h 141"/>
              <a:gd name="T14" fmla="*/ 2147483647 w 200"/>
              <a:gd name="T15" fmla="*/ 2147483647 h 141"/>
              <a:gd name="T16" fmla="*/ 2147483647 w 200"/>
              <a:gd name="T17" fmla="*/ 2147483647 h 141"/>
              <a:gd name="T18" fmla="*/ 2147483647 w 200"/>
              <a:gd name="T19" fmla="*/ 2147483647 h 141"/>
              <a:gd name="T20" fmla="*/ 2147483647 w 200"/>
              <a:gd name="T21" fmla="*/ 2147483647 h 141"/>
              <a:gd name="T22" fmla="*/ 2147483647 w 200"/>
              <a:gd name="T23" fmla="*/ 2147483647 h 141"/>
              <a:gd name="T24" fmla="*/ 0 w 200"/>
              <a:gd name="T25" fmla="*/ 2147483647 h 1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
              <a:gd name="T40" fmla="*/ 0 h 141"/>
              <a:gd name="T41" fmla="*/ 200 w 200"/>
              <a:gd name="T42" fmla="*/ 141 h 1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 h="141">
                <a:moveTo>
                  <a:pt x="0" y="139"/>
                </a:moveTo>
                <a:lnTo>
                  <a:pt x="48" y="113"/>
                </a:lnTo>
                <a:lnTo>
                  <a:pt x="66" y="56"/>
                </a:lnTo>
                <a:lnTo>
                  <a:pt x="106" y="28"/>
                </a:lnTo>
                <a:lnTo>
                  <a:pt x="120" y="0"/>
                </a:lnTo>
                <a:lnTo>
                  <a:pt x="182" y="11"/>
                </a:lnTo>
                <a:lnTo>
                  <a:pt x="199" y="62"/>
                </a:lnTo>
                <a:lnTo>
                  <a:pt x="171" y="63"/>
                </a:lnTo>
                <a:lnTo>
                  <a:pt x="156" y="70"/>
                </a:lnTo>
                <a:lnTo>
                  <a:pt x="158" y="83"/>
                </a:lnTo>
                <a:lnTo>
                  <a:pt x="82" y="114"/>
                </a:lnTo>
                <a:lnTo>
                  <a:pt x="74" y="140"/>
                </a:lnTo>
                <a:lnTo>
                  <a:pt x="0" y="13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8" name="Freeform 140"/>
          <p:cNvSpPr>
            <a:spLocks/>
          </p:cNvSpPr>
          <p:nvPr/>
        </p:nvSpPr>
        <p:spPr bwMode="auto">
          <a:xfrm>
            <a:off x="4933950" y="4686300"/>
            <a:ext cx="242888" cy="387350"/>
          </a:xfrm>
          <a:custGeom>
            <a:avLst/>
            <a:gdLst>
              <a:gd name="T0" fmla="*/ 0 w 177"/>
              <a:gd name="T1" fmla="*/ 2147483647 h 265"/>
              <a:gd name="T2" fmla="*/ 2147483647 w 177"/>
              <a:gd name="T3" fmla="*/ 2147483647 h 265"/>
              <a:gd name="T4" fmla="*/ 2147483647 w 177"/>
              <a:gd name="T5" fmla="*/ 2147483647 h 265"/>
              <a:gd name="T6" fmla="*/ 2147483647 w 177"/>
              <a:gd name="T7" fmla="*/ 2147483647 h 265"/>
              <a:gd name="T8" fmla="*/ 2147483647 w 177"/>
              <a:gd name="T9" fmla="*/ 2147483647 h 265"/>
              <a:gd name="T10" fmla="*/ 2147483647 w 177"/>
              <a:gd name="T11" fmla="*/ 2147483647 h 265"/>
              <a:gd name="T12" fmla="*/ 2147483647 w 177"/>
              <a:gd name="T13" fmla="*/ 2147483647 h 265"/>
              <a:gd name="T14" fmla="*/ 2147483647 w 177"/>
              <a:gd name="T15" fmla="*/ 2147483647 h 265"/>
              <a:gd name="T16" fmla="*/ 2147483647 w 177"/>
              <a:gd name="T17" fmla="*/ 2147483647 h 265"/>
              <a:gd name="T18" fmla="*/ 2147483647 w 177"/>
              <a:gd name="T19" fmla="*/ 2147483647 h 265"/>
              <a:gd name="T20" fmla="*/ 2147483647 w 177"/>
              <a:gd name="T21" fmla="*/ 2147483647 h 265"/>
              <a:gd name="T22" fmla="*/ 2147483647 w 177"/>
              <a:gd name="T23" fmla="*/ 2147483647 h 265"/>
              <a:gd name="T24" fmla="*/ 2147483647 w 177"/>
              <a:gd name="T25" fmla="*/ 2147483647 h 265"/>
              <a:gd name="T26" fmla="*/ 2147483647 w 177"/>
              <a:gd name="T27" fmla="*/ 0 h 265"/>
              <a:gd name="T28" fmla="*/ 2147483647 w 177"/>
              <a:gd name="T29" fmla="*/ 2147483647 h 265"/>
              <a:gd name="T30" fmla="*/ 2147483647 w 177"/>
              <a:gd name="T31" fmla="*/ 2147483647 h 265"/>
              <a:gd name="T32" fmla="*/ 2147483647 w 177"/>
              <a:gd name="T33" fmla="*/ 2147483647 h 265"/>
              <a:gd name="T34" fmla="*/ 2147483647 w 177"/>
              <a:gd name="T35" fmla="*/ 2147483647 h 265"/>
              <a:gd name="T36" fmla="*/ 2147483647 w 177"/>
              <a:gd name="T37" fmla="*/ 2147483647 h 265"/>
              <a:gd name="T38" fmla="*/ 2147483647 w 177"/>
              <a:gd name="T39" fmla="*/ 2147483647 h 265"/>
              <a:gd name="T40" fmla="*/ 2147483647 w 177"/>
              <a:gd name="T41" fmla="*/ 2147483647 h 265"/>
              <a:gd name="T42" fmla="*/ 2147483647 w 177"/>
              <a:gd name="T43" fmla="*/ 2147483647 h 265"/>
              <a:gd name="T44" fmla="*/ 0 w 177"/>
              <a:gd name="T45" fmla="*/ 2147483647 h 26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7"/>
              <a:gd name="T70" fmla="*/ 0 h 265"/>
              <a:gd name="T71" fmla="*/ 177 w 177"/>
              <a:gd name="T72" fmla="*/ 265 h 26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7" h="265">
                <a:moveTo>
                  <a:pt x="0" y="73"/>
                </a:moveTo>
                <a:lnTo>
                  <a:pt x="5" y="80"/>
                </a:lnTo>
                <a:lnTo>
                  <a:pt x="44" y="94"/>
                </a:lnTo>
                <a:lnTo>
                  <a:pt x="50" y="111"/>
                </a:lnTo>
                <a:lnTo>
                  <a:pt x="48" y="151"/>
                </a:lnTo>
                <a:lnTo>
                  <a:pt x="26" y="196"/>
                </a:lnTo>
                <a:lnTo>
                  <a:pt x="33" y="247"/>
                </a:lnTo>
                <a:lnTo>
                  <a:pt x="33" y="264"/>
                </a:lnTo>
                <a:lnTo>
                  <a:pt x="47" y="264"/>
                </a:lnTo>
                <a:lnTo>
                  <a:pt x="47" y="245"/>
                </a:lnTo>
                <a:lnTo>
                  <a:pt x="90" y="220"/>
                </a:lnTo>
                <a:lnTo>
                  <a:pt x="78" y="151"/>
                </a:lnTo>
                <a:lnTo>
                  <a:pt x="175" y="80"/>
                </a:lnTo>
                <a:lnTo>
                  <a:pt x="176" y="0"/>
                </a:lnTo>
                <a:lnTo>
                  <a:pt x="150" y="13"/>
                </a:lnTo>
                <a:lnTo>
                  <a:pt x="84" y="16"/>
                </a:lnTo>
                <a:lnTo>
                  <a:pt x="81" y="47"/>
                </a:lnTo>
                <a:lnTo>
                  <a:pt x="100" y="71"/>
                </a:lnTo>
                <a:lnTo>
                  <a:pt x="90" y="105"/>
                </a:lnTo>
                <a:lnTo>
                  <a:pt x="73" y="86"/>
                </a:lnTo>
                <a:lnTo>
                  <a:pt x="75" y="64"/>
                </a:lnTo>
                <a:lnTo>
                  <a:pt x="53" y="56"/>
                </a:lnTo>
                <a:lnTo>
                  <a:pt x="0" y="7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49" name="Freeform 141"/>
          <p:cNvSpPr>
            <a:spLocks/>
          </p:cNvSpPr>
          <p:nvPr/>
        </p:nvSpPr>
        <p:spPr bwMode="auto">
          <a:xfrm>
            <a:off x="5441950" y="3860800"/>
            <a:ext cx="180975" cy="198438"/>
          </a:xfrm>
          <a:custGeom>
            <a:avLst/>
            <a:gdLst>
              <a:gd name="T0" fmla="*/ 0 w 132"/>
              <a:gd name="T1" fmla="*/ 2147483647 h 136"/>
              <a:gd name="T2" fmla="*/ 2147483647 w 132"/>
              <a:gd name="T3" fmla="*/ 2147483647 h 136"/>
              <a:gd name="T4" fmla="*/ 2147483647 w 132"/>
              <a:gd name="T5" fmla="*/ 2147483647 h 136"/>
              <a:gd name="T6" fmla="*/ 2147483647 w 132"/>
              <a:gd name="T7" fmla="*/ 2147483647 h 136"/>
              <a:gd name="T8" fmla="*/ 2147483647 w 132"/>
              <a:gd name="T9" fmla="*/ 2147483647 h 136"/>
              <a:gd name="T10" fmla="*/ 2147483647 w 132"/>
              <a:gd name="T11" fmla="*/ 2147483647 h 136"/>
              <a:gd name="T12" fmla="*/ 2147483647 w 132"/>
              <a:gd name="T13" fmla="*/ 2147483647 h 136"/>
              <a:gd name="T14" fmla="*/ 2147483647 w 132"/>
              <a:gd name="T15" fmla="*/ 2147483647 h 136"/>
              <a:gd name="T16" fmla="*/ 2147483647 w 132"/>
              <a:gd name="T17" fmla="*/ 0 h 136"/>
              <a:gd name="T18" fmla="*/ 2147483647 w 132"/>
              <a:gd name="T19" fmla="*/ 2147483647 h 136"/>
              <a:gd name="T20" fmla="*/ 2147483647 w 132"/>
              <a:gd name="T21" fmla="*/ 2147483647 h 136"/>
              <a:gd name="T22" fmla="*/ 2147483647 w 132"/>
              <a:gd name="T23" fmla="*/ 2147483647 h 136"/>
              <a:gd name="T24" fmla="*/ 2147483647 w 132"/>
              <a:gd name="T25" fmla="*/ 2147483647 h 136"/>
              <a:gd name="T26" fmla="*/ 2147483647 w 132"/>
              <a:gd name="T27" fmla="*/ 2147483647 h 136"/>
              <a:gd name="T28" fmla="*/ 0 w 132"/>
              <a:gd name="T29" fmla="*/ 2147483647 h 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136"/>
              <a:gd name="T47" fmla="*/ 132 w 132"/>
              <a:gd name="T48" fmla="*/ 136 h 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136">
                <a:moveTo>
                  <a:pt x="0" y="97"/>
                </a:moveTo>
                <a:lnTo>
                  <a:pt x="17" y="135"/>
                </a:lnTo>
                <a:lnTo>
                  <a:pt x="49" y="130"/>
                </a:lnTo>
                <a:lnTo>
                  <a:pt x="96" y="97"/>
                </a:lnTo>
                <a:lnTo>
                  <a:pt x="95" y="80"/>
                </a:lnTo>
                <a:lnTo>
                  <a:pt x="126" y="50"/>
                </a:lnTo>
                <a:lnTo>
                  <a:pt x="131" y="40"/>
                </a:lnTo>
                <a:lnTo>
                  <a:pt x="111" y="22"/>
                </a:lnTo>
                <a:lnTo>
                  <a:pt x="72" y="0"/>
                </a:lnTo>
                <a:lnTo>
                  <a:pt x="62" y="1"/>
                </a:lnTo>
                <a:lnTo>
                  <a:pt x="68" y="13"/>
                </a:lnTo>
                <a:lnTo>
                  <a:pt x="54" y="36"/>
                </a:lnTo>
                <a:lnTo>
                  <a:pt x="62" y="48"/>
                </a:lnTo>
                <a:lnTo>
                  <a:pt x="49" y="80"/>
                </a:lnTo>
                <a:lnTo>
                  <a:pt x="0" y="9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0" name="Freeform 142"/>
          <p:cNvSpPr>
            <a:spLocks/>
          </p:cNvSpPr>
          <p:nvPr/>
        </p:nvSpPr>
        <p:spPr bwMode="auto">
          <a:xfrm>
            <a:off x="6089650" y="3727450"/>
            <a:ext cx="188913" cy="100013"/>
          </a:xfrm>
          <a:custGeom>
            <a:avLst/>
            <a:gdLst>
              <a:gd name="T0" fmla="*/ 0 w 137"/>
              <a:gd name="T1" fmla="*/ 2147483647 h 68"/>
              <a:gd name="T2" fmla="*/ 2147483647 w 137"/>
              <a:gd name="T3" fmla="*/ 0 h 68"/>
              <a:gd name="T4" fmla="*/ 2147483647 w 137"/>
              <a:gd name="T5" fmla="*/ 2147483647 h 68"/>
              <a:gd name="T6" fmla="*/ 2147483647 w 137"/>
              <a:gd name="T7" fmla="*/ 2147483647 h 68"/>
              <a:gd name="T8" fmla="*/ 2147483647 w 137"/>
              <a:gd name="T9" fmla="*/ 2147483647 h 68"/>
              <a:gd name="T10" fmla="*/ 2147483647 w 137"/>
              <a:gd name="T11" fmla="*/ 2147483647 h 68"/>
              <a:gd name="T12" fmla="*/ 2147483647 w 137"/>
              <a:gd name="T13" fmla="*/ 2147483647 h 68"/>
              <a:gd name="T14" fmla="*/ 0 w 137"/>
              <a:gd name="T15" fmla="*/ 2147483647 h 68"/>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68"/>
              <a:gd name="T26" fmla="*/ 137 w 137"/>
              <a:gd name="T27" fmla="*/ 68 h 6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68">
                <a:moveTo>
                  <a:pt x="0" y="25"/>
                </a:moveTo>
                <a:lnTo>
                  <a:pt x="17" y="0"/>
                </a:lnTo>
                <a:lnTo>
                  <a:pt x="70" y="16"/>
                </a:lnTo>
                <a:lnTo>
                  <a:pt x="99" y="40"/>
                </a:lnTo>
                <a:lnTo>
                  <a:pt x="136" y="40"/>
                </a:lnTo>
                <a:lnTo>
                  <a:pt x="134" y="67"/>
                </a:lnTo>
                <a:lnTo>
                  <a:pt x="46" y="49"/>
                </a:lnTo>
                <a:lnTo>
                  <a:pt x="0" y="2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1" name="Freeform 143"/>
          <p:cNvSpPr>
            <a:spLocks/>
          </p:cNvSpPr>
          <p:nvPr/>
        </p:nvSpPr>
        <p:spPr bwMode="auto">
          <a:xfrm>
            <a:off x="4322763" y="3089275"/>
            <a:ext cx="80962" cy="80963"/>
          </a:xfrm>
          <a:custGeom>
            <a:avLst/>
            <a:gdLst>
              <a:gd name="T0" fmla="*/ 0 w 59"/>
              <a:gd name="T1" fmla="*/ 2147483647 h 55"/>
              <a:gd name="T2" fmla="*/ 2147483647 w 59"/>
              <a:gd name="T3" fmla="*/ 2147483647 h 55"/>
              <a:gd name="T4" fmla="*/ 2147483647 w 59"/>
              <a:gd name="T5" fmla="*/ 2147483647 h 55"/>
              <a:gd name="T6" fmla="*/ 2147483647 w 59"/>
              <a:gd name="T7" fmla="*/ 2147483647 h 55"/>
              <a:gd name="T8" fmla="*/ 2147483647 w 59"/>
              <a:gd name="T9" fmla="*/ 2147483647 h 55"/>
              <a:gd name="T10" fmla="*/ 2147483647 w 59"/>
              <a:gd name="T11" fmla="*/ 0 h 55"/>
              <a:gd name="T12" fmla="*/ 2147483647 w 59"/>
              <a:gd name="T13" fmla="*/ 0 h 55"/>
              <a:gd name="T14" fmla="*/ 2147483647 w 59"/>
              <a:gd name="T15" fmla="*/ 2147483647 h 55"/>
              <a:gd name="T16" fmla="*/ 2147483647 w 59"/>
              <a:gd name="T17" fmla="*/ 2147483647 h 55"/>
              <a:gd name="T18" fmla="*/ 2147483647 w 59"/>
              <a:gd name="T19" fmla="*/ 2147483647 h 55"/>
              <a:gd name="T20" fmla="*/ 2147483647 w 59"/>
              <a:gd name="T21" fmla="*/ 2147483647 h 55"/>
              <a:gd name="T22" fmla="*/ 0 w 59"/>
              <a:gd name="T23" fmla="*/ 2147483647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55"/>
              <a:gd name="T38" fmla="*/ 59 w 59"/>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55">
                <a:moveTo>
                  <a:pt x="0" y="41"/>
                </a:moveTo>
                <a:lnTo>
                  <a:pt x="22" y="33"/>
                </a:lnTo>
                <a:lnTo>
                  <a:pt x="11" y="28"/>
                </a:lnTo>
                <a:lnTo>
                  <a:pt x="22" y="8"/>
                </a:lnTo>
                <a:lnTo>
                  <a:pt x="32" y="20"/>
                </a:lnTo>
                <a:lnTo>
                  <a:pt x="32" y="0"/>
                </a:lnTo>
                <a:lnTo>
                  <a:pt x="58" y="0"/>
                </a:lnTo>
                <a:lnTo>
                  <a:pt x="57" y="20"/>
                </a:lnTo>
                <a:lnTo>
                  <a:pt x="39" y="28"/>
                </a:lnTo>
                <a:lnTo>
                  <a:pt x="39" y="54"/>
                </a:lnTo>
                <a:lnTo>
                  <a:pt x="23" y="39"/>
                </a:lnTo>
                <a:lnTo>
                  <a:pt x="0" y="4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2" name="Freeform 144"/>
          <p:cNvSpPr>
            <a:spLocks/>
          </p:cNvSpPr>
          <p:nvPr/>
        </p:nvSpPr>
        <p:spPr bwMode="auto">
          <a:xfrm>
            <a:off x="8088313" y="5434013"/>
            <a:ext cx="179387" cy="169862"/>
          </a:xfrm>
          <a:custGeom>
            <a:avLst/>
            <a:gdLst>
              <a:gd name="T0" fmla="*/ 0 w 130"/>
              <a:gd name="T1" fmla="*/ 2147483647 h 116"/>
              <a:gd name="T2" fmla="*/ 2147483647 w 130"/>
              <a:gd name="T3" fmla="*/ 2147483647 h 116"/>
              <a:gd name="T4" fmla="*/ 2147483647 w 130"/>
              <a:gd name="T5" fmla="*/ 2147483647 h 116"/>
              <a:gd name="T6" fmla="*/ 2147483647 w 130"/>
              <a:gd name="T7" fmla="*/ 0 h 116"/>
              <a:gd name="T8" fmla="*/ 2147483647 w 130"/>
              <a:gd name="T9" fmla="*/ 2147483647 h 116"/>
              <a:gd name="T10" fmla="*/ 2147483647 w 130"/>
              <a:gd name="T11" fmla="*/ 2147483647 h 116"/>
              <a:gd name="T12" fmla="*/ 2147483647 w 130"/>
              <a:gd name="T13" fmla="*/ 2147483647 h 116"/>
              <a:gd name="T14" fmla="*/ 2147483647 w 130"/>
              <a:gd name="T15" fmla="*/ 2147483647 h 116"/>
              <a:gd name="T16" fmla="*/ 2147483647 w 130"/>
              <a:gd name="T17" fmla="*/ 2147483647 h 116"/>
              <a:gd name="T18" fmla="*/ 2147483647 w 130"/>
              <a:gd name="T19" fmla="*/ 2147483647 h 116"/>
              <a:gd name="T20" fmla="*/ 2147483647 w 130"/>
              <a:gd name="T21" fmla="*/ 2147483647 h 116"/>
              <a:gd name="T22" fmla="*/ 2147483647 w 130"/>
              <a:gd name="T23" fmla="*/ 2147483647 h 116"/>
              <a:gd name="T24" fmla="*/ 0 w 130"/>
              <a:gd name="T25" fmla="*/ 2147483647 h 1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0"/>
              <a:gd name="T40" fmla="*/ 0 h 116"/>
              <a:gd name="T41" fmla="*/ 130 w 130"/>
              <a:gd name="T42" fmla="*/ 116 h 1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0" h="116">
                <a:moveTo>
                  <a:pt x="0" y="101"/>
                </a:moveTo>
                <a:lnTo>
                  <a:pt x="27" y="64"/>
                </a:lnTo>
                <a:lnTo>
                  <a:pt x="74" y="39"/>
                </a:lnTo>
                <a:lnTo>
                  <a:pt x="99" y="0"/>
                </a:lnTo>
                <a:lnTo>
                  <a:pt x="113" y="12"/>
                </a:lnTo>
                <a:lnTo>
                  <a:pt x="128" y="6"/>
                </a:lnTo>
                <a:lnTo>
                  <a:pt x="129" y="19"/>
                </a:lnTo>
                <a:lnTo>
                  <a:pt x="105" y="46"/>
                </a:lnTo>
                <a:lnTo>
                  <a:pt x="112" y="60"/>
                </a:lnTo>
                <a:lnTo>
                  <a:pt x="86" y="64"/>
                </a:lnTo>
                <a:lnTo>
                  <a:pt x="71" y="102"/>
                </a:lnTo>
                <a:lnTo>
                  <a:pt x="42" y="115"/>
                </a:lnTo>
                <a:lnTo>
                  <a:pt x="0" y="10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3" name="Freeform 145"/>
          <p:cNvSpPr>
            <a:spLocks/>
          </p:cNvSpPr>
          <p:nvPr/>
        </p:nvSpPr>
        <p:spPr bwMode="auto">
          <a:xfrm>
            <a:off x="8229600" y="5268913"/>
            <a:ext cx="134938" cy="185737"/>
          </a:xfrm>
          <a:custGeom>
            <a:avLst/>
            <a:gdLst>
              <a:gd name="T0" fmla="*/ 0 w 98"/>
              <a:gd name="T1" fmla="*/ 0 h 127"/>
              <a:gd name="T2" fmla="*/ 2147483647 w 98"/>
              <a:gd name="T3" fmla="*/ 2147483647 h 127"/>
              <a:gd name="T4" fmla="*/ 2147483647 w 98"/>
              <a:gd name="T5" fmla="*/ 2147483647 h 127"/>
              <a:gd name="T6" fmla="*/ 2147483647 w 98"/>
              <a:gd name="T7" fmla="*/ 2147483647 h 127"/>
              <a:gd name="T8" fmla="*/ 2147483647 w 98"/>
              <a:gd name="T9" fmla="*/ 2147483647 h 127"/>
              <a:gd name="T10" fmla="*/ 2147483647 w 98"/>
              <a:gd name="T11" fmla="*/ 2147483647 h 127"/>
              <a:gd name="T12" fmla="*/ 2147483647 w 98"/>
              <a:gd name="T13" fmla="*/ 2147483647 h 127"/>
              <a:gd name="T14" fmla="*/ 2147483647 w 98"/>
              <a:gd name="T15" fmla="*/ 2147483647 h 127"/>
              <a:gd name="T16" fmla="*/ 2147483647 w 98"/>
              <a:gd name="T17" fmla="*/ 2147483647 h 127"/>
              <a:gd name="T18" fmla="*/ 2147483647 w 98"/>
              <a:gd name="T19" fmla="*/ 2147483647 h 127"/>
              <a:gd name="T20" fmla="*/ 2147483647 w 98"/>
              <a:gd name="T21" fmla="*/ 2147483647 h 127"/>
              <a:gd name="T22" fmla="*/ 2147483647 w 98"/>
              <a:gd name="T23" fmla="*/ 2147483647 h 127"/>
              <a:gd name="T24" fmla="*/ 2147483647 w 98"/>
              <a:gd name="T25" fmla="*/ 2147483647 h 127"/>
              <a:gd name="T26" fmla="*/ 2147483647 w 98"/>
              <a:gd name="T27" fmla="*/ 2147483647 h 127"/>
              <a:gd name="T28" fmla="*/ 2147483647 w 98"/>
              <a:gd name="T29" fmla="*/ 2147483647 h 127"/>
              <a:gd name="T30" fmla="*/ 0 w 98"/>
              <a:gd name="T31" fmla="*/ 0 h 1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8"/>
              <a:gd name="T49" fmla="*/ 0 h 127"/>
              <a:gd name="T50" fmla="*/ 98 w 98"/>
              <a:gd name="T51" fmla="*/ 127 h 1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8" h="127">
                <a:moveTo>
                  <a:pt x="0" y="0"/>
                </a:moveTo>
                <a:lnTo>
                  <a:pt x="26" y="14"/>
                </a:lnTo>
                <a:lnTo>
                  <a:pt x="34" y="42"/>
                </a:lnTo>
                <a:lnTo>
                  <a:pt x="47" y="51"/>
                </a:lnTo>
                <a:lnTo>
                  <a:pt x="52" y="40"/>
                </a:lnTo>
                <a:lnTo>
                  <a:pt x="56" y="58"/>
                </a:lnTo>
                <a:lnTo>
                  <a:pt x="97" y="58"/>
                </a:lnTo>
                <a:lnTo>
                  <a:pt x="88" y="85"/>
                </a:lnTo>
                <a:lnTo>
                  <a:pt x="71" y="91"/>
                </a:lnTo>
                <a:lnTo>
                  <a:pt x="54" y="125"/>
                </a:lnTo>
                <a:lnTo>
                  <a:pt x="36" y="126"/>
                </a:lnTo>
                <a:lnTo>
                  <a:pt x="42" y="113"/>
                </a:lnTo>
                <a:lnTo>
                  <a:pt x="20" y="89"/>
                </a:lnTo>
                <a:lnTo>
                  <a:pt x="38" y="67"/>
                </a:lnTo>
                <a:lnTo>
                  <a:pt x="36" y="46"/>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4" name="Freeform 146"/>
          <p:cNvSpPr>
            <a:spLocks/>
          </p:cNvSpPr>
          <p:nvPr/>
        </p:nvSpPr>
        <p:spPr bwMode="auto">
          <a:xfrm>
            <a:off x="2217738" y="4097338"/>
            <a:ext cx="96837" cy="96837"/>
          </a:xfrm>
          <a:custGeom>
            <a:avLst/>
            <a:gdLst>
              <a:gd name="T0" fmla="*/ 0 w 70"/>
              <a:gd name="T1" fmla="*/ 2147483647 h 66"/>
              <a:gd name="T2" fmla="*/ 2147483647 w 70"/>
              <a:gd name="T3" fmla="*/ 2147483647 h 66"/>
              <a:gd name="T4" fmla="*/ 2147483647 w 70"/>
              <a:gd name="T5" fmla="*/ 2147483647 h 66"/>
              <a:gd name="T6" fmla="*/ 2147483647 w 70"/>
              <a:gd name="T7" fmla="*/ 0 h 66"/>
              <a:gd name="T8" fmla="*/ 2147483647 w 70"/>
              <a:gd name="T9" fmla="*/ 2147483647 h 66"/>
              <a:gd name="T10" fmla="*/ 0 w 70"/>
              <a:gd name="T11" fmla="*/ 2147483647 h 66"/>
              <a:gd name="T12" fmla="*/ 0 60000 65536"/>
              <a:gd name="T13" fmla="*/ 0 60000 65536"/>
              <a:gd name="T14" fmla="*/ 0 60000 65536"/>
              <a:gd name="T15" fmla="*/ 0 60000 65536"/>
              <a:gd name="T16" fmla="*/ 0 60000 65536"/>
              <a:gd name="T17" fmla="*/ 0 60000 65536"/>
              <a:gd name="T18" fmla="*/ 0 w 70"/>
              <a:gd name="T19" fmla="*/ 0 h 66"/>
              <a:gd name="T20" fmla="*/ 70 w 70"/>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70" h="66">
                <a:moveTo>
                  <a:pt x="0" y="33"/>
                </a:moveTo>
                <a:lnTo>
                  <a:pt x="26" y="63"/>
                </a:lnTo>
                <a:lnTo>
                  <a:pt x="61" y="65"/>
                </a:lnTo>
                <a:lnTo>
                  <a:pt x="69" y="0"/>
                </a:lnTo>
                <a:lnTo>
                  <a:pt x="43" y="3"/>
                </a:lnTo>
                <a:lnTo>
                  <a:pt x="0" y="3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5" name="Freeform 147"/>
          <p:cNvSpPr>
            <a:spLocks/>
          </p:cNvSpPr>
          <p:nvPr/>
        </p:nvSpPr>
        <p:spPr bwMode="auto">
          <a:xfrm>
            <a:off x="4244975" y="3894138"/>
            <a:ext cx="366713" cy="282575"/>
          </a:xfrm>
          <a:custGeom>
            <a:avLst/>
            <a:gdLst>
              <a:gd name="T0" fmla="*/ 0 w 266"/>
              <a:gd name="T1" fmla="*/ 2147483647 h 193"/>
              <a:gd name="T2" fmla="*/ 2147483647 w 266"/>
              <a:gd name="T3" fmla="*/ 2147483647 h 193"/>
              <a:gd name="T4" fmla="*/ 2147483647 w 266"/>
              <a:gd name="T5" fmla="*/ 2147483647 h 193"/>
              <a:gd name="T6" fmla="*/ 2147483647 w 266"/>
              <a:gd name="T7" fmla="*/ 2147483647 h 193"/>
              <a:gd name="T8" fmla="*/ 2147483647 w 266"/>
              <a:gd name="T9" fmla="*/ 2147483647 h 193"/>
              <a:gd name="T10" fmla="*/ 2147483647 w 266"/>
              <a:gd name="T11" fmla="*/ 2147483647 h 193"/>
              <a:gd name="T12" fmla="*/ 2147483647 w 266"/>
              <a:gd name="T13" fmla="*/ 2147483647 h 193"/>
              <a:gd name="T14" fmla="*/ 2147483647 w 266"/>
              <a:gd name="T15" fmla="*/ 2147483647 h 193"/>
              <a:gd name="T16" fmla="*/ 2147483647 w 266"/>
              <a:gd name="T17" fmla="*/ 2147483647 h 193"/>
              <a:gd name="T18" fmla="*/ 2147483647 w 266"/>
              <a:gd name="T19" fmla="*/ 2147483647 h 193"/>
              <a:gd name="T20" fmla="*/ 2147483647 w 266"/>
              <a:gd name="T21" fmla="*/ 2147483647 h 193"/>
              <a:gd name="T22" fmla="*/ 2147483647 w 266"/>
              <a:gd name="T23" fmla="*/ 2147483647 h 193"/>
              <a:gd name="T24" fmla="*/ 2147483647 w 266"/>
              <a:gd name="T25" fmla="*/ 2147483647 h 193"/>
              <a:gd name="T26" fmla="*/ 2147483647 w 266"/>
              <a:gd name="T27" fmla="*/ 0 h 193"/>
              <a:gd name="T28" fmla="*/ 2147483647 w 266"/>
              <a:gd name="T29" fmla="*/ 2147483647 h 193"/>
              <a:gd name="T30" fmla="*/ 2147483647 w 266"/>
              <a:gd name="T31" fmla="*/ 2147483647 h 193"/>
              <a:gd name="T32" fmla="*/ 2147483647 w 266"/>
              <a:gd name="T33" fmla="*/ 2147483647 h 193"/>
              <a:gd name="T34" fmla="*/ 2147483647 w 266"/>
              <a:gd name="T35" fmla="*/ 2147483647 h 193"/>
              <a:gd name="T36" fmla="*/ 0 w 266"/>
              <a:gd name="T37" fmla="*/ 2147483647 h 1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6"/>
              <a:gd name="T58" fmla="*/ 0 h 193"/>
              <a:gd name="T59" fmla="*/ 266 w 266"/>
              <a:gd name="T60" fmla="*/ 193 h 1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6" h="193">
                <a:moveTo>
                  <a:pt x="0" y="140"/>
                </a:moveTo>
                <a:lnTo>
                  <a:pt x="1" y="155"/>
                </a:lnTo>
                <a:lnTo>
                  <a:pt x="36" y="187"/>
                </a:lnTo>
                <a:lnTo>
                  <a:pt x="43" y="180"/>
                </a:lnTo>
                <a:lnTo>
                  <a:pt x="57" y="192"/>
                </a:lnTo>
                <a:lnTo>
                  <a:pt x="76" y="159"/>
                </a:lnTo>
                <a:lnTo>
                  <a:pt x="153" y="175"/>
                </a:lnTo>
                <a:lnTo>
                  <a:pt x="217" y="158"/>
                </a:lnTo>
                <a:lnTo>
                  <a:pt x="221" y="151"/>
                </a:lnTo>
                <a:lnTo>
                  <a:pt x="254" y="108"/>
                </a:lnTo>
                <a:lnTo>
                  <a:pt x="265" y="51"/>
                </a:lnTo>
                <a:lnTo>
                  <a:pt x="248" y="33"/>
                </a:lnTo>
                <a:lnTo>
                  <a:pt x="248" y="9"/>
                </a:lnTo>
                <a:lnTo>
                  <a:pt x="192" y="0"/>
                </a:lnTo>
                <a:lnTo>
                  <a:pt x="91" y="65"/>
                </a:lnTo>
                <a:lnTo>
                  <a:pt x="65" y="72"/>
                </a:lnTo>
                <a:lnTo>
                  <a:pt x="65" y="122"/>
                </a:lnTo>
                <a:lnTo>
                  <a:pt x="54" y="134"/>
                </a:lnTo>
                <a:lnTo>
                  <a:pt x="0" y="14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6" name="Freeform 148"/>
          <p:cNvSpPr>
            <a:spLocks/>
          </p:cNvSpPr>
          <p:nvPr/>
        </p:nvSpPr>
        <p:spPr bwMode="auto">
          <a:xfrm>
            <a:off x="4305300" y="4125913"/>
            <a:ext cx="268288" cy="223837"/>
          </a:xfrm>
          <a:custGeom>
            <a:avLst/>
            <a:gdLst>
              <a:gd name="T0" fmla="*/ 0 w 195"/>
              <a:gd name="T1" fmla="*/ 2147483647 h 154"/>
              <a:gd name="T2" fmla="*/ 2147483647 w 195"/>
              <a:gd name="T3" fmla="*/ 2147483647 h 154"/>
              <a:gd name="T4" fmla="*/ 2147483647 w 195"/>
              <a:gd name="T5" fmla="*/ 2147483647 h 154"/>
              <a:gd name="T6" fmla="*/ 2147483647 w 195"/>
              <a:gd name="T7" fmla="*/ 2147483647 h 154"/>
              <a:gd name="T8" fmla="*/ 2147483647 w 195"/>
              <a:gd name="T9" fmla="*/ 0 h 154"/>
              <a:gd name="T10" fmla="*/ 2147483647 w 195"/>
              <a:gd name="T11" fmla="*/ 2147483647 h 154"/>
              <a:gd name="T12" fmla="*/ 2147483647 w 195"/>
              <a:gd name="T13" fmla="*/ 2147483647 h 154"/>
              <a:gd name="T14" fmla="*/ 2147483647 w 195"/>
              <a:gd name="T15" fmla="*/ 2147483647 h 154"/>
              <a:gd name="T16" fmla="*/ 2147483647 w 195"/>
              <a:gd name="T17" fmla="*/ 2147483647 h 154"/>
              <a:gd name="T18" fmla="*/ 2147483647 w 195"/>
              <a:gd name="T19" fmla="*/ 2147483647 h 154"/>
              <a:gd name="T20" fmla="*/ 2147483647 w 195"/>
              <a:gd name="T21" fmla="*/ 2147483647 h 154"/>
              <a:gd name="T22" fmla="*/ 2147483647 w 195"/>
              <a:gd name="T23" fmla="*/ 2147483647 h 154"/>
              <a:gd name="T24" fmla="*/ 2147483647 w 195"/>
              <a:gd name="T25" fmla="*/ 2147483647 h 154"/>
              <a:gd name="T26" fmla="*/ 0 w 195"/>
              <a:gd name="T27" fmla="*/ 2147483647 h 1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5"/>
              <a:gd name="T43" fmla="*/ 0 h 154"/>
              <a:gd name="T44" fmla="*/ 195 w 195"/>
              <a:gd name="T45" fmla="*/ 154 h 1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5" h="154">
                <a:moveTo>
                  <a:pt x="0" y="118"/>
                </a:moveTo>
                <a:lnTo>
                  <a:pt x="13" y="34"/>
                </a:lnTo>
                <a:lnTo>
                  <a:pt x="33" y="1"/>
                </a:lnTo>
                <a:lnTo>
                  <a:pt x="109" y="16"/>
                </a:lnTo>
                <a:lnTo>
                  <a:pt x="172" y="0"/>
                </a:lnTo>
                <a:lnTo>
                  <a:pt x="187" y="21"/>
                </a:lnTo>
                <a:lnTo>
                  <a:pt x="194" y="36"/>
                </a:lnTo>
                <a:lnTo>
                  <a:pt x="176" y="45"/>
                </a:lnTo>
                <a:lnTo>
                  <a:pt x="142" y="116"/>
                </a:lnTo>
                <a:lnTo>
                  <a:pt x="112" y="110"/>
                </a:lnTo>
                <a:lnTo>
                  <a:pt x="93" y="144"/>
                </a:lnTo>
                <a:lnTo>
                  <a:pt x="57" y="153"/>
                </a:lnTo>
                <a:lnTo>
                  <a:pt x="33" y="123"/>
                </a:lnTo>
                <a:lnTo>
                  <a:pt x="0" y="11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7" name="Freeform 149"/>
          <p:cNvSpPr>
            <a:spLocks/>
          </p:cNvSpPr>
          <p:nvPr/>
        </p:nvSpPr>
        <p:spPr bwMode="auto">
          <a:xfrm>
            <a:off x="4356100" y="2452688"/>
            <a:ext cx="600075" cy="479425"/>
          </a:xfrm>
          <a:custGeom>
            <a:avLst/>
            <a:gdLst>
              <a:gd name="T0" fmla="*/ 0 w 435"/>
              <a:gd name="T1" fmla="*/ 2147483647 h 328"/>
              <a:gd name="T2" fmla="*/ 2147483647 w 435"/>
              <a:gd name="T3" fmla="*/ 2147483647 h 328"/>
              <a:gd name="T4" fmla="*/ 2147483647 w 435"/>
              <a:gd name="T5" fmla="*/ 2147483647 h 328"/>
              <a:gd name="T6" fmla="*/ 2147483647 w 435"/>
              <a:gd name="T7" fmla="*/ 2147483647 h 328"/>
              <a:gd name="T8" fmla="*/ 2147483647 w 435"/>
              <a:gd name="T9" fmla="*/ 2147483647 h 328"/>
              <a:gd name="T10" fmla="*/ 2147483647 w 435"/>
              <a:gd name="T11" fmla="*/ 2147483647 h 328"/>
              <a:gd name="T12" fmla="*/ 2147483647 w 435"/>
              <a:gd name="T13" fmla="*/ 2147483647 h 328"/>
              <a:gd name="T14" fmla="*/ 2147483647 w 435"/>
              <a:gd name="T15" fmla="*/ 2147483647 h 328"/>
              <a:gd name="T16" fmla="*/ 2147483647 w 435"/>
              <a:gd name="T17" fmla="*/ 2147483647 h 328"/>
              <a:gd name="T18" fmla="*/ 2147483647 w 435"/>
              <a:gd name="T19" fmla="*/ 2147483647 h 328"/>
              <a:gd name="T20" fmla="*/ 2147483647 w 435"/>
              <a:gd name="T21" fmla="*/ 2147483647 h 328"/>
              <a:gd name="T22" fmla="*/ 2147483647 w 435"/>
              <a:gd name="T23" fmla="*/ 2147483647 h 328"/>
              <a:gd name="T24" fmla="*/ 2147483647 w 435"/>
              <a:gd name="T25" fmla="*/ 2147483647 h 328"/>
              <a:gd name="T26" fmla="*/ 2147483647 w 435"/>
              <a:gd name="T27" fmla="*/ 2147483647 h 328"/>
              <a:gd name="T28" fmla="*/ 2147483647 w 435"/>
              <a:gd name="T29" fmla="*/ 2147483647 h 328"/>
              <a:gd name="T30" fmla="*/ 2147483647 w 435"/>
              <a:gd name="T31" fmla="*/ 2147483647 h 328"/>
              <a:gd name="T32" fmla="*/ 2147483647 w 435"/>
              <a:gd name="T33" fmla="*/ 2147483647 h 328"/>
              <a:gd name="T34" fmla="*/ 2147483647 w 435"/>
              <a:gd name="T35" fmla="*/ 2147483647 h 328"/>
              <a:gd name="T36" fmla="*/ 2147483647 w 435"/>
              <a:gd name="T37" fmla="*/ 2147483647 h 328"/>
              <a:gd name="T38" fmla="*/ 2147483647 w 435"/>
              <a:gd name="T39" fmla="*/ 2147483647 h 328"/>
              <a:gd name="T40" fmla="*/ 2147483647 w 435"/>
              <a:gd name="T41" fmla="*/ 2147483647 h 328"/>
              <a:gd name="T42" fmla="*/ 2147483647 w 435"/>
              <a:gd name="T43" fmla="*/ 2147483647 h 328"/>
              <a:gd name="T44" fmla="*/ 2147483647 w 435"/>
              <a:gd name="T45" fmla="*/ 2147483647 h 328"/>
              <a:gd name="T46" fmla="*/ 2147483647 w 435"/>
              <a:gd name="T47" fmla="*/ 2147483647 h 328"/>
              <a:gd name="T48" fmla="*/ 2147483647 w 435"/>
              <a:gd name="T49" fmla="*/ 2147483647 h 328"/>
              <a:gd name="T50" fmla="*/ 2147483647 w 435"/>
              <a:gd name="T51" fmla="*/ 2147483647 h 328"/>
              <a:gd name="T52" fmla="*/ 2147483647 w 435"/>
              <a:gd name="T53" fmla="*/ 2147483647 h 328"/>
              <a:gd name="T54" fmla="*/ 2147483647 w 435"/>
              <a:gd name="T55" fmla="*/ 2147483647 h 328"/>
              <a:gd name="T56" fmla="*/ 2147483647 w 435"/>
              <a:gd name="T57" fmla="*/ 2147483647 h 328"/>
              <a:gd name="T58" fmla="*/ 2147483647 w 435"/>
              <a:gd name="T59" fmla="*/ 2147483647 h 328"/>
              <a:gd name="T60" fmla="*/ 2147483647 w 435"/>
              <a:gd name="T61" fmla="*/ 2147483647 h 328"/>
              <a:gd name="T62" fmla="*/ 2147483647 w 435"/>
              <a:gd name="T63" fmla="*/ 2147483647 h 328"/>
              <a:gd name="T64" fmla="*/ 2147483647 w 435"/>
              <a:gd name="T65" fmla="*/ 2147483647 h 328"/>
              <a:gd name="T66" fmla="*/ 2147483647 w 435"/>
              <a:gd name="T67" fmla="*/ 2147483647 h 328"/>
              <a:gd name="T68" fmla="*/ 2147483647 w 435"/>
              <a:gd name="T69" fmla="*/ 2147483647 h 328"/>
              <a:gd name="T70" fmla="*/ 2147483647 w 435"/>
              <a:gd name="T71" fmla="*/ 2147483647 h 328"/>
              <a:gd name="T72" fmla="*/ 2147483647 w 435"/>
              <a:gd name="T73" fmla="*/ 2147483647 h 328"/>
              <a:gd name="T74" fmla="*/ 2147483647 w 435"/>
              <a:gd name="T75" fmla="*/ 2147483647 h 328"/>
              <a:gd name="T76" fmla="*/ 2147483647 w 435"/>
              <a:gd name="T77" fmla="*/ 2147483647 h 328"/>
              <a:gd name="T78" fmla="*/ 2147483647 w 435"/>
              <a:gd name="T79" fmla="*/ 2147483647 h 328"/>
              <a:gd name="T80" fmla="*/ 0 w 435"/>
              <a:gd name="T81" fmla="*/ 2147483647 h 3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5"/>
              <a:gd name="T124" fmla="*/ 0 h 328"/>
              <a:gd name="T125" fmla="*/ 435 w 435"/>
              <a:gd name="T126" fmla="*/ 328 h 3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5" h="328">
                <a:moveTo>
                  <a:pt x="0" y="244"/>
                </a:moveTo>
                <a:lnTo>
                  <a:pt x="0" y="259"/>
                </a:lnTo>
                <a:lnTo>
                  <a:pt x="41" y="249"/>
                </a:lnTo>
                <a:lnTo>
                  <a:pt x="43" y="255"/>
                </a:lnTo>
                <a:lnTo>
                  <a:pt x="0" y="264"/>
                </a:lnTo>
                <a:lnTo>
                  <a:pt x="11" y="270"/>
                </a:lnTo>
                <a:lnTo>
                  <a:pt x="7" y="286"/>
                </a:lnTo>
                <a:lnTo>
                  <a:pt x="33" y="273"/>
                </a:lnTo>
                <a:lnTo>
                  <a:pt x="4" y="298"/>
                </a:lnTo>
                <a:lnTo>
                  <a:pt x="22" y="297"/>
                </a:lnTo>
                <a:lnTo>
                  <a:pt x="11" y="319"/>
                </a:lnTo>
                <a:lnTo>
                  <a:pt x="52" y="327"/>
                </a:lnTo>
                <a:lnTo>
                  <a:pt x="86" y="307"/>
                </a:lnTo>
                <a:lnTo>
                  <a:pt x="92" y="289"/>
                </a:lnTo>
                <a:lnTo>
                  <a:pt x="102" y="307"/>
                </a:lnTo>
                <a:lnTo>
                  <a:pt x="122" y="283"/>
                </a:lnTo>
                <a:lnTo>
                  <a:pt x="118" y="262"/>
                </a:lnTo>
                <a:lnTo>
                  <a:pt x="127" y="253"/>
                </a:lnTo>
                <a:lnTo>
                  <a:pt x="118" y="244"/>
                </a:lnTo>
                <a:lnTo>
                  <a:pt x="118" y="197"/>
                </a:lnTo>
                <a:lnTo>
                  <a:pt x="150" y="184"/>
                </a:lnTo>
                <a:lnTo>
                  <a:pt x="145" y="172"/>
                </a:lnTo>
                <a:lnTo>
                  <a:pt x="158" y="136"/>
                </a:lnTo>
                <a:lnTo>
                  <a:pt x="189" y="110"/>
                </a:lnTo>
                <a:lnTo>
                  <a:pt x="194" y="88"/>
                </a:lnTo>
                <a:lnTo>
                  <a:pt x="213" y="86"/>
                </a:lnTo>
                <a:lnTo>
                  <a:pt x="222" y="71"/>
                </a:lnTo>
                <a:lnTo>
                  <a:pt x="250" y="73"/>
                </a:lnTo>
                <a:lnTo>
                  <a:pt x="252" y="57"/>
                </a:lnTo>
                <a:lnTo>
                  <a:pt x="260" y="56"/>
                </a:lnTo>
                <a:lnTo>
                  <a:pt x="271" y="49"/>
                </a:lnTo>
                <a:lnTo>
                  <a:pt x="292" y="64"/>
                </a:lnTo>
                <a:lnTo>
                  <a:pt x="326" y="66"/>
                </a:lnTo>
                <a:lnTo>
                  <a:pt x="346" y="58"/>
                </a:lnTo>
                <a:lnTo>
                  <a:pt x="351" y="36"/>
                </a:lnTo>
                <a:lnTo>
                  <a:pt x="385" y="28"/>
                </a:lnTo>
                <a:lnTo>
                  <a:pt x="404" y="38"/>
                </a:lnTo>
                <a:lnTo>
                  <a:pt x="402" y="56"/>
                </a:lnTo>
                <a:lnTo>
                  <a:pt x="432" y="36"/>
                </a:lnTo>
                <a:lnTo>
                  <a:pt x="411" y="39"/>
                </a:lnTo>
                <a:lnTo>
                  <a:pt x="417" y="34"/>
                </a:lnTo>
                <a:lnTo>
                  <a:pt x="396" y="27"/>
                </a:lnTo>
                <a:lnTo>
                  <a:pt x="434" y="17"/>
                </a:lnTo>
                <a:lnTo>
                  <a:pt x="404" y="6"/>
                </a:lnTo>
                <a:lnTo>
                  <a:pt x="383" y="16"/>
                </a:lnTo>
                <a:lnTo>
                  <a:pt x="392" y="2"/>
                </a:lnTo>
                <a:lnTo>
                  <a:pt x="377" y="0"/>
                </a:lnTo>
                <a:lnTo>
                  <a:pt x="367" y="16"/>
                </a:lnTo>
                <a:lnTo>
                  <a:pt x="361" y="20"/>
                </a:lnTo>
                <a:lnTo>
                  <a:pt x="361" y="3"/>
                </a:lnTo>
                <a:lnTo>
                  <a:pt x="333" y="28"/>
                </a:lnTo>
                <a:lnTo>
                  <a:pt x="348" y="6"/>
                </a:lnTo>
                <a:lnTo>
                  <a:pt x="334" y="2"/>
                </a:lnTo>
                <a:lnTo>
                  <a:pt x="305" y="31"/>
                </a:lnTo>
                <a:lnTo>
                  <a:pt x="277" y="22"/>
                </a:lnTo>
                <a:lnTo>
                  <a:pt x="284" y="38"/>
                </a:lnTo>
                <a:lnTo>
                  <a:pt x="271" y="29"/>
                </a:lnTo>
                <a:lnTo>
                  <a:pt x="252" y="50"/>
                </a:lnTo>
                <a:lnTo>
                  <a:pt x="255" y="31"/>
                </a:lnTo>
                <a:lnTo>
                  <a:pt x="244" y="45"/>
                </a:lnTo>
                <a:lnTo>
                  <a:pt x="237" y="37"/>
                </a:lnTo>
                <a:lnTo>
                  <a:pt x="242" y="51"/>
                </a:lnTo>
                <a:lnTo>
                  <a:pt x="221" y="44"/>
                </a:lnTo>
                <a:lnTo>
                  <a:pt x="212" y="65"/>
                </a:lnTo>
                <a:lnTo>
                  <a:pt x="191" y="71"/>
                </a:lnTo>
                <a:lnTo>
                  <a:pt x="210" y="73"/>
                </a:lnTo>
                <a:lnTo>
                  <a:pt x="176" y="83"/>
                </a:lnTo>
                <a:lnTo>
                  <a:pt x="170" y="95"/>
                </a:lnTo>
                <a:lnTo>
                  <a:pt x="180" y="95"/>
                </a:lnTo>
                <a:lnTo>
                  <a:pt x="139" y="119"/>
                </a:lnTo>
                <a:lnTo>
                  <a:pt x="123" y="158"/>
                </a:lnTo>
                <a:lnTo>
                  <a:pt x="79" y="191"/>
                </a:lnTo>
                <a:lnTo>
                  <a:pt x="86" y="199"/>
                </a:lnTo>
                <a:lnTo>
                  <a:pt x="105" y="192"/>
                </a:lnTo>
                <a:lnTo>
                  <a:pt x="59" y="202"/>
                </a:lnTo>
                <a:lnTo>
                  <a:pt x="33" y="216"/>
                </a:lnTo>
                <a:lnTo>
                  <a:pt x="41" y="224"/>
                </a:lnTo>
                <a:lnTo>
                  <a:pt x="22" y="225"/>
                </a:lnTo>
                <a:lnTo>
                  <a:pt x="26" y="234"/>
                </a:lnTo>
                <a:lnTo>
                  <a:pt x="1" y="234"/>
                </a:lnTo>
                <a:lnTo>
                  <a:pt x="22" y="240"/>
                </a:lnTo>
                <a:lnTo>
                  <a:pt x="0" y="24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8" name="Freeform 150"/>
          <p:cNvSpPr>
            <a:spLocks/>
          </p:cNvSpPr>
          <p:nvPr/>
        </p:nvSpPr>
        <p:spPr bwMode="auto">
          <a:xfrm>
            <a:off x="5646738" y="3556000"/>
            <a:ext cx="390525" cy="333375"/>
          </a:xfrm>
          <a:custGeom>
            <a:avLst/>
            <a:gdLst>
              <a:gd name="T0" fmla="*/ 0 w 283"/>
              <a:gd name="T1" fmla="*/ 2147483647 h 228"/>
              <a:gd name="T2" fmla="*/ 2147483647 w 283"/>
              <a:gd name="T3" fmla="*/ 2147483647 h 228"/>
              <a:gd name="T4" fmla="*/ 2147483647 w 283"/>
              <a:gd name="T5" fmla="*/ 2147483647 h 228"/>
              <a:gd name="T6" fmla="*/ 2147483647 w 283"/>
              <a:gd name="T7" fmla="*/ 2147483647 h 228"/>
              <a:gd name="T8" fmla="*/ 2147483647 w 283"/>
              <a:gd name="T9" fmla="*/ 2147483647 h 228"/>
              <a:gd name="T10" fmla="*/ 2147483647 w 283"/>
              <a:gd name="T11" fmla="*/ 2147483647 h 228"/>
              <a:gd name="T12" fmla="*/ 2147483647 w 283"/>
              <a:gd name="T13" fmla="*/ 2147483647 h 228"/>
              <a:gd name="T14" fmla="*/ 2147483647 w 283"/>
              <a:gd name="T15" fmla="*/ 2147483647 h 228"/>
              <a:gd name="T16" fmla="*/ 2147483647 w 283"/>
              <a:gd name="T17" fmla="*/ 2147483647 h 228"/>
              <a:gd name="T18" fmla="*/ 2147483647 w 283"/>
              <a:gd name="T19" fmla="*/ 2147483647 h 228"/>
              <a:gd name="T20" fmla="*/ 2147483647 w 283"/>
              <a:gd name="T21" fmla="*/ 2147483647 h 228"/>
              <a:gd name="T22" fmla="*/ 2147483647 w 283"/>
              <a:gd name="T23" fmla="*/ 0 h 228"/>
              <a:gd name="T24" fmla="*/ 2147483647 w 283"/>
              <a:gd name="T25" fmla="*/ 2147483647 h 228"/>
              <a:gd name="T26" fmla="*/ 2147483647 w 283"/>
              <a:gd name="T27" fmla="*/ 2147483647 h 228"/>
              <a:gd name="T28" fmla="*/ 2147483647 w 283"/>
              <a:gd name="T29" fmla="*/ 2147483647 h 228"/>
              <a:gd name="T30" fmla="*/ 2147483647 w 283"/>
              <a:gd name="T31" fmla="*/ 2147483647 h 228"/>
              <a:gd name="T32" fmla="*/ 2147483647 w 283"/>
              <a:gd name="T33" fmla="*/ 2147483647 h 228"/>
              <a:gd name="T34" fmla="*/ 2147483647 w 283"/>
              <a:gd name="T35" fmla="*/ 2147483647 h 228"/>
              <a:gd name="T36" fmla="*/ 2147483647 w 283"/>
              <a:gd name="T37" fmla="*/ 2147483647 h 228"/>
              <a:gd name="T38" fmla="*/ 2147483647 w 283"/>
              <a:gd name="T39" fmla="*/ 2147483647 h 228"/>
              <a:gd name="T40" fmla="*/ 2147483647 w 283"/>
              <a:gd name="T41" fmla="*/ 2147483647 h 228"/>
              <a:gd name="T42" fmla="*/ 2147483647 w 283"/>
              <a:gd name="T43" fmla="*/ 2147483647 h 228"/>
              <a:gd name="T44" fmla="*/ 2147483647 w 283"/>
              <a:gd name="T45" fmla="*/ 2147483647 h 228"/>
              <a:gd name="T46" fmla="*/ 2147483647 w 283"/>
              <a:gd name="T47" fmla="*/ 2147483647 h 228"/>
              <a:gd name="T48" fmla="*/ 2147483647 w 283"/>
              <a:gd name="T49" fmla="*/ 2147483647 h 228"/>
              <a:gd name="T50" fmla="*/ 2147483647 w 283"/>
              <a:gd name="T51" fmla="*/ 2147483647 h 228"/>
              <a:gd name="T52" fmla="*/ 2147483647 w 283"/>
              <a:gd name="T53" fmla="*/ 2147483647 h 228"/>
              <a:gd name="T54" fmla="*/ 2147483647 w 283"/>
              <a:gd name="T55" fmla="*/ 2147483647 h 228"/>
              <a:gd name="T56" fmla="*/ 0 w 283"/>
              <a:gd name="T57" fmla="*/ 2147483647 h 2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83"/>
              <a:gd name="T88" fmla="*/ 0 h 228"/>
              <a:gd name="T89" fmla="*/ 283 w 283"/>
              <a:gd name="T90" fmla="*/ 228 h 2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83" h="228">
                <a:moveTo>
                  <a:pt x="0" y="124"/>
                </a:moveTo>
                <a:lnTo>
                  <a:pt x="26" y="132"/>
                </a:lnTo>
                <a:lnTo>
                  <a:pt x="89" y="124"/>
                </a:lnTo>
                <a:lnTo>
                  <a:pt x="100" y="100"/>
                </a:lnTo>
                <a:lnTo>
                  <a:pt x="141" y="89"/>
                </a:lnTo>
                <a:lnTo>
                  <a:pt x="146" y="68"/>
                </a:lnTo>
                <a:lnTo>
                  <a:pt x="160" y="64"/>
                </a:lnTo>
                <a:lnTo>
                  <a:pt x="152" y="52"/>
                </a:lnTo>
                <a:lnTo>
                  <a:pt x="169" y="51"/>
                </a:lnTo>
                <a:lnTo>
                  <a:pt x="181" y="32"/>
                </a:lnTo>
                <a:lnTo>
                  <a:pt x="176" y="14"/>
                </a:lnTo>
                <a:lnTo>
                  <a:pt x="231" y="0"/>
                </a:lnTo>
                <a:lnTo>
                  <a:pt x="282" y="25"/>
                </a:lnTo>
                <a:lnTo>
                  <a:pt x="268" y="39"/>
                </a:lnTo>
                <a:lnTo>
                  <a:pt x="219" y="39"/>
                </a:lnTo>
                <a:lnTo>
                  <a:pt x="220" y="65"/>
                </a:lnTo>
                <a:lnTo>
                  <a:pt x="242" y="82"/>
                </a:lnTo>
                <a:lnTo>
                  <a:pt x="230" y="91"/>
                </a:lnTo>
                <a:lnTo>
                  <a:pt x="234" y="104"/>
                </a:lnTo>
                <a:lnTo>
                  <a:pt x="183" y="158"/>
                </a:lnTo>
                <a:lnTo>
                  <a:pt x="161" y="156"/>
                </a:lnTo>
                <a:lnTo>
                  <a:pt x="146" y="169"/>
                </a:lnTo>
                <a:lnTo>
                  <a:pt x="171" y="217"/>
                </a:lnTo>
                <a:lnTo>
                  <a:pt x="134" y="217"/>
                </a:lnTo>
                <a:lnTo>
                  <a:pt x="120" y="227"/>
                </a:lnTo>
                <a:lnTo>
                  <a:pt x="92" y="199"/>
                </a:lnTo>
                <a:lnTo>
                  <a:pt x="12" y="203"/>
                </a:lnTo>
                <a:lnTo>
                  <a:pt x="40" y="170"/>
                </a:lnTo>
                <a:lnTo>
                  <a:pt x="0" y="12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59" name="Freeform 151"/>
          <p:cNvSpPr>
            <a:spLocks/>
          </p:cNvSpPr>
          <p:nvPr/>
        </p:nvSpPr>
        <p:spPr bwMode="auto">
          <a:xfrm>
            <a:off x="2319338" y="4222750"/>
            <a:ext cx="131762" cy="55563"/>
          </a:xfrm>
          <a:custGeom>
            <a:avLst/>
            <a:gdLst>
              <a:gd name="T0" fmla="*/ 0 w 95"/>
              <a:gd name="T1" fmla="*/ 2147483647 h 38"/>
              <a:gd name="T2" fmla="*/ 2147483647 w 95"/>
              <a:gd name="T3" fmla="*/ 0 h 38"/>
              <a:gd name="T4" fmla="*/ 2147483647 w 95"/>
              <a:gd name="T5" fmla="*/ 2147483647 h 38"/>
              <a:gd name="T6" fmla="*/ 2147483647 w 95"/>
              <a:gd name="T7" fmla="*/ 0 h 38"/>
              <a:gd name="T8" fmla="*/ 2147483647 w 95"/>
              <a:gd name="T9" fmla="*/ 2147483647 h 38"/>
              <a:gd name="T10" fmla="*/ 2147483647 w 95"/>
              <a:gd name="T11" fmla="*/ 2147483647 h 38"/>
              <a:gd name="T12" fmla="*/ 2147483647 w 95"/>
              <a:gd name="T13" fmla="*/ 2147483647 h 38"/>
              <a:gd name="T14" fmla="*/ 2147483647 w 95"/>
              <a:gd name="T15" fmla="*/ 2147483647 h 38"/>
              <a:gd name="T16" fmla="*/ 2147483647 w 95"/>
              <a:gd name="T17" fmla="*/ 2147483647 h 38"/>
              <a:gd name="T18" fmla="*/ 2147483647 w 95"/>
              <a:gd name="T19" fmla="*/ 2147483647 h 38"/>
              <a:gd name="T20" fmla="*/ 2147483647 w 95"/>
              <a:gd name="T21" fmla="*/ 2147483647 h 38"/>
              <a:gd name="T22" fmla="*/ 0 w 95"/>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5"/>
              <a:gd name="T37" fmla="*/ 0 h 38"/>
              <a:gd name="T38" fmla="*/ 95 w 95"/>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5" h="38">
                <a:moveTo>
                  <a:pt x="0" y="21"/>
                </a:moveTo>
                <a:lnTo>
                  <a:pt x="7" y="0"/>
                </a:lnTo>
                <a:lnTo>
                  <a:pt x="27" y="13"/>
                </a:lnTo>
                <a:lnTo>
                  <a:pt x="63" y="0"/>
                </a:lnTo>
                <a:lnTo>
                  <a:pt x="94" y="15"/>
                </a:lnTo>
                <a:lnTo>
                  <a:pt x="85" y="37"/>
                </a:lnTo>
                <a:lnTo>
                  <a:pt x="82" y="19"/>
                </a:lnTo>
                <a:lnTo>
                  <a:pt x="63" y="10"/>
                </a:lnTo>
                <a:lnTo>
                  <a:pt x="42" y="22"/>
                </a:lnTo>
                <a:lnTo>
                  <a:pt x="48" y="32"/>
                </a:lnTo>
                <a:lnTo>
                  <a:pt x="38" y="37"/>
                </a:lnTo>
                <a:lnTo>
                  <a:pt x="0" y="2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0" name="Freeform 152"/>
          <p:cNvSpPr>
            <a:spLocks/>
          </p:cNvSpPr>
          <p:nvPr/>
        </p:nvSpPr>
        <p:spPr bwMode="auto">
          <a:xfrm>
            <a:off x="7502525" y="4503738"/>
            <a:ext cx="233363" cy="177800"/>
          </a:xfrm>
          <a:custGeom>
            <a:avLst/>
            <a:gdLst>
              <a:gd name="T0" fmla="*/ 0 w 169"/>
              <a:gd name="T1" fmla="*/ 0 h 122"/>
              <a:gd name="T2" fmla="*/ 2147483647 w 169"/>
              <a:gd name="T3" fmla="*/ 2147483647 h 122"/>
              <a:gd name="T4" fmla="*/ 2147483647 w 169"/>
              <a:gd name="T5" fmla="*/ 2147483647 h 122"/>
              <a:gd name="T6" fmla="*/ 2147483647 w 169"/>
              <a:gd name="T7" fmla="*/ 2147483647 h 122"/>
              <a:gd name="T8" fmla="*/ 2147483647 w 169"/>
              <a:gd name="T9" fmla="*/ 2147483647 h 122"/>
              <a:gd name="T10" fmla="*/ 2147483647 w 169"/>
              <a:gd name="T11" fmla="*/ 2147483647 h 122"/>
              <a:gd name="T12" fmla="*/ 2147483647 w 169"/>
              <a:gd name="T13" fmla="*/ 2147483647 h 122"/>
              <a:gd name="T14" fmla="*/ 2147483647 w 169"/>
              <a:gd name="T15" fmla="*/ 2147483647 h 122"/>
              <a:gd name="T16" fmla="*/ 2147483647 w 169"/>
              <a:gd name="T17" fmla="*/ 2147483647 h 122"/>
              <a:gd name="T18" fmla="*/ 2147483647 w 169"/>
              <a:gd name="T19" fmla="*/ 2147483647 h 122"/>
              <a:gd name="T20" fmla="*/ 2147483647 w 169"/>
              <a:gd name="T21" fmla="*/ 2147483647 h 122"/>
              <a:gd name="T22" fmla="*/ 0 w 169"/>
              <a:gd name="T23" fmla="*/ 0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9"/>
              <a:gd name="T37" fmla="*/ 0 h 122"/>
              <a:gd name="T38" fmla="*/ 169 w 169"/>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9" h="122">
                <a:moveTo>
                  <a:pt x="0" y="0"/>
                </a:moveTo>
                <a:lnTo>
                  <a:pt x="5" y="104"/>
                </a:lnTo>
                <a:lnTo>
                  <a:pt x="31" y="105"/>
                </a:lnTo>
                <a:lnTo>
                  <a:pt x="58" y="77"/>
                </a:lnTo>
                <a:lnTo>
                  <a:pt x="88" y="90"/>
                </a:lnTo>
                <a:lnTo>
                  <a:pt x="115" y="118"/>
                </a:lnTo>
                <a:lnTo>
                  <a:pt x="168" y="121"/>
                </a:lnTo>
                <a:lnTo>
                  <a:pt x="107" y="76"/>
                </a:lnTo>
                <a:lnTo>
                  <a:pt x="111" y="54"/>
                </a:lnTo>
                <a:lnTo>
                  <a:pt x="83" y="45"/>
                </a:lnTo>
                <a:lnTo>
                  <a:pt x="58" y="19"/>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1" name="Freeform 153"/>
          <p:cNvSpPr>
            <a:spLocks/>
          </p:cNvSpPr>
          <p:nvPr/>
        </p:nvSpPr>
        <p:spPr bwMode="auto">
          <a:xfrm>
            <a:off x="7673975" y="4541838"/>
            <a:ext cx="92075" cy="47625"/>
          </a:xfrm>
          <a:custGeom>
            <a:avLst/>
            <a:gdLst>
              <a:gd name="T0" fmla="*/ 0 w 67"/>
              <a:gd name="T1" fmla="*/ 2147483647 h 32"/>
              <a:gd name="T2" fmla="*/ 2147483647 w 67"/>
              <a:gd name="T3" fmla="*/ 2147483647 h 32"/>
              <a:gd name="T4" fmla="*/ 2147483647 w 67"/>
              <a:gd name="T5" fmla="*/ 2147483647 h 32"/>
              <a:gd name="T6" fmla="*/ 2147483647 w 67"/>
              <a:gd name="T7" fmla="*/ 0 h 32"/>
              <a:gd name="T8" fmla="*/ 2147483647 w 67"/>
              <a:gd name="T9" fmla="*/ 2147483647 h 32"/>
              <a:gd name="T10" fmla="*/ 0 w 67"/>
              <a:gd name="T11" fmla="*/ 2147483647 h 32"/>
              <a:gd name="T12" fmla="*/ 0 60000 65536"/>
              <a:gd name="T13" fmla="*/ 0 60000 65536"/>
              <a:gd name="T14" fmla="*/ 0 60000 65536"/>
              <a:gd name="T15" fmla="*/ 0 60000 65536"/>
              <a:gd name="T16" fmla="*/ 0 60000 65536"/>
              <a:gd name="T17" fmla="*/ 0 60000 65536"/>
              <a:gd name="T18" fmla="*/ 0 w 67"/>
              <a:gd name="T19" fmla="*/ 0 h 32"/>
              <a:gd name="T20" fmla="*/ 67 w 67"/>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7" h="32">
                <a:moveTo>
                  <a:pt x="0" y="20"/>
                </a:moveTo>
                <a:lnTo>
                  <a:pt x="40" y="31"/>
                </a:lnTo>
                <a:lnTo>
                  <a:pt x="66" y="9"/>
                </a:lnTo>
                <a:lnTo>
                  <a:pt x="56" y="0"/>
                </a:lnTo>
                <a:lnTo>
                  <a:pt x="48" y="11"/>
                </a:lnTo>
                <a:lnTo>
                  <a:pt x="0" y="2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2" name="Freeform 154"/>
          <p:cNvSpPr>
            <a:spLocks/>
          </p:cNvSpPr>
          <p:nvPr/>
        </p:nvSpPr>
        <p:spPr bwMode="auto">
          <a:xfrm>
            <a:off x="7729538" y="4506913"/>
            <a:ext cx="52387" cy="49212"/>
          </a:xfrm>
          <a:custGeom>
            <a:avLst/>
            <a:gdLst>
              <a:gd name="T0" fmla="*/ 0 w 38"/>
              <a:gd name="T1" fmla="*/ 0 h 34"/>
              <a:gd name="T2" fmla="*/ 2147483647 w 38"/>
              <a:gd name="T3" fmla="*/ 2147483647 h 34"/>
              <a:gd name="T4" fmla="*/ 2147483647 w 38"/>
              <a:gd name="T5" fmla="*/ 2147483647 h 34"/>
              <a:gd name="T6" fmla="*/ 2147483647 w 38"/>
              <a:gd name="T7" fmla="*/ 2147483647 h 34"/>
              <a:gd name="T8" fmla="*/ 0 w 38"/>
              <a:gd name="T9" fmla="*/ 0 h 34"/>
              <a:gd name="T10" fmla="*/ 0 60000 65536"/>
              <a:gd name="T11" fmla="*/ 0 60000 65536"/>
              <a:gd name="T12" fmla="*/ 0 60000 65536"/>
              <a:gd name="T13" fmla="*/ 0 60000 65536"/>
              <a:gd name="T14" fmla="*/ 0 60000 65536"/>
              <a:gd name="T15" fmla="*/ 0 w 38"/>
              <a:gd name="T16" fmla="*/ 0 h 34"/>
              <a:gd name="T17" fmla="*/ 38 w 38"/>
              <a:gd name="T18" fmla="*/ 34 h 34"/>
            </a:gdLst>
            <a:ahLst/>
            <a:cxnLst>
              <a:cxn ang="T10">
                <a:pos x="T0" y="T1"/>
              </a:cxn>
              <a:cxn ang="T11">
                <a:pos x="T2" y="T3"/>
              </a:cxn>
              <a:cxn ang="T12">
                <a:pos x="T4" y="T5"/>
              </a:cxn>
              <a:cxn ang="T13">
                <a:pos x="T6" y="T7"/>
              </a:cxn>
              <a:cxn ang="T14">
                <a:pos x="T8" y="T9"/>
              </a:cxn>
            </a:cxnLst>
            <a:rect l="T15" t="T16" r="T17" b="T18"/>
            <a:pathLst>
              <a:path w="38" h="34">
                <a:moveTo>
                  <a:pt x="0" y="0"/>
                </a:moveTo>
                <a:lnTo>
                  <a:pt x="26" y="14"/>
                </a:lnTo>
                <a:lnTo>
                  <a:pt x="37" y="33"/>
                </a:lnTo>
                <a:lnTo>
                  <a:pt x="36" y="19"/>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3" name="Freeform 155"/>
          <p:cNvSpPr>
            <a:spLocks/>
          </p:cNvSpPr>
          <p:nvPr/>
        </p:nvSpPr>
        <p:spPr bwMode="auto">
          <a:xfrm>
            <a:off x="2787650" y="4892675"/>
            <a:ext cx="196850" cy="196850"/>
          </a:xfrm>
          <a:custGeom>
            <a:avLst/>
            <a:gdLst>
              <a:gd name="T0" fmla="*/ 0 w 142"/>
              <a:gd name="T1" fmla="*/ 2147483647 h 134"/>
              <a:gd name="T2" fmla="*/ 2147483647 w 142"/>
              <a:gd name="T3" fmla="*/ 2147483647 h 134"/>
              <a:gd name="T4" fmla="*/ 2147483647 w 142"/>
              <a:gd name="T5" fmla="*/ 0 h 134"/>
              <a:gd name="T6" fmla="*/ 2147483647 w 142"/>
              <a:gd name="T7" fmla="*/ 2147483647 h 134"/>
              <a:gd name="T8" fmla="*/ 2147483647 w 142"/>
              <a:gd name="T9" fmla="*/ 2147483647 h 134"/>
              <a:gd name="T10" fmla="*/ 2147483647 w 142"/>
              <a:gd name="T11" fmla="*/ 2147483647 h 134"/>
              <a:gd name="T12" fmla="*/ 2147483647 w 142"/>
              <a:gd name="T13" fmla="*/ 2147483647 h 134"/>
              <a:gd name="T14" fmla="*/ 2147483647 w 142"/>
              <a:gd name="T15" fmla="*/ 2147483647 h 134"/>
              <a:gd name="T16" fmla="*/ 2147483647 w 142"/>
              <a:gd name="T17" fmla="*/ 2147483647 h 134"/>
              <a:gd name="T18" fmla="*/ 2147483647 w 142"/>
              <a:gd name="T19" fmla="*/ 2147483647 h 134"/>
              <a:gd name="T20" fmla="*/ 2147483647 w 142"/>
              <a:gd name="T21" fmla="*/ 2147483647 h 134"/>
              <a:gd name="T22" fmla="*/ 2147483647 w 142"/>
              <a:gd name="T23" fmla="*/ 2147483647 h 134"/>
              <a:gd name="T24" fmla="*/ 0 w 142"/>
              <a:gd name="T25" fmla="*/ 2147483647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2"/>
              <a:gd name="T40" fmla="*/ 0 h 134"/>
              <a:gd name="T41" fmla="*/ 142 w 142"/>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2" h="134">
                <a:moveTo>
                  <a:pt x="0" y="50"/>
                </a:moveTo>
                <a:lnTo>
                  <a:pt x="14" y="7"/>
                </a:lnTo>
                <a:lnTo>
                  <a:pt x="60" y="0"/>
                </a:lnTo>
                <a:lnTo>
                  <a:pt x="77" y="14"/>
                </a:lnTo>
                <a:lnTo>
                  <a:pt x="82" y="46"/>
                </a:lnTo>
                <a:lnTo>
                  <a:pt x="116" y="50"/>
                </a:lnTo>
                <a:lnTo>
                  <a:pt x="122" y="74"/>
                </a:lnTo>
                <a:lnTo>
                  <a:pt x="141" y="77"/>
                </a:lnTo>
                <a:lnTo>
                  <a:pt x="139" y="104"/>
                </a:lnTo>
                <a:lnTo>
                  <a:pt x="120" y="133"/>
                </a:lnTo>
                <a:lnTo>
                  <a:pt x="72" y="131"/>
                </a:lnTo>
                <a:lnTo>
                  <a:pt x="82" y="99"/>
                </a:lnTo>
                <a:lnTo>
                  <a:pt x="0" y="5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4" name="Freeform 156"/>
          <p:cNvSpPr>
            <a:spLocks/>
          </p:cNvSpPr>
          <p:nvPr/>
        </p:nvSpPr>
        <p:spPr bwMode="auto">
          <a:xfrm>
            <a:off x="2360613" y="4446588"/>
            <a:ext cx="288925" cy="420687"/>
          </a:xfrm>
          <a:custGeom>
            <a:avLst/>
            <a:gdLst>
              <a:gd name="T0" fmla="*/ 0 w 209"/>
              <a:gd name="T1" fmla="*/ 2147483647 h 287"/>
              <a:gd name="T2" fmla="*/ 2147483647 w 209"/>
              <a:gd name="T3" fmla="*/ 2147483647 h 287"/>
              <a:gd name="T4" fmla="*/ 2147483647 w 209"/>
              <a:gd name="T5" fmla="*/ 2147483647 h 287"/>
              <a:gd name="T6" fmla="*/ 2147483647 w 209"/>
              <a:gd name="T7" fmla="*/ 2147483647 h 287"/>
              <a:gd name="T8" fmla="*/ 2147483647 w 209"/>
              <a:gd name="T9" fmla="*/ 2147483647 h 287"/>
              <a:gd name="T10" fmla="*/ 2147483647 w 209"/>
              <a:gd name="T11" fmla="*/ 2147483647 h 287"/>
              <a:gd name="T12" fmla="*/ 2147483647 w 209"/>
              <a:gd name="T13" fmla="*/ 2147483647 h 287"/>
              <a:gd name="T14" fmla="*/ 2147483647 w 209"/>
              <a:gd name="T15" fmla="*/ 2147483647 h 287"/>
              <a:gd name="T16" fmla="*/ 2147483647 w 209"/>
              <a:gd name="T17" fmla="*/ 2147483647 h 287"/>
              <a:gd name="T18" fmla="*/ 2147483647 w 209"/>
              <a:gd name="T19" fmla="*/ 2147483647 h 287"/>
              <a:gd name="T20" fmla="*/ 2147483647 w 209"/>
              <a:gd name="T21" fmla="*/ 2147483647 h 287"/>
              <a:gd name="T22" fmla="*/ 2147483647 w 209"/>
              <a:gd name="T23" fmla="*/ 2147483647 h 287"/>
              <a:gd name="T24" fmla="*/ 2147483647 w 209"/>
              <a:gd name="T25" fmla="*/ 2147483647 h 287"/>
              <a:gd name="T26" fmla="*/ 2147483647 w 209"/>
              <a:gd name="T27" fmla="*/ 2147483647 h 287"/>
              <a:gd name="T28" fmla="*/ 2147483647 w 209"/>
              <a:gd name="T29" fmla="*/ 2147483647 h 287"/>
              <a:gd name="T30" fmla="*/ 2147483647 w 209"/>
              <a:gd name="T31" fmla="*/ 2147483647 h 287"/>
              <a:gd name="T32" fmla="*/ 2147483647 w 209"/>
              <a:gd name="T33" fmla="*/ 2147483647 h 287"/>
              <a:gd name="T34" fmla="*/ 2147483647 w 209"/>
              <a:gd name="T35" fmla="*/ 2147483647 h 287"/>
              <a:gd name="T36" fmla="*/ 2147483647 w 209"/>
              <a:gd name="T37" fmla="*/ 2147483647 h 287"/>
              <a:gd name="T38" fmla="*/ 2147483647 w 209"/>
              <a:gd name="T39" fmla="*/ 2147483647 h 287"/>
              <a:gd name="T40" fmla="*/ 2147483647 w 209"/>
              <a:gd name="T41" fmla="*/ 2147483647 h 287"/>
              <a:gd name="T42" fmla="*/ 2147483647 w 209"/>
              <a:gd name="T43" fmla="*/ 0 h 287"/>
              <a:gd name="T44" fmla="*/ 2147483647 w 209"/>
              <a:gd name="T45" fmla="*/ 2147483647 h 287"/>
              <a:gd name="T46" fmla="*/ 2147483647 w 209"/>
              <a:gd name="T47" fmla="*/ 2147483647 h 287"/>
              <a:gd name="T48" fmla="*/ 2147483647 w 209"/>
              <a:gd name="T49" fmla="*/ 2147483647 h 287"/>
              <a:gd name="T50" fmla="*/ 2147483647 w 209"/>
              <a:gd name="T51" fmla="*/ 2147483647 h 287"/>
              <a:gd name="T52" fmla="*/ 2147483647 w 209"/>
              <a:gd name="T53" fmla="*/ 2147483647 h 287"/>
              <a:gd name="T54" fmla="*/ 0 w 209"/>
              <a:gd name="T55" fmla="*/ 2147483647 h 2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287"/>
              <a:gd name="T86" fmla="*/ 209 w 209"/>
              <a:gd name="T87" fmla="*/ 287 h 2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287">
                <a:moveTo>
                  <a:pt x="0" y="69"/>
                </a:moveTo>
                <a:lnTo>
                  <a:pt x="2" y="92"/>
                </a:lnTo>
                <a:lnTo>
                  <a:pt x="39" y="129"/>
                </a:lnTo>
                <a:lnTo>
                  <a:pt x="81" y="224"/>
                </a:lnTo>
                <a:lnTo>
                  <a:pt x="178" y="286"/>
                </a:lnTo>
                <a:lnTo>
                  <a:pt x="196" y="277"/>
                </a:lnTo>
                <a:lnTo>
                  <a:pt x="202" y="253"/>
                </a:lnTo>
                <a:lnTo>
                  <a:pt x="188" y="248"/>
                </a:lnTo>
                <a:lnTo>
                  <a:pt x="199" y="243"/>
                </a:lnTo>
                <a:lnTo>
                  <a:pt x="208" y="194"/>
                </a:lnTo>
                <a:lnTo>
                  <a:pt x="193" y="170"/>
                </a:lnTo>
                <a:lnTo>
                  <a:pt x="180" y="170"/>
                </a:lnTo>
                <a:lnTo>
                  <a:pt x="180" y="144"/>
                </a:lnTo>
                <a:lnTo>
                  <a:pt x="160" y="157"/>
                </a:lnTo>
                <a:lnTo>
                  <a:pt x="138" y="145"/>
                </a:lnTo>
                <a:lnTo>
                  <a:pt x="124" y="117"/>
                </a:lnTo>
                <a:lnTo>
                  <a:pt x="146" y="79"/>
                </a:lnTo>
                <a:lnTo>
                  <a:pt x="188" y="64"/>
                </a:lnTo>
                <a:lnTo>
                  <a:pt x="177" y="58"/>
                </a:lnTo>
                <a:lnTo>
                  <a:pt x="183" y="40"/>
                </a:lnTo>
                <a:lnTo>
                  <a:pt x="137" y="36"/>
                </a:lnTo>
                <a:lnTo>
                  <a:pt x="98" y="0"/>
                </a:lnTo>
                <a:lnTo>
                  <a:pt x="91" y="26"/>
                </a:lnTo>
                <a:lnTo>
                  <a:pt x="53" y="47"/>
                </a:lnTo>
                <a:lnTo>
                  <a:pt x="36" y="74"/>
                </a:lnTo>
                <a:lnTo>
                  <a:pt x="11" y="69"/>
                </a:lnTo>
                <a:lnTo>
                  <a:pt x="15" y="53"/>
                </a:lnTo>
                <a:lnTo>
                  <a:pt x="0" y="6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5" name="Freeform 157"/>
          <p:cNvSpPr>
            <a:spLocks/>
          </p:cNvSpPr>
          <p:nvPr/>
        </p:nvSpPr>
        <p:spPr bwMode="auto">
          <a:xfrm>
            <a:off x="6951663" y="4181475"/>
            <a:ext cx="50800" cy="69850"/>
          </a:xfrm>
          <a:custGeom>
            <a:avLst/>
            <a:gdLst>
              <a:gd name="T0" fmla="*/ 0 w 37"/>
              <a:gd name="T1" fmla="*/ 2147483647 h 47"/>
              <a:gd name="T2" fmla="*/ 2147483647 w 37"/>
              <a:gd name="T3" fmla="*/ 2147483647 h 47"/>
              <a:gd name="T4" fmla="*/ 2147483647 w 37"/>
              <a:gd name="T5" fmla="*/ 0 h 47"/>
              <a:gd name="T6" fmla="*/ 0 w 37"/>
              <a:gd name="T7" fmla="*/ 2147483647 h 47"/>
              <a:gd name="T8" fmla="*/ 0 60000 65536"/>
              <a:gd name="T9" fmla="*/ 0 60000 65536"/>
              <a:gd name="T10" fmla="*/ 0 60000 65536"/>
              <a:gd name="T11" fmla="*/ 0 60000 65536"/>
              <a:gd name="T12" fmla="*/ 0 w 37"/>
              <a:gd name="T13" fmla="*/ 0 h 47"/>
              <a:gd name="T14" fmla="*/ 37 w 37"/>
              <a:gd name="T15" fmla="*/ 47 h 47"/>
            </a:gdLst>
            <a:ahLst/>
            <a:cxnLst>
              <a:cxn ang="T8">
                <a:pos x="T0" y="T1"/>
              </a:cxn>
              <a:cxn ang="T9">
                <a:pos x="T2" y="T3"/>
              </a:cxn>
              <a:cxn ang="T10">
                <a:pos x="T4" y="T5"/>
              </a:cxn>
              <a:cxn ang="T11">
                <a:pos x="T6" y="T7"/>
              </a:cxn>
            </a:cxnLst>
            <a:rect l="T12" t="T13" r="T14" b="T15"/>
            <a:pathLst>
              <a:path w="37" h="47">
                <a:moveTo>
                  <a:pt x="0" y="46"/>
                </a:moveTo>
                <a:lnTo>
                  <a:pt x="24" y="24"/>
                </a:lnTo>
                <a:lnTo>
                  <a:pt x="36" y="0"/>
                </a:lnTo>
                <a:lnTo>
                  <a:pt x="0" y="4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6" name="Freeform 158"/>
          <p:cNvSpPr>
            <a:spLocks/>
          </p:cNvSpPr>
          <p:nvPr/>
        </p:nvSpPr>
        <p:spPr bwMode="auto">
          <a:xfrm>
            <a:off x="7011988" y="4013200"/>
            <a:ext cx="98425" cy="142875"/>
          </a:xfrm>
          <a:custGeom>
            <a:avLst/>
            <a:gdLst>
              <a:gd name="T0" fmla="*/ 0 w 71"/>
              <a:gd name="T1" fmla="*/ 2147483647 h 98"/>
              <a:gd name="T2" fmla="*/ 2147483647 w 71"/>
              <a:gd name="T3" fmla="*/ 0 h 98"/>
              <a:gd name="T4" fmla="*/ 2147483647 w 71"/>
              <a:gd name="T5" fmla="*/ 2147483647 h 98"/>
              <a:gd name="T6" fmla="*/ 2147483647 w 71"/>
              <a:gd name="T7" fmla="*/ 2147483647 h 98"/>
              <a:gd name="T8" fmla="*/ 2147483647 w 71"/>
              <a:gd name="T9" fmla="*/ 2147483647 h 98"/>
              <a:gd name="T10" fmla="*/ 2147483647 w 71"/>
              <a:gd name="T11" fmla="*/ 2147483647 h 98"/>
              <a:gd name="T12" fmla="*/ 2147483647 w 71"/>
              <a:gd name="T13" fmla="*/ 2147483647 h 98"/>
              <a:gd name="T14" fmla="*/ 2147483647 w 71"/>
              <a:gd name="T15" fmla="*/ 2147483647 h 98"/>
              <a:gd name="T16" fmla="*/ 2147483647 w 71"/>
              <a:gd name="T17" fmla="*/ 2147483647 h 98"/>
              <a:gd name="T18" fmla="*/ 2147483647 w 71"/>
              <a:gd name="T19" fmla="*/ 2147483647 h 98"/>
              <a:gd name="T20" fmla="*/ 2147483647 w 71"/>
              <a:gd name="T21" fmla="*/ 2147483647 h 98"/>
              <a:gd name="T22" fmla="*/ 0 w 71"/>
              <a:gd name="T23" fmla="*/ 2147483647 h 9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1"/>
              <a:gd name="T37" fmla="*/ 0 h 98"/>
              <a:gd name="T38" fmla="*/ 71 w 71"/>
              <a:gd name="T39" fmla="*/ 98 h 9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1" h="98">
                <a:moveTo>
                  <a:pt x="0" y="38"/>
                </a:moveTo>
                <a:lnTo>
                  <a:pt x="13" y="0"/>
                </a:lnTo>
                <a:lnTo>
                  <a:pt x="38" y="1"/>
                </a:lnTo>
                <a:lnTo>
                  <a:pt x="43" y="27"/>
                </a:lnTo>
                <a:lnTo>
                  <a:pt x="24" y="54"/>
                </a:lnTo>
                <a:lnTo>
                  <a:pt x="28" y="67"/>
                </a:lnTo>
                <a:lnTo>
                  <a:pt x="67" y="76"/>
                </a:lnTo>
                <a:lnTo>
                  <a:pt x="70" y="97"/>
                </a:lnTo>
                <a:lnTo>
                  <a:pt x="47" y="76"/>
                </a:lnTo>
                <a:lnTo>
                  <a:pt x="47" y="87"/>
                </a:lnTo>
                <a:lnTo>
                  <a:pt x="13" y="76"/>
                </a:lnTo>
                <a:lnTo>
                  <a:pt x="0" y="3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7" name="Freeform 159"/>
          <p:cNvSpPr>
            <a:spLocks/>
          </p:cNvSpPr>
          <p:nvPr/>
        </p:nvSpPr>
        <p:spPr bwMode="auto">
          <a:xfrm>
            <a:off x="7023100" y="4133850"/>
            <a:ext cx="26988" cy="30163"/>
          </a:xfrm>
          <a:custGeom>
            <a:avLst/>
            <a:gdLst>
              <a:gd name="T0" fmla="*/ 0 w 20"/>
              <a:gd name="T1" fmla="*/ 0 h 21"/>
              <a:gd name="T2" fmla="*/ 2147483647 w 20"/>
              <a:gd name="T3" fmla="*/ 0 h 21"/>
              <a:gd name="T4" fmla="*/ 2147483647 w 20"/>
              <a:gd name="T5" fmla="*/ 2147483647 h 21"/>
              <a:gd name="T6" fmla="*/ 2147483647 w 20"/>
              <a:gd name="T7" fmla="*/ 2147483647 h 21"/>
              <a:gd name="T8" fmla="*/ 0 w 20"/>
              <a:gd name="T9" fmla="*/ 0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0" y="0"/>
                </a:moveTo>
                <a:lnTo>
                  <a:pt x="10" y="0"/>
                </a:lnTo>
                <a:lnTo>
                  <a:pt x="19" y="4"/>
                </a:lnTo>
                <a:lnTo>
                  <a:pt x="14" y="20"/>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8" name="Freeform 160"/>
          <p:cNvSpPr>
            <a:spLocks/>
          </p:cNvSpPr>
          <p:nvPr/>
        </p:nvSpPr>
        <p:spPr bwMode="auto">
          <a:xfrm>
            <a:off x="7061200" y="4167188"/>
            <a:ext cx="23813" cy="38100"/>
          </a:xfrm>
          <a:custGeom>
            <a:avLst/>
            <a:gdLst>
              <a:gd name="T0" fmla="*/ 0 w 18"/>
              <a:gd name="T1" fmla="*/ 0 h 26"/>
              <a:gd name="T2" fmla="*/ 0 w 18"/>
              <a:gd name="T3" fmla="*/ 2147483647 h 26"/>
              <a:gd name="T4" fmla="*/ 2147483647 w 18"/>
              <a:gd name="T5" fmla="*/ 2147483647 h 26"/>
              <a:gd name="T6" fmla="*/ 0 w 18"/>
              <a:gd name="T7" fmla="*/ 0 h 26"/>
              <a:gd name="T8" fmla="*/ 0 60000 65536"/>
              <a:gd name="T9" fmla="*/ 0 60000 65536"/>
              <a:gd name="T10" fmla="*/ 0 60000 65536"/>
              <a:gd name="T11" fmla="*/ 0 60000 65536"/>
              <a:gd name="T12" fmla="*/ 0 w 18"/>
              <a:gd name="T13" fmla="*/ 0 h 26"/>
              <a:gd name="T14" fmla="*/ 18 w 18"/>
              <a:gd name="T15" fmla="*/ 26 h 26"/>
            </a:gdLst>
            <a:ahLst/>
            <a:cxnLst>
              <a:cxn ang="T8">
                <a:pos x="T0" y="T1"/>
              </a:cxn>
              <a:cxn ang="T9">
                <a:pos x="T2" y="T3"/>
              </a:cxn>
              <a:cxn ang="T10">
                <a:pos x="T4" y="T5"/>
              </a:cxn>
              <a:cxn ang="T11">
                <a:pos x="T6" y="T7"/>
              </a:cxn>
            </a:cxnLst>
            <a:rect l="T12" t="T13" r="T14" b="T15"/>
            <a:pathLst>
              <a:path w="18" h="26">
                <a:moveTo>
                  <a:pt x="0" y="0"/>
                </a:moveTo>
                <a:lnTo>
                  <a:pt x="0" y="25"/>
                </a:lnTo>
                <a:lnTo>
                  <a:pt x="17" y="14"/>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69" name="Freeform 161"/>
          <p:cNvSpPr>
            <a:spLocks/>
          </p:cNvSpPr>
          <p:nvPr/>
        </p:nvSpPr>
        <p:spPr bwMode="auto">
          <a:xfrm>
            <a:off x="7061200" y="4219575"/>
            <a:ext cx="98425" cy="98425"/>
          </a:xfrm>
          <a:custGeom>
            <a:avLst/>
            <a:gdLst>
              <a:gd name="T0" fmla="*/ 0 w 72"/>
              <a:gd name="T1" fmla="*/ 2147483647 h 67"/>
              <a:gd name="T2" fmla="*/ 2147483647 w 72"/>
              <a:gd name="T3" fmla="*/ 2147483647 h 67"/>
              <a:gd name="T4" fmla="*/ 2147483647 w 72"/>
              <a:gd name="T5" fmla="*/ 2147483647 h 67"/>
              <a:gd name="T6" fmla="*/ 2147483647 w 72"/>
              <a:gd name="T7" fmla="*/ 0 h 67"/>
              <a:gd name="T8" fmla="*/ 2147483647 w 72"/>
              <a:gd name="T9" fmla="*/ 2147483647 h 67"/>
              <a:gd name="T10" fmla="*/ 2147483647 w 72"/>
              <a:gd name="T11" fmla="*/ 2147483647 h 67"/>
              <a:gd name="T12" fmla="*/ 2147483647 w 72"/>
              <a:gd name="T13" fmla="*/ 2147483647 h 67"/>
              <a:gd name="T14" fmla="*/ 2147483647 w 72"/>
              <a:gd name="T15" fmla="*/ 2147483647 h 67"/>
              <a:gd name="T16" fmla="*/ 2147483647 w 72"/>
              <a:gd name="T17" fmla="*/ 2147483647 h 67"/>
              <a:gd name="T18" fmla="*/ 2147483647 w 72"/>
              <a:gd name="T19" fmla="*/ 2147483647 h 67"/>
              <a:gd name="T20" fmla="*/ 0 w 72"/>
              <a:gd name="T21" fmla="*/ 2147483647 h 6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67"/>
              <a:gd name="T35" fmla="*/ 72 w 72"/>
              <a:gd name="T36" fmla="*/ 67 h 6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67">
                <a:moveTo>
                  <a:pt x="0" y="44"/>
                </a:moveTo>
                <a:lnTo>
                  <a:pt x="17" y="23"/>
                </a:lnTo>
                <a:lnTo>
                  <a:pt x="35" y="24"/>
                </a:lnTo>
                <a:lnTo>
                  <a:pt x="60" y="0"/>
                </a:lnTo>
                <a:lnTo>
                  <a:pt x="71" y="15"/>
                </a:lnTo>
                <a:lnTo>
                  <a:pt x="71" y="53"/>
                </a:lnTo>
                <a:lnTo>
                  <a:pt x="63" y="38"/>
                </a:lnTo>
                <a:lnTo>
                  <a:pt x="57" y="66"/>
                </a:lnTo>
                <a:lnTo>
                  <a:pt x="39" y="58"/>
                </a:lnTo>
                <a:lnTo>
                  <a:pt x="28" y="30"/>
                </a:lnTo>
                <a:lnTo>
                  <a:pt x="0" y="4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0" name="Freeform 162"/>
          <p:cNvSpPr>
            <a:spLocks/>
          </p:cNvSpPr>
          <p:nvPr/>
        </p:nvSpPr>
        <p:spPr bwMode="auto">
          <a:xfrm>
            <a:off x="7072313" y="4194175"/>
            <a:ext cx="23812" cy="42863"/>
          </a:xfrm>
          <a:custGeom>
            <a:avLst/>
            <a:gdLst>
              <a:gd name="T0" fmla="*/ 0 w 18"/>
              <a:gd name="T1" fmla="*/ 2147483647 h 29"/>
              <a:gd name="T2" fmla="*/ 2147483647 w 18"/>
              <a:gd name="T3" fmla="*/ 2147483647 h 29"/>
              <a:gd name="T4" fmla="*/ 2147483647 w 18"/>
              <a:gd name="T5" fmla="*/ 0 h 29"/>
              <a:gd name="T6" fmla="*/ 2147483647 w 18"/>
              <a:gd name="T7" fmla="*/ 2147483647 h 29"/>
              <a:gd name="T8" fmla="*/ 0 w 18"/>
              <a:gd name="T9" fmla="*/ 2147483647 h 29"/>
              <a:gd name="T10" fmla="*/ 0 60000 65536"/>
              <a:gd name="T11" fmla="*/ 0 60000 65536"/>
              <a:gd name="T12" fmla="*/ 0 60000 65536"/>
              <a:gd name="T13" fmla="*/ 0 60000 65536"/>
              <a:gd name="T14" fmla="*/ 0 60000 65536"/>
              <a:gd name="T15" fmla="*/ 0 w 18"/>
              <a:gd name="T16" fmla="*/ 0 h 29"/>
              <a:gd name="T17" fmla="*/ 18 w 18"/>
              <a:gd name="T18" fmla="*/ 29 h 29"/>
            </a:gdLst>
            <a:ahLst/>
            <a:cxnLst>
              <a:cxn ang="T10">
                <a:pos x="T0" y="T1"/>
              </a:cxn>
              <a:cxn ang="T11">
                <a:pos x="T2" y="T3"/>
              </a:cxn>
              <a:cxn ang="T12">
                <a:pos x="T4" y="T5"/>
              </a:cxn>
              <a:cxn ang="T13">
                <a:pos x="T6" y="T7"/>
              </a:cxn>
              <a:cxn ang="T14">
                <a:pos x="T8" y="T9"/>
              </a:cxn>
            </a:cxnLst>
            <a:rect l="T15" t="T16" r="T17" b="T18"/>
            <a:pathLst>
              <a:path w="18" h="29">
                <a:moveTo>
                  <a:pt x="0" y="19"/>
                </a:moveTo>
                <a:lnTo>
                  <a:pt x="4" y="13"/>
                </a:lnTo>
                <a:lnTo>
                  <a:pt x="17" y="0"/>
                </a:lnTo>
                <a:lnTo>
                  <a:pt x="13" y="28"/>
                </a:lnTo>
                <a:lnTo>
                  <a:pt x="0" y="1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1" name="Freeform 163"/>
          <p:cNvSpPr>
            <a:spLocks/>
          </p:cNvSpPr>
          <p:nvPr/>
        </p:nvSpPr>
        <p:spPr bwMode="auto">
          <a:xfrm>
            <a:off x="4562475" y="3041650"/>
            <a:ext cx="233363" cy="176213"/>
          </a:xfrm>
          <a:custGeom>
            <a:avLst/>
            <a:gdLst>
              <a:gd name="T0" fmla="*/ 0 w 169"/>
              <a:gd name="T1" fmla="*/ 2147483647 h 120"/>
              <a:gd name="T2" fmla="*/ 2147483647 w 169"/>
              <a:gd name="T3" fmla="*/ 2147483647 h 120"/>
              <a:gd name="T4" fmla="*/ 2147483647 w 169"/>
              <a:gd name="T5" fmla="*/ 2147483647 h 120"/>
              <a:gd name="T6" fmla="*/ 2147483647 w 169"/>
              <a:gd name="T7" fmla="*/ 2147483647 h 120"/>
              <a:gd name="T8" fmla="*/ 2147483647 w 169"/>
              <a:gd name="T9" fmla="*/ 2147483647 h 120"/>
              <a:gd name="T10" fmla="*/ 2147483647 w 169"/>
              <a:gd name="T11" fmla="*/ 2147483647 h 120"/>
              <a:gd name="T12" fmla="*/ 2147483647 w 169"/>
              <a:gd name="T13" fmla="*/ 2147483647 h 120"/>
              <a:gd name="T14" fmla="*/ 2147483647 w 169"/>
              <a:gd name="T15" fmla="*/ 2147483647 h 120"/>
              <a:gd name="T16" fmla="*/ 2147483647 w 169"/>
              <a:gd name="T17" fmla="*/ 2147483647 h 120"/>
              <a:gd name="T18" fmla="*/ 2147483647 w 169"/>
              <a:gd name="T19" fmla="*/ 0 h 120"/>
              <a:gd name="T20" fmla="*/ 0 w 169"/>
              <a:gd name="T21" fmla="*/ 2147483647 h 1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9"/>
              <a:gd name="T34" fmla="*/ 0 h 120"/>
              <a:gd name="T35" fmla="*/ 169 w 169"/>
              <a:gd name="T36" fmla="*/ 120 h 1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9" h="120">
                <a:moveTo>
                  <a:pt x="0" y="21"/>
                </a:moveTo>
                <a:lnTo>
                  <a:pt x="11" y="84"/>
                </a:lnTo>
                <a:lnTo>
                  <a:pt x="98" y="116"/>
                </a:lnTo>
                <a:lnTo>
                  <a:pt x="141" y="119"/>
                </a:lnTo>
                <a:lnTo>
                  <a:pt x="168" y="88"/>
                </a:lnTo>
                <a:lnTo>
                  <a:pt x="153" y="51"/>
                </a:lnTo>
                <a:lnTo>
                  <a:pt x="164" y="43"/>
                </a:lnTo>
                <a:lnTo>
                  <a:pt x="158" y="15"/>
                </a:lnTo>
                <a:lnTo>
                  <a:pt x="93" y="6"/>
                </a:lnTo>
                <a:lnTo>
                  <a:pt x="53" y="0"/>
                </a:lnTo>
                <a:lnTo>
                  <a:pt x="0" y="2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2" name="Freeform 164"/>
          <p:cNvSpPr>
            <a:spLocks/>
          </p:cNvSpPr>
          <p:nvPr/>
        </p:nvSpPr>
        <p:spPr bwMode="auto">
          <a:xfrm>
            <a:off x="4025900" y="3424238"/>
            <a:ext cx="76200" cy="127000"/>
          </a:xfrm>
          <a:custGeom>
            <a:avLst/>
            <a:gdLst>
              <a:gd name="T0" fmla="*/ 0 w 55"/>
              <a:gd name="T1" fmla="*/ 2147483647 h 87"/>
              <a:gd name="T2" fmla="*/ 2147483647 w 55"/>
              <a:gd name="T3" fmla="*/ 0 h 87"/>
              <a:gd name="T4" fmla="*/ 2147483647 w 55"/>
              <a:gd name="T5" fmla="*/ 2147483647 h 87"/>
              <a:gd name="T6" fmla="*/ 2147483647 w 55"/>
              <a:gd name="T7" fmla="*/ 2147483647 h 87"/>
              <a:gd name="T8" fmla="*/ 2147483647 w 55"/>
              <a:gd name="T9" fmla="*/ 2147483647 h 87"/>
              <a:gd name="T10" fmla="*/ 2147483647 w 55"/>
              <a:gd name="T11" fmla="*/ 2147483647 h 87"/>
              <a:gd name="T12" fmla="*/ 2147483647 w 55"/>
              <a:gd name="T13" fmla="*/ 2147483647 h 87"/>
              <a:gd name="T14" fmla="*/ 0 w 55"/>
              <a:gd name="T15" fmla="*/ 2147483647 h 87"/>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87"/>
              <a:gd name="T26" fmla="*/ 55 w 55"/>
              <a:gd name="T27" fmla="*/ 87 h 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87">
                <a:moveTo>
                  <a:pt x="0" y="56"/>
                </a:moveTo>
                <a:lnTo>
                  <a:pt x="10" y="0"/>
                </a:lnTo>
                <a:lnTo>
                  <a:pt x="54" y="3"/>
                </a:lnTo>
                <a:lnTo>
                  <a:pt x="36" y="40"/>
                </a:lnTo>
                <a:lnTo>
                  <a:pt x="34" y="84"/>
                </a:lnTo>
                <a:lnTo>
                  <a:pt x="10" y="86"/>
                </a:lnTo>
                <a:lnTo>
                  <a:pt x="12" y="62"/>
                </a:lnTo>
                <a:lnTo>
                  <a:pt x="0" y="56"/>
                </a:lnTo>
              </a:path>
            </a:pathLst>
          </a:custGeom>
          <a:solidFill>
            <a:schemeClr val="bg1">
              <a:lumMod val="65000"/>
            </a:schemeClr>
          </a:solidFill>
          <a:ln w="12700" cap="rnd">
            <a:solidFill>
              <a:schemeClr val="bg2"/>
            </a:solidFill>
            <a:round/>
            <a:headEnd/>
            <a:tailEnd/>
          </a:ln>
        </p:spPr>
        <p:txBody>
          <a:bodyPr/>
          <a:lstStyle/>
          <a:p>
            <a:pPr>
              <a:defRPr/>
            </a:pPr>
            <a:endParaRPr lang="fr-FR" dirty="0"/>
          </a:p>
        </p:txBody>
      </p:sp>
      <p:sp>
        <p:nvSpPr>
          <p:cNvPr id="173" name="Freeform 165"/>
          <p:cNvSpPr>
            <a:spLocks/>
          </p:cNvSpPr>
          <p:nvPr/>
        </p:nvSpPr>
        <p:spPr bwMode="auto">
          <a:xfrm>
            <a:off x="3852863" y="4149725"/>
            <a:ext cx="74612" cy="42863"/>
          </a:xfrm>
          <a:custGeom>
            <a:avLst/>
            <a:gdLst>
              <a:gd name="T0" fmla="*/ 0 w 54"/>
              <a:gd name="T1" fmla="*/ 2147483647 h 29"/>
              <a:gd name="T2" fmla="*/ 2147483647 w 54"/>
              <a:gd name="T3" fmla="*/ 2147483647 h 29"/>
              <a:gd name="T4" fmla="*/ 2147483647 w 54"/>
              <a:gd name="T5" fmla="*/ 2147483647 h 29"/>
              <a:gd name="T6" fmla="*/ 2147483647 w 54"/>
              <a:gd name="T7" fmla="*/ 2147483647 h 29"/>
              <a:gd name="T8" fmla="*/ 2147483647 w 54"/>
              <a:gd name="T9" fmla="*/ 2147483647 h 29"/>
              <a:gd name="T10" fmla="*/ 2147483647 w 54"/>
              <a:gd name="T11" fmla="*/ 2147483647 h 29"/>
              <a:gd name="T12" fmla="*/ 2147483647 w 54"/>
              <a:gd name="T13" fmla="*/ 0 h 29"/>
              <a:gd name="T14" fmla="*/ 0 w 54"/>
              <a:gd name="T15" fmla="*/ 2147483647 h 29"/>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29"/>
              <a:gd name="T26" fmla="*/ 54 w 54"/>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29">
                <a:moveTo>
                  <a:pt x="0" y="5"/>
                </a:moveTo>
                <a:lnTo>
                  <a:pt x="17" y="16"/>
                </a:lnTo>
                <a:lnTo>
                  <a:pt x="32" y="12"/>
                </a:lnTo>
                <a:lnTo>
                  <a:pt x="22" y="16"/>
                </a:lnTo>
                <a:lnTo>
                  <a:pt x="30" y="28"/>
                </a:lnTo>
                <a:lnTo>
                  <a:pt x="53" y="16"/>
                </a:lnTo>
                <a:lnTo>
                  <a:pt x="53" y="0"/>
                </a:lnTo>
                <a:lnTo>
                  <a:pt x="0" y="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4" name="Freeform 166"/>
          <p:cNvSpPr>
            <a:spLocks/>
          </p:cNvSpPr>
          <p:nvPr/>
        </p:nvSpPr>
        <p:spPr bwMode="auto">
          <a:xfrm>
            <a:off x="5413375" y="3829050"/>
            <a:ext cx="14288" cy="41275"/>
          </a:xfrm>
          <a:custGeom>
            <a:avLst/>
            <a:gdLst>
              <a:gd name="T0" fmla="*/ 0 w 10"/>
              <a:gd name="T1" fmla="*/ 2147483647 h 28"/>
              <a:gd name="T2" fmla="*/ 2147483647 w 10"/>
              <a:gd name="T3" fmla="*/ 2147483647 h 28"/>
              <a:gd name="T4" fmla="*/ 2147483647 w 10"/>
              <a:gd name="T5" fmla="*/ 2147483647 h 28"/>
              <a:gd name="T6" fmla="*/ 2147483647 w 10"/>
              <a:gd name="T7" fmla="*/ 0 h 28"/>
              <a:gd name="T8" fmla="*/ 0 w 10"/>
              <a:gd name="T9" fmla="*/ 2147483647 h 28"/>
              <a:gd name="T10" fmla="*/ 0 60000 65536"/>
              <a:gd name="T11" fmla="*/ 0 60000 65536"/>
              <a:gd name="T12" fmla="*/ 0 60000 65536"/>
              <a:gd name="T13" fmla="*/ 0 60000 65536"/>
              <a:gd name="T14" fmla="*/ 0 60000 65536"/>
              <a:gd name="T15" fmla="*/ 0 w 10"/>
              <a:gd name="T16" fmla="*/ 0 h 28"/>
              <a:gd name="T17" fmla="*/ 10 w 10"/>
              <a:gd name="T18" fmla="*/ 28 h 28"/>
            </a:gdLst>
            <a:ahLst/>
            <a:cxnLst>
              <a:cxn ang="T10">
                <a:pos x="T0" y="T1"/>
              </a:cxn>
              <a:cxn ang="T11">
                <a:pos x="T2" y="T3"/>
              </a:cxn>
              <a:cxn ang="T12">
                <a:pos x="T4" y="T5"/>
              </a:cxn>
              <a:cxn ang="T13">
                <a:pos x="T6" y="T7"/>
              </a:cxn>
              <a:cxn ang="T14">
                <a:pos x="T8" y="T9"/>
              </a:cxn>
            </a:cxnLst>
            <a:rect l="T15" t="T16" r="T17" b="T18"/>
            <a:pathLst>
              <a:path w="10" h="28">
                <a:moveTo>
                  <a:pt x="0" y="22"/>
                </a:moveTo>
                <a:lnTo>
                  <a:pt x="2" y="27"/>
                </a:lnTo>
                <a:lnTo>
                  <a:pt x="9" y="25"/>
                </a:lnTo>
                <a:lnTo>
                  <a:pt x="5" y="0"/>
                </a:lnTo>
                <a:lnTo>
                  <a:pt x="0" y="2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5" name="Freeform 167"/>
          <p:cNvSpPr>
            <a:spLocks/>
          </p:cNvSpPr>
          <p:nvPr/>
        </p:nvSpPr>
        <p:spPr bwMode="auto">
          <a:xfrm>
            <a:off x="4706938" y="3238500"/>
            <a:ext cx="217487" cy="133350"/>
          </a:xfrm>
          <a:custGeom>
            <a:avLst/>
            <a:gdLst>
              <a:gd name="T0" fmla="*/ 0 w 158"/>
              <a:gd name="T1" fmla="*/ 2147483647 h 91"/>
              <a:gd name="T2" fmla="*/ 2147483647 w 158"/>
              <a:gd name="T3" fmla="*/ 2147483647 h 91"/>
              <a:gd name="T4" fmla="*/ 2147483647 w 158"/>
              <a:gd name="T5" fmla="*/ 2147483647 h 91"/>
              <a:gd name="T6" fmla="*/ 2147483647 w 158"/>
              <a:gd name="T7" fmla="*/ 2147483647 h 91"/>
              <a:gd name="T8" fmla="*/ 2147483647 w 158"/>
              <a:gd name="T9" fmla="*/ 2147483647 h 91"/>
              <a:gd name="T10" fmla="*/ 2147483647 w 158"/>
              <a:gd name="T11" fmla="*/ 2147483647 h 91"/>
              <a:gd name="T12" fmla="*/ 2147483647 w 158"/>
              <a:gd name="T13" fmla="*/ 0 h 91"/>
              <a:gd name="T14" fmla="*/ 2147483647 w 158"/>
              <a:gd name="T15" fmla="*/ 2147483647 h 91"/>
              <a:gd name="T16" fmla="*/ 0 w 158"/>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
              <a:gd name="T28" fmla="*/ 0 h 91"/>
              <a:gd name="T29" fmla="*/ 158 w 158"/>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 h="91">
                <a:moveTo>
                  <a:pt x="0" y="43"/>
                </a:moveTo>
                <a:lnTo>
                  <a:pt x="44" y="82"/>
                </a:lnTo>
                <a:lnTo>
                  <a:pt x="141" y="90"/>
                </a:lnTo>
                <a:lnTo>
                  <a:pt x="157" y="57"/>
                </a:lnTo>
                <a:lnTo>
                  <a:pt x="133" y="56"/>
                </a:lnTo>
                <a:lnTo>
                  <a:pt x="130" y="29"/>
                </a:lnTo>
                <a:lnTo>
                  <a:pt x="108" y="0"/>
                </a:lnTo>
                <a:lnTo>
                  <a:pt x="44" y="7"/>
                </a:lnTo>
                <a:lnTo>
                  <a:pt x="0" y="4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6" name="Freeform 168"/>
          <p:cNvSpPr>
            <a:spLocks/>
          </p:cNvSpPr>
          <p:nvPr/>
        </p:nvSpPr>
        <p:spPr bwMode="auto">
          <a:xfrm>
            <a:off x="4914900" y="4465638"/>
            <a:ext cx="33338" cy="39687"/>
          </a:xfrm>
          <a:custGeom>
            <a:avLst/>
            <a:gdLst>
              <a:gd name="T0" fmla="*/ 0 w 25"/>
              <a:gd name="T1" fmla="*/ 2147483647 h 27"/>
              <a:gd name="T2" fmla="*/ 2147483647 w 25"/>
              <a:gd name="T3" fmla="*/ 2147483647 h 27"/>
              <a:gd name="T4" fmla="*/ 2147483647 w 25"/>
              <a:gd name="T5" fmla="*/ 0 h 27"/>
              <a:gd name="T6" fmla="*/ 2147483647 w 25"/>
              <a:gd name="T7" fmla="*/ 2147483647 h 27"/>
              <a:gd name="T8" fmla="*/ 0 w 25"/>
              <a:gd name="T9" fmla="*/ 2147483647 h 27"/>
              <a:gd name="T10" fmla="*/ 0 60000 65536"/>
              <a:gd name="T11" fmla="*/ 0 60000 65536"/>
              <a:gd name="T12" fmla="*/ 0 60000 65536"/>
              <a:gd name="T13" fmla="*/ 0 60000 65536"/>
              <a:gd name="T14" fmla="*/ 0 60000 65536"/>
              <a:gd name="T15" fmla="*/ 0 w 25"/>
              <a:gd name="T16" fmla="*/ 0 h 27"/>
              <a:gd name="T17" fmla="*/ 25 w 25"/>
              <a:gd name="T18" fmla="*/ 27 h 27"/>
            </a:gdLst>
            <a:ahLst/>
            <a:cxnLst>
              <a:cxn ang="T10">
                <a:pos x="T0" y="T1"/>
              </a:cxn>
              <a:cxn ang="T11">
                <a:pos x="T2" y="T3"/>
              </a:cxn>
              <a:cxn ang="T12">
                <a:pos x="T4" y="T5"/>
              </a:cxn>
              <a:cxn ang="T13">
                <a:pos x="T6" y="T7"/>
              </a:cxn>
              <a:cxn ang="T14">
                <a:pos x="T8" y="T9"/>
              </a:cxn>
            </a:cxnLst>
            <a:rect l="T15" t="T16" r="T17" b="T18"/>
            <a:pathLst>
              <a:path w="25" h="27">
                <a:moveTo>
                  <a:pt x="0" y="26"/>
                </a:moveTo>
                <a:lnTo>
                  <a:pt x="8" y="5"/>
                </a:lnTo>
                <a:lnTo>
                  <a:pt x="22" y="0"/>
                </a:lnTo>
                <a:lnTo>
                  <a:pt x="24" y="21"/>
                </a:lnTo>
                <a:lnTo>
                  <a:pt x="0" y="2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7" name="Freeform 169"/>
          <p:cNvSpPr>
            <a:spLocks/>
          </p:cNvSpPr>
          <p:nvPr/>
        </p:nvSpPr>
        <p:spPr bwMode="auto">
          <a:xfrm>
            <a:off x="5040313" y="3678238"/>
            <a:ext cx="487362" cy="406400"/>
          </a:xfrm>
          <a:custGeom>
            <a:avLst/>
            <a:gdLst>
              <a:gd name="T0" fmla="*/ 0 w 354"/>
              <a:gd name="T1" fmla="*/ 2147483647 h 278"/>
              <a:gd name="T2" fmla="*/ 2147483647 w 354"/>
              <a:gd name="T3" fmla="*/ 2147483647 h 278"/>
              <a:gd name="T4" fmla="*/ 2147483647 w 354"/>
              <a:gd name="T5" fmla="*/ 2147483647 h 278"/>
              <a:gd name="T6" fmla="*/ 2147483647 w 354"/>
              <a:gd name="T7" fmla="*/ 2147483647 h 278"/>
              <a:gd name="T8" fmla="*/ 2147483647 w 354"/>
              <a:gd name="T9" fmla="*/ 2147483647 h 278"/>
              <a:gd name="T10" fmla="*/ 2147483647 w 354"/>
              <a:gd name="T11" fmla="*/ 2147483647 h 278"/>
              <a:gd name="T12" fmla="*/ 2147483647 w 354"/>
              <a:gd name="T13" fmla="*/ 0 h 278"/>
              <a:gd name="T14" fmla="*/ 2147483647 w 354"/>
              <a:gd name="T15" fmla="*/ 2147483647 h 278"/>
              <a:gd name="T16" fmla="*/ 2147483647 w 354"/>
              <a:gd name="T17" fmla="*/ 2147483647 h 278"/>
              <a:gd name="T18" fmla="*/ 2147483647 w 354"/>
              <a:gd name="T19" fmla="*/ 2147483647 h 278"/>
              <a:gd name="T20" fmla="*/ 2147483647 w 354"/>
              <a:gd name="T21" fmla="*/ 2147483647 h 278"/>
              <a:gd name="T22" fmla="*/ 2147483647 w 354"/>
              <a:gd name="T23" fmla="*/ 2147483647 h 278"/>
              <a:gd name="T24" fmla="*/ 2147483647 w 354"/>
              <a:gd name="T25" fmla="*/ 2147483647 h 278"/>
              <a:gd name="T26" fmla="*/ 2147483647 w 354"/>
              <a:gd name="T27" fmla="*/ 2147483647 h 278"/>
              <a:gd name="T28" fmla="*/ 2147483647 w 354"/>
              <a:gd name="T29" fmla="*/ 2147483647 h 278"/>
              <a:gd name="T30" fmla="*/ 2147483647 w 354"/>
              <a:gd name="T31" fmla="*/ 2147483647 h 278"/>
              <a:gd name="T32" fmla="*/ 2147483647 w 354"/>
              <a:gd name="T33" fmla="*/ 2147483647 h 278"/>
              <a:gd name="T34" fmla="*/ 2147483647 w 354"/>
              <a:gd name="T35" fmla="*/ 2147483647 h 278"/>
              <a:gd name="T36" fmla="*/ 2147483647 w 354"/>
              <a:gd name="T37" fmla="*/ 2147483647 h 278"/>
              <a:gd name="T38" fmla="*/ 2147483647 w 354"/>
              <a:gd name="T39" fmla="*/ 2147483647 h 278"/>
              <a:gd name="T40" fmla="*/ 2147483647 w 354"/>
              <a:gd name="T41" fmla="*/ 2147483647 h 278"/>
              <a:gd name="T42" fmla="*/ 2147483647 w 354"/>
              <a:gd name="T43" fmla="*/ 2147483647 h 278"/>
              <a:gd name="T44" fmla="*/ 2147483647 w 354"/>
              <a:gd name="T45" fmla="*/ 2147483647 h 278"/>
              <a:gd name="T46" fmla="*/ 2147483647 w 354"/>
              <a:gd name="T47" fmla="*/ 2147483647 h 278"/>
              <a:gd name="T48" fmla="*/ 2147483647 w 354"/>
              <a:gd name="T49" fmla="*/ 2147483647 h 278"/>
              <a:gd name="T50" fmla="*/ 2147483647 w 354"/>
              <a:gd name="T51" fmla="*/ 2147483647 h 278"/>
              <a:gd name="T52" fmla="*/ 2147483647 w 354"/>
              <a:gd name="T53" fmla="*/ 2147483647 h 278"/>
              <a:gd name="T54" fmla="*/ 2147483647 w 354"/>
              <a:gd name="T55" fmla="*/ 2147483647 h 278"/>
              <a:gd name="T56" fmla="*/ 0 w 354"/>
              <a:gd name="T57" fmla="*/ 2147483647 h 2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54"/>
              <a:gd name="T88" fmla="*/ 0 h 278"/>
              <a:gd name="T89" fmla="*/ 354 w 354"/>
              <a:gd name="T90" fmla="*/ 278 h 2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54" h="278">
                <a:moveTo>
                  <a:pt x="0" y="73"/>
                </a:moveTo>
                <a:lnTo>
                  <a:pt x="4" y="49"/>
                </a:lnTo>
                <a:lnTo>
                  <a:pt x="23" y="52"/>
                </a:lnTo>
                <a:lnTo>
                  <a:pt x="47" y="38"/>
                </a:lnTo>
                <a:lnTo>
                  <a:pt x="56" y="28"/>
                </a:lnTo>
                <a:lnTo>
                  <a:pt x="37" y="12"/>
                </a:lnTo>
                <a:lnTo>
                  <a:pt x="75" y="0"/>
                </a:lnTo>
                <a:lnTo>
                  <a:pt x="149" y="31"/>
                </a:lnTo>
                <a:lnTo>
                  <a:pt x="152" y="45"/>
                </a:lnTo>
                <a:lnTo>
                  <a:pt x="170" y="52"/>
                </a:lnTo>
                <a:lnTo>
                  <a:pt x="185" y="59"/>
                </a:lnTo>
                <a:lnTo>
                  <a:pt x="200" y="54"/>
                </a:lnTo>
                <a:lnTo>
                  <a:pt x="231" y="63"/>
                </a:lnTo>
                <a:lnTo>
                  <a:pt x="272" y="127"/>
                </a:lnTo>
                <a:lnTo>
                  <a:pt x="274" y="132"/>
                </a:lnTo>
                <a:lnTo>
                  <a:pt x="291" y="157"/>
                </a:lnTo>
                <a:lnTo>
                  <a:pt x="346" y="162"/>
                </a:lnTo>
                <a:lnTo>
                  <a:pt x="353" y="173"/>
                </a:lnTo>
                <a:lnTo>
                  <a:pt x="341" y="206"/>
                </a:lnTo>
                <a:lnTo>
                  <a:pt x="291" y="222"/>
                </a:lnTo>
                <a:lnTo>
                  <a:pt x="237" y="234"/>
                </a:lnTo>
                <a:lnTo>
                  <a:pt x="195" y="277"/>
                </a:lnTo>
                <a:lnTo>
                  <a:pt x="195" y="260"/>
                </a:lnTo>
                <a:lnTo>
                  <a:pt x="165" y="249"/>
                </a:lnTo>
                <a:lnTo>
                  <a:pt x="136" y="264"/>
                </a:lnTo>
                <a:lnTo>
                  <a:pt x="105" y="215"/>
                </a:lnTo>
                <a:lnTo>
                  <a:pt x="79" y="194"/>
                </a:lnTo>
                <a:lnTo>
                  <a:pt x="63" y="143"/>
                </a:lnTo>
                <a:lnTo>
                  <a:pt x="0" y="7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8" name="Freeform 170"/>
          <p:cNvSpPr>
            <a:spLocks/>
          </p:cNvSpPr>
          <p:nvPr/>
        </p:nvSpPr>
        <p:spPr bwMode="auto">
          <a:xfrm>
            <a:off x="3819525" y="4056063"/>
            <a:ext cx="147638" cy="101600"/>
          </a:xfrm>
          <a:custGeom>
            <a:avLst/>
            <a:gdLst>
              <a:gd name="T0" fmla="*/ 0 w 107"/>
              <a:gd name="T1" fmla="*/ 2147483647 h 69"/>
              <a:gd name="T2" fmla="*/ 2147483647 w 107"/>
              <a:gd name="T3" fmla="*/ 2147483647 h 69"/>
              <a:gd name="T4" fmla="*/ 2147483647 w 107"/>
              <a:gd name="T5" fmla="*/ 2147483647 h 69"/>
              <a:gd name="T6" fmla="*/ 2147483647 w 107"/>
              <a:gd name="T7" fmla="*/ 2147483647 h 69"/>
              <a:gd name="T8" fmla="*/ 2147483647 w 107"/>
              <a:gd name="T9" fmla="*/ 2147483647 h 69"/>
              <a:gd name="T10" fmla="*/ 2147483647 w 107"/>
              <a:gd name="T11" fmla="*/ 2147483647 h 69"/>
              <a:gd name="T12" fmla="*/ 2147483647 w 107"/>
              <a:gd name="T13" fmla="*/ 2147483647 h 69"/>
              <a:gd name="T14" fmla="*/ 2147483647 w 107"/>
              <a:gd name="T15" fmla="*/ 2147483647 h 69"/>
              <a:gd name="T16" fmla="*/ 2147483647 w 107"/>
              <a:gd name="T17" fmla="*/ 0 h 69"/>
              <a:gd name="T18" fmla="*/ 2147483647 w 107"/>
              <a:gd name="T19" fmla="*/ 2147483647 h 69"/>
              <a:gd name="T20" fmla="*/ 0 w 107"/>
              <a:gd name="T21" fmla="*/ 2147483647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
              <a:gd name="T34" fmla="*/ 0 h 69"/>
              <a:gd name="T35" fmla="*/ 107 w 107"/>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 h="69">
                <a:moveTo>
                  <a:pt x="0" y="31"/>
                </a:moveTo>
                <a:lnTo>
                  <a:pt x="17" y="48"/>
                </a:lnTo>
                <a:lnTo>
                  <a:pt x="65" y="53"/>
                </a:lnTo>
                <a:lnTo>
                  <a:pt x="15" y="58"/>
                </a:lnTo>
                <a:lnTo>
                  <a:pt x="15" y="68"/>
                </a:lnTo>
                <a:lnTo>
                  <a:pt x="66" y="63"/>
                </a:lnTo>
                <a:lnTo>
                  <a:pt x="106" y="68"/>
                </a:lnTo>
                <a:lnTo>
                  <a:pt x="92" y="31"/>
                </a:lnTo>
                <a:lnTo>
                  <a:pt x="54" y="0"/>
                </a:lnTo>
                <a:lnTo>
                  <a:pt x="17" y="9"/>
                </a:lnTo>
                <a:lnTo>
                  <a:pt x="0" y="3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79" name="Freeform 171"/>
          <p:cNvSpPr>
            <a:spLocks/>
          </p:cNvSpPr>
          <p:nvPr/>
        </p:nvSpPr>
        <p:spPr bwMode="auto">
          <a:xfrm>
            <a:off x="3933825" y="4214813"/>
            <a:ext cx="68263" cy="71437"/>
          </a:xfrm>
          <a:custGeom>
            <a:avLst/>
            <a:gdLst>
              <a:gd name="T0" fmla="*/ 0 w 49"/>
              <a:gd name="T1" fmla="*/ 2147483647 h 49"/>
              <a:gd name="T2" fmla="*/ 2147483647 w 49"/>
              <a:gd name="T3" fmla="*/ 2147483647 h 49"/>
              <a:gd name="T4" fmla="*/ 2147483647 w 49"/>
              <a:gd name="T5" fmla="*/ 2147483647 h 49"/>
              <a:gd name="T6" fmla="*/ 2147483647 w 49"/>
              <a:gd name="T7" fmla="*/ 2147483647 h 49"/>
              <a:gd name="T8" fmla="*/ 2147483647 w 49"/>
              <a:gd name="T9" fmla="*/ 0 h 49"/>
              <a:gd name="T10" fmla="*/ 0 w 49"/>
              <a:gd name="T11" fmla="*/ 2147483647 h 49"/>
              <a:gd name="T12" fmla="*/ 0 60000 65536"/>
              <a:gd name="T13" fmla="*/ 0 60000 65536"/>
              <a:gd name="T14" fmla="*/ 0 60000 65536"/>
              <a:gd name="T15" fmla="*/ 0 60000 65536"/>
              <a:gd name="T16" fmla="*/ 0 60000 65536"/>
              <a:gd name="T17" fmla="*/ 0 60000 65536"/>
              <a:gd name="T18" fmla="*/ 0 w 49"/>
              <a:gd name="T19" fmla="*/ 0 h 49"/>
              <a:gd name="T20" fmla="*/ 49 w 49"/>
              <a:gd name="T21" fmla="*/ 49 h 49"/>
            </a:gdLst>
            <a:ahLst/>
            <a:cxnLst>
              <a:cxn ang="T12">
                <a:pos x="T0" y="T1"/>
              </a:cxn>
              <a:cxn ang="T13">
                <a:pos x="T2" y="T3"/>
              </a:cxn>
              <a:cxn ang="T14">
                <a:pos x="T4" y="T5"/>
              </a:cxn>
              <a:cxn ang="T15">
                <a:pos x="T6" y="T7"/>
              </a:cxn>
              <a:cxn ang="T16">
                <a:pos x="T8" y="T9"/>
              </a:cxn>
              <a:cxn ang="T17">
                <a:pos x="T10" y="T11"/>
              </a:cxn>
            </a:cxnLst>
            <a:rect l="T18" t="T19" r="T20" b="T21"/>
            <a:pathLst>
              <a:path w="49" h="49">
                <a:moveTo>
                  <a:pt x="0" y="14"/>
                </a:moveTo>
                <a:lnTo>
                  <a:pt x="5" y="34"/>
                </a:lnTo>
                <a:lnTo>
                  <a:pt x="29" y="48"/>
                </a:lnTo>
                <a:lnTo>
                  <a:pt x="48" y="25"/>
                </a:lnTo>
                <a:lnTo>
                  <a:pt x="34" y="0"/>
                </a:lnTo>
                <a:lnTo>
                  <a:pt x="0" y="1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0" name="Freeform 172"/>
          <p:cNvSpPr>
            <a:spLocks/>
          </p:cNvSpPr>
          <p:nvPr/>
        </p:nvSpPr>
        <p:spPr bwMode="auto">
          <a:xfrm>
            <a:off x="5189538" y="4167188"/>
            <a:ext cx="238125" cy="317500"/>
          </a:xfrm>
          <a:custGeom>
            <a:avLst/>
            <a:gdLst>
              <a:gd name="T0" fmla="*/ 0 w 173"/>
              <a:gd name="T1" fmla="*/ 2147483647 h 217"/>
              <a:gd name="T2" fmla="*/ 0 w 173"/>
              <a:gd name="T3" fmla="*/ 2147483647 h 217"/>
              <a:gd name="T4" fmla="*/ 2147483647 w 173"/>
              <a:gd name="T5" fmla="*/ 2147483647 h 217"/>
              <a:gd name="T6" fmla="*/ 2147483647 w 173"/>
              <a:gd name="T7" fmla="*/ 2147483647 h 217"/>
              <a:gd name="T8" fmla="*/ 2147483647 w 173"/>
              <a:gd name="T9" fmla="*/ 2147483647 h 217"/>
              <a:gd name="T10" fmla="*/ 2147483647 w 173"/>
              <a:gd name="T11" fmla="*/ 2147483647 h 217"/>
              <a:gd name="T12" fmla="*/ 2147483647 w 173"/>
              <a:gd name="T13" fmla="*/ 2147483647 h 217"/>
              <a:gd name="T14" fmla="*/ 2147483647 w 173"/>
              <a:gd name="T15" fmla="*/ 2147483647 h 217"/>
              <a:gd name="T16" fmla="*/ 2147483647 w 173"/>
              <a:gd name="T17" fmla="*/ 2147483647 h 217"/>
              <a:gd name="T18" fmla="*/ 2147483647 w 173"/>
              <a:gd name="T19" fmla="*/ 0 h 217"/>
              <a:gd name="T20" fmla="*/ 2147483647 w 173"/>
              <a:gd name="T21" fmla="*/ 2147483647 h 217"/>
              <a:gd name="T22" fmla="*/ 2147483647 w 173"/>
              <a:gd name="T23" fmla="*/ 2147483647 h 217"/>
              <a:gd name="T24" fmla="*/ 2147483647 w 173"/>
              <a:gd name="T25" fmla="*/ 2147483647 h 217"/>
              <a:gd name="T26" fmla="*/ 0 w 173"/>
              <a:gd name="T27" fmla="*/ 2147483647 h 2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3"/>
              <a:gd name="T43" fmla="*/ 0 h 217"/>
              <a:gd name="T44" fmla="*/ 173 w 173"/>
              <a:gd name="T45" fmla="*/ 217 h 2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3" h="217">
                <a:moveTo>
                  <a:pt x="0" y="203"/>
                </a:moveTo>
                <a:lnTo>
                  <a:pt x="0" y="145"/>
                </a:lnTo>
                <a:lnTo>
                  <a:pt x="15" y="127"/>
                </a:lnTo>
                <a:lnTo>
                  <a:pt x="66" y="111"/>
                </a:lnTo>
                <a:lnTo>
                  <a:pt x="118" y="62"/>
                </a:lnTo>
                <a:lnTo>
                  <a:pt x="50" y="46"/>
                </a:lnTo>
                <a:lnTo>
                  <a:pt x="32" y="16"/>
                </a:lnTo>
                <a:lnTo>
                  <a:pt x="37" y="8"/>
                </a:lnTo>
                <a:lnTo>
                  <a:pt x="65" y="25"/>
                </a:lnTo>
                <a:lnTo>
                  <a:pt x="163" y="0"/>
                </a:lnTo>
                <a:lnTo>
                  <a:pt x="172" y="26"/>
                </a:lnTo>
                <a:lnTo>
                  <a:pt x="111" y="126"/>
                </a:lnTo>
                <a:lnTo>
                  <a:pt x="9" y="216"/>
                </a:lnTo>
                <a:lnTo>
                  <a:pt x="0" y="20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1" name="Freeform 173"/>
          <p:cNvSpPr>
            <a:spLocks/>
          </p:cNvSpPr>
          <p:nvPr/>
        </p:nvSpPr>
        <p:spPr bwMode="auto">
          <a:xfrm>
            <a:off x="4819650" y="4803775"/>
            <a:ext cx="184150" cy="171450"/>
          </a:xfrm>
          <a:custGeom>
            <a:avLst/>
            <a:gdLst>
              <a:gd name="T0" fmla="*/ 0 w 134"/>
              <a:gd name="T1" fmla="*/ 2147483647 h 117"/>
              <a:gd name="T2" fmla="*/ 0 w 134"/>
              <a:gd name="T3" fmla="*/ 2147483647 h 117"/>
              <a:gd name="T4" fmla="*/ 2147483647 w 134"/>
              <a:gd name="T5" fmla="*/ 2147483647 h 117"/>
              <a:gd name="T6" fmla="*/ 2147483647 w 134"/>
              <a:gd name="T7" fmla="*/ 2147483647 h 117"/>
              <a:gd name="T8" fmla="*/ 2147483647 w 134"/>
              <a:gd name="T9" fmla="*/ 2147483647 h 117"/>
              <a:gd name="T10" fmla="*/ 2147483647 w 134"/>
              <a:gd name="T11" fmla="*/ 0 h 117"/>
              <a:gd name="T12" fmla="*/ 2147483647 w 134"/>
              <a:gd name="T13" fmla="*/ 2147483647 h 117"/>
              <a:gd name="T14" fmla="*/ 2147483647 w 134"/>
              <a:gd name="T15" fmla="*/ 2147483647 h 117"/>
              <a:gd name="T16" fmla="*/ 2147483647 w 134"/>
              <a:gd name="T17" fmla="*/ 2147483647 h 117"/>
              <a:gd name="T18" fmla="*/ 2147483647 w 134"/>
              <a:gd name="T19" fmla="*/ 2147483647 h 117"/>
              <a:gd name="T20" fmla="*/ 2147483647 w 134"/>
              <a:gd name="T21" fmla="*/ 2147483647 h 117"/>
              <a:gd name="T22" fmla="*/ 2147483647 w 134"/>
              <a:gd name="T23" fmla="*/ 2147483647 h 117"/>
              <a:gd name="T24" fmla="*/ 0 w 134"/>
              <a:gd name="T25" fmla="*/ 2147483647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4"/>
              <a:gd name="T40" fmla="*/ 0 h 117"/>
              <a:gd name="T41" fmla="*/ 134 w 134"/>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4" h="117">
                <a:moveTo>
                  <a:pt x="0" y="37"/>
                </a:moveTo>
                <a:lnTo>
                  <a:pt x="0" y="36"/>
                </a:lnTo>
                <a:lnTo>
                  <a:pt x="31" y="37"/>
                </a:lnTo>
                <a:lnTo>
                  <a:pt x="60" y="16"/>
                </a:lnTo>
                <a:lnTo>
                  <a:pt x="60" y="6"/>
                </a:lnTo>
                <a:lnTo>
                  <a:pt x="87" y="0"/>
                </a:lnTo>
                <a:lnTo>
                  <a:pt x="127" y="14"/>
                </a:lnTo>
                <a:lnTo>
                  <a:pt x="133" y="31"/>
                </a:lnTo>
                <a:lnTo>
                  <a:pt x="131" y="71"/>
                </a:lnTo>
                <a:lnTo>
                  <a:pt x="108" y="116"/>
                </a:lnTo>
                <a:lnTo>
                  <a:pt x="71" y="107"/>
                </a:lnTo>
                <a:lnTo>
                  <a:pt x="47" y="96"/>
                </a:lnTo>
                <a:lnTo>
                  <a:pt x="0" y="3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2" name="Freeform 174"/>
          <p:cNvSpPr>
            <a:spLocks/>
          </p:cNvSpPr>
          <p:nvPr/>
        </p:nvSpPr>
        <p:spPr bwMode="auto">
          <a:xfrm>
            <a:off x="4510088" y="4833938"/>
            <a:ext cx="311150" cy="296862"/>
          </a:xfrm>
          <a:custGeom>
            <a:avLst/>
            <a:gdLst>
              <a:gd name="T0" fmla="*/ 0 w 226"/>
              <a:gd name="T1" fmla="*/ 2147483647 h 203"/>
              <a:gd name="T2" fmla="*/ 2147483647 w 226"/>
              <a:gd name="T3" fmla="*/ 0 h 203"/>
              <a:gd name="T4" fmla="*/ 2147483647 w 226"/>
              <a:gd name="T5" fmla="*/ 2147483647 h 203"/>
              <a:gd name="T6" fmla="*/ 2147483647 w 226"/>
              <a:gd name="T7" fmla="*/ 2147483647 h 203"/>
              <a:gd name="T8" fmla="*/ 2147483647 w 226"/>
              <a:gd name="T9" fmla="*/ 2147483647 h 203"/>
              <a:gd name="T10" fmla="*/ 2147483647 w 226"/>
              <a:gd name="T11" fmla="*/ 2147483647 h 203"/>
              <a:gd name="T12" fmla="*/ 2147483647 w 226"/>
              <a:gd name="T13" fmla="*/ 2147483647 h 203"/>
              <a:gd name="T14" fmla="*/ 2147483647 w 226"/>
              <a:gd name="T15" fmla="*/ 2147483647 h 203"/>
              <a:gd name="T16" fmla="*/ 2147483647 w 226"/>
              <a:gd name="T17" fmla="*/ 2147483647 h 203"/>
              <a:gd name="T18" fmla="*/ 2147483647 w 226"/>
              <a:gd name="T19" fmla="*/ 2147483647 h 203"/>
              <a:gd name="T20" fmla="*/ 2147483647 w 226"/>
              <a:gd name="T21" fmla="*/ 2147483647 h 203"/>
              <a:gd name="T22" fmla="*/ 2147483647 w 226"/>
              <a:gd name="T23" fmla="*/ 2147483647 h 203"/>
              <a:gd name="T24" fmla="*/ 2147483647 w 226"/>
              <a:gd name="T25" fmla="*/ 2147483647 h 203"/>
              <a:gd name="T26" fmla="*/ 2147483647 w 226"/>
              <a:gd name="T27" fmla="*/ 2147483647 h 203"/>
              <a:gd name="T28" fmla="*/ 2147483647 w 226"/>
              <a:gd name="T29" fmla="*/ 2147483647 h 203"/>
              <a:gd name="T30" fmla="*/ 2147483647 w 226"/>
              <a:gd name="T31" fmla="*/ 2147483647 h 203"/>
              <a:gd name="T32" fmla="*/ 2147483647 w 226"/>
              <a:gd name="T33" fmla="*/ 2147483647 h 203"/>
              <a:gd name="T34" fmla="*/ 2147483647 w 226"/>
              <a:gd name="T35" fmla="*/ 2147483647 h 203"/>
              <a:gd name="T36" fmla="*/ 2147483647 w 226"/>
              <a:gd name="T37" fmla="*/ 2147483647 h 203"/>
              <a:gd name="T38" fmla="*/ 2147483647 w 226"/>
              <a:gd name="T39" fmla="*/ 2147483647 h 203"/>
              <a:gd name="T40" fmla="*/ 0 w 226"/>
              <a:gd name="T41" fmla="*/ 2147483647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6"/>
              <a:gd name="T64" fmla="*/ 0 h 203"/>
              <a:gd name="T65" fmla="*/ 226 w 226"/>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6" h="203">
                <a:moveTo>
                  <a:pt x="0" y="7"/>
                </a:moveTo>
                <a:lnTo>
                  <a:pt x="25" y="0"/>
                </a:lnTo>
                <a:lnTo>
                  <a:pt x="165" y="20"/>
                </a:lnTo>
                <a:lnTo>
                  <a:pt x="194" y="13"/>
                </a:lnTo>
                <a:lnTo>
                  <a:pt x="225" y="15"/>
                </a:lnTo>
                <a:lnTo>
                  <a:pt x="225" y="16"/>
                </a:lnTo>
                <a:lnTo>
                  <a:pt x="199" y="29"/>
                </a:lnTo>
                <a:lnTo>
                  <a:pt x="187" y="20"/>
                </a:lnTo>
                <a:lnTo>
                  <a:pt x="155" y="28"/>
                </a:lnTo>
                <a:lnTo>
                  <a:pt x="155" y="84"/>
                </a:lnTo>
                <a:lnTo>
                  <a:pt x="138" y="85"/>
                </a:lnTo>
                <a:lnTo>
                  <a:pt x="138" y="130"/>
                </a:lnTo>
                <a:lnTo>
                  <a:pt x="138" y="194"/>
                </a:lnTo>
                <a:lnTo>
                  <a:pt x="123" y="202"/>
                </a:lnTo>
                <a:lnTo>
                  <a:pt x="102" y="202"/>
                </a:lnTo>
                <a:lnTo>
                  <a:pt x="91" y="189"/>
                </a:lnTo>
                <a:lnTo>
                  <a:pt x="81" y="196"/>
                </a:lnTo>
                <a:lnTo>
                  <a:pt x="59" y="174"/>
                </a:lnTo>
                <a:lnTo>
                  <a:pt x="48" y="103"/>
                </a:lnTo>
                <a:lnTo>
                  <a:pt x="48" y="95"/>
                </a:lnTo>
                <a:lnTo>
                  <a:pt x="0" y="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3" name="Freeform 175"/>
          <p:cNvSpPr>
            <a:spLocks/>
          </p:cNvSpPr>
          <p:nvPr/>
        </p:nvSpPr>
        <p:spPr bwMode="auto">
          <a:xfrm>
            <a:off x="4692650" y="2149475"/>
            <a:ext cx="3948113" cy="1452563"/>
          </a:xfrm>
          <a:custGeom>
            <a:avLst/>
            <a:gdLst>
              <a:gd name="T0" fmla="*/ 2147483647 w 2867"/>
              <a:gd name="T1" fmla="*/ 2147483647 h 993"/>
              <a:gd name="T2" fmla="*/ 2147483647 w 2867"/>
              <a:gd name="T3" fmla="*/ 2147483647 h 993"/>
              <a:gd name="T4" fmla="*/ 2147483647 w 2867"/>
              <a:gd name="T5" fmla="*/ 2147483647 h 993"/>
              <a:gd name="T6" fmla="*/ 2147483647 w 2867"/>
              <a:gd name="T7" fmla="*/ 2147483647 h 993"/>
              <a:gd name="T8" fmla="*/ 2147483647 w 2867"/>
              <a:gd name="T9" fmla="*/ 2147483647 h 993"/>
              <a:gd name="T10" fmla="*/ 2147483647 w 2867"/>
              <a:gd name="T11" fmla="*/ 2147483647 h 993"/>
              <a:gd name="T12" fmla="*/ 2147483647 w 2867"/>
              <a:gd name="T13" fmla="*/ 2147483647 h 993"/>
              <a:gd name="T14" fmla="*/ 2147483647 w 2867"/>
              <a:gd name="T15" fmla="*/ 2147483647 h 993"/>
              <a:gd name="T16" fmla="*/ 2147483647 w 2867"/>
              <a:gd name="T17" fmla="*/ 2147483647 h 993"/>
              <a:gd name="T18" fmla="*/ 2147483647 w 2867"/>
              <a:gd name="T19" fmla="*/ 2147483647 h 993"/>
              <a:gd name="T20" fmla="*/ 2147483647 w 2867"/>
              <a:gd name="T21" fmla="*/ 2147483647 h 993"/>
              <a:gd name="T22" fmla="*/ 2147483647 w 2867"/>
              <a:gd name="T23" fmla="*/ 2147483647 h 993"/>
              <a:gd name="T24" fmla="*/ 2147483647 w 2867"/>
              <a:gd name="T25" fmla="*/ 2147483647 h 993"/>
              <a:gd name="T26" fmla="*/ 2147483647 w 2867"/>
              <a:gd name="T27" fmla="*/ 2147483647 h 993"/>
              <a:gd name="T28" fmla="*/ 2147483647 w 2867"/>
              <a:gd name="T29" fmla="*/ 2147483647 h 993"/>
              <a:gd name="T30" fmla="*/ 2147483647 w 2867"/>
              <a:gd name="T31" fmla="*/ 2147483647 h 993"/>
              <a:gd name="T32" fmla="*/ 2147483647 w 2867"/>
              <a:gd name="T33" fmla="*/ 2147483647 h 993"/>
              <a:gd name="T34" fmla="*/ 2147483647 w 2867"/>
              <a:gd name="T35" fmla="*/ 2147483647 h 993"/>
              <a:gd name="T36" fmla="*/ 2147483647 w 2867"/>
              <a:gd name="T37" fmla="*/ 2147483647 h 993"/>
              <a:gd name="T38" fmla="*/ 2147483647 w 2867"/>
              <a:gd name="T39" fmla="*/ 2147483647 h 993"/>
              <a:gd name="T40" fmla="*/ 2147483647 w 2867"/>
              <a:gd name="T41" fmla="*/ 2147483647 h 993"/>
              <a:gd name="T42" fmla="*/ 2147483647 w 2867"/>
              <a:gd name="T43" fmla="*/ 2147483647 h 993"/>
              <a:gd name="T44" fmla="*/ 2147483647 w 2867"/>
              <a:gd name="T45" fmla="*/ 2147483647 h 993"/>
              <a:gd name="T46" fmla="*/ 2147483647 w 2867"/>
              <a:gd name="T47" fmla="*/ 2147483647 h 993"/>
              <a:gd name="T48" fmla="*/ 2147483647 w 2867"/>
              <a:gd name="T49" fmla="*/ 2147483647 h 993"/>
              <a:gd name="T50" fmla="*/ 2147483647 w 2867"/>
              <a:gd name="T51" fmla="*/ 2147483647 h 993"/>
              <a:gd name="T52" fmla="*/ 2147483647 w 2867"/>
              <a:gd name="T53" fmla="*/ 2147483647 h 993"/>
              <a:gd name="T54" fmla="*/ 2147483647 w 2867"/>
              <a:gd name="T55" fmla="*/ 2147483647 h 993"/>
              <a:gd name="T56" fmla="*/ 2147483647 w 2867"/>
              <a:gd name="T57" fmla="*/ 2147483647 h 993"/>
              <a:gd name="T58" fmla="*/ 2147483647 w 2867"/>
              <a:gd name="T59" fmla="*/ 2147483647 h 993"/>
              <a:gd name="T60" fmla="*/ 2147483647 w 2867"/>
              <a:gd name="T61" fmla="*/ 2147483647 h 993"/>
              <a:gd name="T62" fmla="*/ 2147483647 w 2867"/>
              <a:gd name="T63" fmla="*/ 2147483647 h 993"/>
              <a:gd name="T64" fmla="*/ 2147483647 w 2867"/>
              <a:gd name="T65" fmla="*/ 2147483647 h 993"/>
              <a:gd name="T66" fmla="*/ 2147483647 w 2867"/>
              <a:gd name="T67" fmla="*/ 2147483647 h 993"/>
              <a:gd name="T68" fmla="*/ 2147483647 w 2867"/>
              <a:gd name="T69" fmla="*/ 2147483647 h 993"/>
              <a:gd name="T70" fmla="*/ 2147483647 w 2867"/>
              <a:gd name="T71" fmla="*/ 2147483647 h 993"/>
              <a:gd name="T72" fmla="*/ 2147483647 w 2867"/>
              <a:gd name="T73" fmla="*/ 2147483647 h 993"/>
              <a:gd name="T74" fmla="*/ 2147483647 w 2867"/>
              <a:gd name="T75" fmla="*/ 2147483647 h 993"/>
              <a:gd name="T76" fmla="*/ 2147483647 w 2867"/>
              <a:gd name="T77" fmla="*/ 2147483647 h 993"/>
              <a:gd name="T78" fmla="*/ 2147483647 w 2867"/>
              <a:gd name="T79" fmla="*/ 2147483647 h 993"/>
              <a:gd name="T80" fmla="*/ 2147483647 w 2867"/>
              <a:gd name="T81" fmla="*/ 2147483647 h 993"/>
              <a:gd name="T82" fmla="*/ 2147483647 w 2867"/>
              <a:gd name="T83" fmla="*/ 2147483647 h 993"/>
              <a:gd name="T84" fmla="*/ 2147483647 w 2867"/>
              <a:gd name="T85" fmla="*/ 2147483647 h 993"/>
              <a:gd name="T86" fmla="*/ 2147483647 w 2867"/>
              <a:gd name="T87" fmla="*/ 2147483647 h 993"/>
              <a:gd name="T88" fmla="*/ 2147483647 w 2867"/>
              <a:gd name="T89" fmla="*/ 2147483647 h 993"/>
              <a:gd name="T90" fmla="*/ 2147483647 w 2867"/>
              <a:gd name="T91" fmla="*/ 2147483647 h 993"/>
              <a:gd name="T92" fmla="*/ 2147483647 w 2867"/>
              <a:gd name="T93" fmla="*/ 2147483647 h 993"/>
              <a:gd name="T94" fmla="*/ 2147483647 w 2867"/>
              <a:gd name="T95" fmla="*/ 2147483647 h 993"/>
              <a:gd name="T96" fmla="*/ 2147483647 w 2867"/>
              <a:gd name="T97" fmla="*/ 2147483647 h 993"/>
              <a:gd name="T98" fmla="*/ 2147483647 w 2867"/>
              <a:gd name="T99" fmla="*/ 2147483647 h 993"/>
              <a:gd name="T100" fmla="*/ 2147483647 w 2867"/>
              <a:gd name="T101" fmla="*/ 2147483647 h 993"/>
              <a:gd name="T102" fmla="*/ 2147483647 w 2867"/>
              <a:gd name="T103" fmla="*/ 2147483647 h 993"/>
              <a:gd name="T104" fmla="*/ 2147483647 w 2867"/>
              <a:gd name="T105" fmla="*/ 2147483647 h 993"/>
              <a:gd name="T106" fmla="*/ 2147483647 w 2867"/>
              <a:gd name="T107" fmla="*/ 2147483647 h 993"/>
              <a:gd name="T108" fmla="*/ 2147483647 w 2867"/>
              <a:gd name="T109" fmla="*/ 2147483647 h 993"/>
              <a:gd name="T110" fmla="*/ 2147483647 w 2867"/>
              <a:gd name="T111" fmla="*/ 2147483647 h 993"/>
              <a:gd name="T112" fmla="*/ 2147483647 w 2867"/>
              <a:gd name="T113" fmla="*/ 2147483647 h 993"/>
              <a:gd name="T114" fmla="*/ 2147483647 w 2867"/>
              <a:gd name="T115" fmla="*/ 2147483647 h 993"/>
              <a:gd name="T116" fmla="*/ 2147483647 w 2867"/>
              <a:gd name="T117" fmla="*/ 2147483647 h 993"/>
              <a:gd name="T118" fmla="*/ 2147483647 w 2867"/>
              <a:gd name="T119" fmla="*/ 2147483647 h 993"/>
              <a:gd name="T120" fmla="*/ 2147483647 w 2867"/>
              <a:gd name="T121" fmla="*/ 2147483647 h 993"/>
              <a:gd name="T122" fmla="*/ 2147483647 w 2867"/>
              <a:gd name="T123" fmla="*/ 2147483647 h 993"/>
              <a:gd name="T124" fmla="*/ 2147483647 w 2867"/>
              <a:gd name="T125" fmla="*/ 2147483647 h 9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67"/>
              <a:gd name="T190" fmla="*/ 0 h 993"/>
              <a:gd name="T191" fmla="*/ 2867 w 2867"/>
              <a:gd name="T192" fmla="*/ 993 h 9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67" h="993">
                <a:moveTo>
                  <a:pt x="0" y="616"/>
                </a:moveTo>
                <a:lnTo>
                  <a:pt x="25" y="598"/>
                </a:lnTo>
                <a:lnTo>
                  <a:pt x="17" y="604"/>
                </a:lnTo>
                <a:lnTo>
                  <a:pt x="27" y="607"/>
                </a:lnTo>
                <a:lnTo>
                  <a:pt x="25" y="566"/>
                </a:lnTo>
                <a:lnTo>
                  <a:pt x="35" y="548"/>
                </a:lnTo>
                <a:lnTo>
                  <a:pt x="49" y="544"/>
                </a:lnTo>
                <a:lnTo>
                  <a:pt x="77" y="562"/>
                </a:lnTo>
                <a:lnTo>
                  <a:pt x="81" y="529"/>
                </a:lnTo>
                <a:lnTo>
                  <a:pt x="69" y="529"/>
                </a:lnTo>
                <a:lnTo>
                  <a:pt x="67" y="509"/>
                </a:lnTo>
                <a:lnTo>
                  <a:pt x="179" y="493"/>
                </a:lnTo>
                <a:lnTo>
                  <a:pt x="151" y="484"/>
                </a:lnTo>
                <a:lnTo>
                  <a:pt x="153" y="474"/>
                </a:lnTo>
                <a:lnTo>
                  <a:pt x="136" y="478"/>
                </a:lnTo>
                <a:lnTo>
                  <a:pt x="199" y="427"/>
                </a:lnTo>
                <a:lnTo>
                  <a:pt x="170" y="373"/>
                </a:lnTo>
                <a:lnTo>
                  <a:pt x="177" y="349"/>
                </a:lnTo>
                <a:lnTo>
                  <a:pt x="162" y="319"/>
                </a:lnTo>
                <a:lnTo>
                  <a:pt x="175" y="301"/>
                </a:lnTo>
                <a:lnTo>
                  <a:pt x="151" y="279"/>
                </a:lnTo>
                <a:lnTo>
                  <a:pt x="159" y="262"/>
                </a:lnTo>
                <a:lnTo>
                  <a:pt x="189" y="242"/>
                </a:lnTo>
                <a:lnTo>
                  <a:pt x="206" y="237"/>
                </a:lnTo>
                <a:lnTo>
                  <a:pt x="227" y="243"/>
                </a:lnTo>
                <a:lnTo>
                  <a:pt x="209" y="249"/>
                </a:lnTo>
                <a:lnTo>
                  <a:pt x="225" y="256"/>
                </a:lnTo>
                <a:lnTo>
                  <a:pt x="273" y="258"/>
                </a:lnTo>
                <a:lnTo>
                  <a:pt x="361" y="301"/>
                </a:lnTo>
                <a:lnTo>
                  <a:pt x="363" y="323"/>
                </a:lnTo>
                <a:lnTo>
                  <a:pt x="324" y="342"/>
                </a:lnTo>
                <a:lnTo>
                  <a:pt x="209" y="316"/>
                </a:lnTo>
                <a:lnTo>
                  <a:pt x="256" y="348"/>
                </a:lnTo>
                <a:lnTo>
                  <a:pt x="254" y="384"/>
                </a:lnTo>
                <a:lnTo>
                  <a:pt x="304" y="400"/>
                </a:lnTo>
                <a:lnTo>
                  <a:pt x="314" y="398"/>
                </a:lnTo>
                <a:lnTo>
                  <a:pt x="307" y="384"/>
                </a:lnTo>
                <a:lnTo>
                  <a:pt x="288" y="376"/>
                </a:lnTo>
                <a:lnTo>
                  <a:pt x="291" y="364"/>
                </a:lnTo>
                <a:lnTo>
                  <a:pt x="311" y="379"/>
                </a:lnTo>
                <a:lnTo>
                  <a:pt x="359" y="384"/>
                </a:lnTo>
                <a:lnTo>
                  <a:pt x="340" y="355"/>
                </a:lnTo>
                <a:lnTo>
                  <a:pt x="382" y="330"/>
                </a:lnTo>
                <a:lnTo>
                  <a:pt x="414" y="348"/>
                </a:lnTo>
                <a:lnTo>
                  <a:pt x="412" y="281"/>
                </a:lnTo>
                <a:lnTo>
                  <a:pt x="398" y="272"/>
                </a:lnTo>
                <a:lnTo>
                  <a:pt x="451" y="287"/>
                </a:lnTo>
                <a:lnTo>
                  <a:pt x="456" y="295"/>
                </a:lnTo>
                <a:lnTo>
                  <a:pt x="427" y="306"/>
                </a:lnTo>
                <a:lnTo>
                  <a:pt x="456" y="327"/>
                </a:lnTo>
                <a:lnTo>
                  <a:pt x="479" y="301"/>
                </a:lnTo>
                <a:lnTo>
                  <a:pt x="574" y="265"/>
                </a:lnTo>
                <a:lnTo>
                  <a:pt x="589" y="264"/>
                </a:lnTo>
                <a:lnTo>
                  <a:pt x="574" y="269"/>
                </a:lnTo>
                <a:lnTo>
                  <a:pt x="590" y="287"/>
                </a:lnTo>
                <a:lnTo>
                  <a:pt x="662" y="264"/>
                </a:lnTo>
                <a:lnTo>
                  <a:pt x="675" y="280"/>
                </a:lnTo>
                <a:lnTo>
                  <a:pt x="694" y="266"/>
                </a:lnTo>
                <a:lnTo>
                  <a:pt x="684" y="247"/>
                </a:lnTo>
                <a:lnTo>
                  <a:pt x="694" y="241"/>
                </a:lnTo>
                <a:lnTo>
                  <a:pt x="748" y="249"/>
                </a:lnTo>
                <a:lnTo>
                  <a:pt x="817" y="286"/>
                </a:lnTo>
                <a:lnTo>
                  <a:pt x="831" y="267"/>
                </a:lnTo>
                <a:lnTo>
                  <a:pt x="815" y="249"/>
                </a:lnTo>
                <a:lnTo>
                  <a:pt x="794" y="247"/>
                </a:lnTo>
                <a:lnTo>
                  <a:pt x="804" y="216"/>
                </a:lnTo>
                <a:lnTo>
                  <a:pt x="788" y="213"/>
                </a:lnTo>
                <a:lnTo>
                  <a:pt x="794" y="200"/>
                </a:lnTo>
                <a:lnTo>
                  <a:pt x="820" y="185"/>
                </a:lnTo>
                <a:lnTo>
                  <a:pt x="836" y="151"/>
                </a:lnTo>
                <a:lnTo>
                  <a:pt x="874" y="151"/>
                </a:lnTo>
                <a:lnTo>
                  <a:pt x="892" y="157"/>
                </a:lnTo>
                <a:lnTo>
                  <a:pt x="877" y="193"/>
                </a:lnTo>
                <a:lnTo>
                  <a:pt x="893" y="212"/>
                </a:lnTo>
                <a:lnTo>
                  <a:pt x="888" y="263"/>
                </a:lnTo>
                <a:lnTo>
                  <a:pt x="904" y="279"/>
                </a:lnTo>
                <a:lnTo>
                  <a:pt x="899" y="299"/>
                </a:lnTo>
                <a:lnTo>
                  <a:pt x="869" y="312"/>
                </a:lnTo>
                <a:lnTo>
                  <a:pt x="879" y="319"/>
                </a:lnTo>
                <a:lnTo>
                  <a:pt x="843" y="326"/>
                </a:lnTo>
                <a:lnTo>
                  <a:pt x="882" y="338"/>
                </a:lnTo>
                <a:lnTo>
                  <a:pt x="926" y="299"/>
                </a:lnTo>
                <a:lnTo>
                  <a:pt x="920" y="272"/>
                </a:lnTo>
                <a:lnTo>
                  <a:pt x="935" y="267"/>
                </a:lnTo>
                <a:lnTo>
                  <a:pt x="957" y="265"/>
                </a:lnTo>
                <a:lnTo>
                  <a:pt x="971" y="278"/>
                </a:lnTo>
                <a:lnTo>
                  <a:pt x="968" y="298"/>
                </a:lnTo>
                <a:lnTo>
                  <a:pt x="996" y="302"/>
                </a:lnTo>
                <a:lnTo>
                  <a:pt x="974" y="297"/>
                </a:lnTo>
                <a:lnTo>
                  <a:pt x="983" y="284"/>
                </a:lnTo>
                <a:lnTo>
                  <a:pt x="976" y="267"/>
                </a:lnTo>
                <a:lnTo>
                  <a:pt x="909" y="258"/>
                </a:lnTo>
                <a:lnTo>
                  <a:pt x="919" y="217"/>
                </a:lnTo>
                <a:lnTo>
                  <a:pt x="898" y="192"/>
                </a:lnTo>
                <a:lnTo>
                  <a:pt x="930" y="170"/>
                </a:lnTo>
                <a:lnTo>
                  <a:pt x="927" y="155"/>
                </a:lnTo>
                <a:lnTo>
                  <a:pt x="940" y="163"/>
                </a:lnTo>
                <a:lnTo>
                  <a:pt x="934" y="197"/>
                </a:lnTo>
                <a:lnTo>
                  <a:pt x="945" y="200"/>
                </a:lnTo>
                <a:lnTo>
                  <a:pt x="988" y="209"/>
                </a:lnTo>
                <a:lnTo>
                  <a:pt x="948" y="183"/>
                </a:lnTo>
                <a:lnTo>
                  <a:pt x="978" y="183"/>
                </a:lnTo>
                <a:lnTo>
                  <a:pt x="972" y="174"/>
                </a:lnTo>
                <a:lnTo>
                  <a:pt x="988" y="169"/>
                </a:lnTo>
                <a:lnTo>
                  <a:pt x="1071" y="190"/>
                </a:lnTo>
                <a:lnTo>
                  <a:pt x="1053" y="204"/>
                </a:lnTo>
                <a:lnTo>
                  <a:pt x="1052" y="222"/>
                </a:lnTo>
                <a:lnTo>
                  <a:pt x="1068" y="234"/>
                </a:lnTo>
                <a:lnTo>
                  <a:pt x="1077" y="190"/>
                </a:lnTo>
                <a:lnTo>
                  <a:pt x="1031" y="166"/>
                </a:lnTo>
                <a:lnTo>
                  <a:pt x="1024" y="133"/>
                </a:lnTo>
                <a:lnTo>
                  <a:pt x="1126" y="122"/>
                </a:lnTo>
                <a:lnTo>
                  <a:pt x="1113" y="93"/>
                </a:lnTo>
                <a:lnTo>
                  <a:pt x="1126" y="99"/>
                </a:lnTo>
                <a:lnTo>
                  <a:pt x="1143" y="86"/>
                </a:lnTo>
                <a:lnTo>
                  <a:pt x="1131" y="84"/>
                </a:lnTo>
                <a:lnTo>
                  <a:pt x="1237" y="62"/>
                </a:lnTo>
                <a:lnTo>
                  <a:pt x="1230" y="53"/>
                </a:lnTo>
                <a:lnTo>
                  <a:pt x="1279" y="51"/>
                </a:lnTo>
                <a:lnTo>
                  <a:pt x="1277" y="60"/>
                </a:lnTo>
                <a:lnTo>
                  <a:pt x="1290" y="60"/>
                </a:lnTo>
                <a:lnTo>
                  <a:pt x="1327" y="48"/>
                </a:lnTo>
                <a:lnTo>
                  <a:pt x="1345" y="55"/>
                </a:lnTo>
                <a:lnTo>
                  <a:pt x="1329" y="40"/>
                </a:lnTo>
                <a:lnTo>
                  <a:pt x="1371" y="37"/>
                </a:lnTo>
                <a:lnTo>
                  <a:pt x="1371" y="22"/>
                </a:lnTo>
                <a:lnTo>
                  <a:pt x="1419" y="0"/>
                </a:lnTo>
                <a:lnTo>
                  <a:pt x="1452" y="12"/>
                </a:lnTo>
                <a:lnTo>
                  <a:pt x="1423" y="26"/>
                </a:lnTo>
                <a:lnTo>
                  <a:pt x="1473" y="24"/>
                </a:lnTo>
                <a:lnTo>
                  <a:pt x="1453" y="40"/>
                </a:lnTo>
                <a:lnTo>
                  <a:pt x="1537" y="33"/>
                </a:lnTo>
                <a:lnTo>
                  <a:pt x="1582" y="60"/>
                </a:lnTo>
                <a:lnTo>
                  <a:pt x="1574" y="70"/>
                </a:lnTo>
                <a:lnTo>
                  <a:pt x="1560" y="62"/>
                </a:lnTo>
                <a:lnTo>
                  <a:pt x="1581" y="71"/>
                </a:lnTo>
                <a:lnTo>
                  <a:pt x="1571" y="85"/>
                </a:lnTo>
                <a:lnTo>
                  <a:pt x="1419" y="162"/>
                </a:lnTo>
                <a:lnTo>
                  <a:pt x="1466" y="152"/>
                </a:lnTo>
                <a:lnTo>
                  <a:pt x="1457" y="144"/>
                </a:lnTo>
                <a:lnTo>
                  <a:pt x="1532" y="129"/>
                </a:lnTo>
                <a:lnTo>
                  <a:pt x="1513" y="130"/>
                </a:lnTo>
                <a:lnTo>
                  <a:pt x="1518" y="117"/>
                </a:lnTo>
                <a:lnTo>
                  <a:pt x="1560" y="129"/>
                </a:lnTo>
                <a:lnTo>
                  <a:pt x="1566" y="117"/>
                </a:lnTo>
                <a:lnTo>
                  <a:pt x="1576" y="143"/>
                </a:lnTo>
                <a:lnTo>
                  <a:pt x="1597" y="144"/>
                </a:lnTo>
                <a:lnTo>
                  <a:pt x="1577" y="133"/>
                </a:lnTo>
                <a:lnTo>
                  <a:pt x="1616" y="129"/>
                </a:lnTo>
                <a:lnTo>
                  <a:pt x="1665" y="133"/>
                </a:lnTo>
                <a:lnTo>
                  <a:pt x="1662" y="144"/>
                </a:lnTo>
                <a:lnTo>
                  <a:pt x="1703" y="151"/>
                </a:lnTo>
                <a:lnTo>
                  <a:pt x="1741" y="148"/>
                </a:lnTo>
                <a:lnTo>
                  <a:pt x="1742" y="126"/>
                </a:lnTo>
                <a:lnTo>
                  <a:pt x="1753" y="122"/>
                </a:lnTo>
                <a:lnTo>
                  <a:pt x="1846" y="148"/>
                </a:lnTo>
                <a:lnTo>
                  <a:pt x="1834" y="190"/>
                </a:lnTo>
                <a:lnTo>
                  <a:pt x="1876" y="216"/>
                </a:lnTo>
                <a:lnTo>
                  <a:pt x="1900" y="179"/>
                </a:lnTo>
                <a:lnTo>
                  <a:pt x="1916" y="197"/>
                </a:lnTo>
                <a:lnTo>
                  <a:pt x="1947" y="190"/>
                </a:lnTo>
                <a:lnTo>
                  <a:pt x="1988" y="204"/>
                </a:lnTo>
                <a:lnTo>
                  <a:pt x="2021" y="194"/>
                </a:lnTo>
                <a:lnTo>
                  <a:pt x="2019" y="178"/>
                </a:lnTo>
                <a:lnTo>
                  <a:pt x="2040" y="154"/>
                </a:lnTo>
                <a:lnTo>
                  <a:pt x="2179" y="172"/>
                </a:lnTo>
                <a:lnTo>
                  <a:pt x="2191" y="183"/>
                </a:lnTo>
                <a:lnTo>
                  <a:pt x="2173" y="188"/>
                </a:lnTo>
                <a:lnTo>
                  <a:pt x="2218" y="194"/>
                </a:lnTo>
                <a:lnTo>
                  <a:pt x="2234" y="213"/>
                </a:lnTo>
                <a:lnTo>
                  <a:pt x="2339" y="209"/>
                </a:lnTo>
                <a:lnTo>
                  <a:pt x="2357" y="223"/>
                </a:lnTo>
                <a:lnTo>
                  <a:pt x="2352" y="242"/>
                </a:lnTo>
                <a:lnTo>
                  <a:pt x="2382" y="254"/>
                </a:lnTo>
                <a:lnTo>
                  <a:pt x="2398" y="244"/>
                </a:lnTo>
                <a:lnTo>
                  <a:pt x="2472" y="250"/>
                </a:lnTo>
                <a:lnTo>
                  <a:pt x="2488" y="242"/>
                </a:lnTo>
                <a:lnTo>
                  <a:pt x="2496" y="257"/>
                </a:lnTo>
                <a:lnTo>
                  <a:pt x="2526" y="270"/>
                </a:lnTo>
                <a:lnTo>
                  <a:pt x="2542" y="262"/>
                </a:lnTo>
                <a:lnTo>
                  <a:pt x="2526" y="247"/>
                </a:lnTo>
                <a:lnTo>
                  <a:pt x="2535" y="234"/>
                </a:lnTo>
                <a:lnTo>
                  <a:pt x="2666" y="251"/>
                </a:lnTo>
                <a:lnTo>
                  <a:pt x="2752" y="300"/>
                </a:lnTo>
                <a:lnTo>
                  <a:pt x="2770" y="300"/>
                </a:lnTo>
                <a:lnTo>
                  <a:pt x="2792" y="335"/>
                </a:lnTo>
                <a:lnTo>
                  <a:pt x="2785" y="316"/>
                </a:lnTo>
                <a:lnTo>
                  <a:pt x="2798" y="314"/>
                </a:lnTo>
                <a:lnTo>
                  <a:pt x="2805" y="322"/>
                </a:lnTo>
                <a:lnTo>
                  <a:pt x="2831" y="319"/>
                </a:lnTo>
                <a:lnTo>
                  <a:pt x="2866" y="340"/>
                </a:lnTo>
                <a:lnTo>
                  <a:pt x="2817" y="363"/>
                </a:lnTo>
                <a:lnTo>
                  <a:pt x="2825" y="369"/>
                </a:lnTo>
                <a:lnTo>
                  <a:pt x="2809" y="376"/>
                </a:lnTo>
                <a:lnTo>
                  <a:pt x="2823" y="384"/>
                </a:lnTo>
                <a:lnTo>
                  <a:pt x="2792" y="385"/>
                </a:lnTo>
                <a:lnTo>
                  <a:pt x="2785" y="370"/>
                </a:lnTo>
                <a:lnTo>
                  <a:pt x="2771" y="376"/>
                </a:lnTo>
                <a:lnTo>
                  <a:pt x="2751" y="355"/>
                </a:lnTo>
                <a:lnTo>
                  <a:pt x="2719" y="355"/>
                </a:lnTo>
                <a:lnTo>
                  <a:pt x="2710" y="342"/>
                </a:lnTo>
                <a:lnTo>
                  <a:pt x="2719" y="335"/>
                </a:lnTo>
                <a:lnTo>
                  <a:pt x="2704" y="335"/>
                </a:lnTo>
                <a:lnTo>
                  <a:pt x="2694" y="340"/>
                </a:lnTo>
                <a:lnTo>
                  <a:pt x="2704" y="356"/>
                </a:lnTo>
                <a:lnTo>
                  <a:pt x="2697" y="364"/>
                </a:lnTo>
                <a:lnTo>
                  <a:pt x="2670" y="379"/>
                </a:lnTo>
                <a:lnTo>
                  <a:pt x="2650" y="376"/>
                </a:lnTo>
                <a:lnTo>
                  <a:pt x="2683" y="419"/>
                </a:lnTo>
                <a:lnTo>
                  <a:pt x="2677" y="435"/>
                </a:lnTo>
                <a:lnTo>
                  <a:pt x="2642" y="422"/>
                </a:lnTo>
                <a:lnTo>
                  <a:pt x="2645" y="431"/>
                </a:lnTo>
                <a:lnTo>
                  <a:pt x="2583" y="450"/>
                </a:lnTo>
                <a:lnTo>
                  <a:pt x="2530" y="493"/>
                </a:lnTo>
                <a:lnTo>
                  <a:pt x="2493" y="478"/>
                </a:lnTo>
                <a:lnTo>
                  <a:pt x="2460" y="497"/>
                </a:lnTo>
                <a:lnTo>
                  <a:pt x="2460" y="480"/>
                </a:lnTo>
                <a:lnTo>
                  <a:pt x="2441" y="497"/>
                </a:lnTo>
                <a:lnTo>
                  <a:pt x="2417" y="495"/>
                </a:lnTo>
                <a:lnTo>
                  <a:pt x="2391" y="536"/>
                </a:lnTo>
                <a:lnTo>
                  <a:pt x="2412" y="544"/>
                </a:lnTo>
                <a:lnTo>
                  <a:pt x="2403" y="558"/>
                </a:lnTo>
                <a:lnTo>
                  <a:pt x="2412" y="580"/>
                </a:lnTo>
                <a:lnTo>
                  <a:pt x="2394" y="576"/>
                </a:lnTo>
                <a:lnTo>
                  <a:pt x="2386" y="595"/>
                </a:lnTo>
                <a:lnTo>
                  <a:pt x="2392" y="613"/>
                </a:lnTo>
                <a:lnTo>
                  <a:pt x="2355" y="626"/>
                </a:lnTo>
                <a:lnTo>
                  <a:pt x="2357" y="644"/>
                </a:lnTo>
                <a:lnTo>
                  <a:pt x="2334" y="650"/>
                </a:lnTo>
                <a:lnTo>
                  <a:pt x="2328" y="672"/>
                </a:lnTo>
                <a:lnTo>
                  <a:pt x="2305" y="693"/>
                </a:lnTo>
                <a:lnTo>
                  <a:pt x="2284" y="613"/>
                </a:lnTo>
                <a:lnTo>
                  <a:pt x="2289" y="568"/>
                </a:lnTo>
                <a:lnTo>
                  <a:pt x="2305" y="542"/>
                </a:lnTo>
                <a:lnTo>
                  <a:pt x="2330" y="537"/>
                </a:lnTo>
                <a:lnTo>
                  <a:pt x="2391" y="481"/>
                </a:lnTo>
                <a:lnTo>
                  <a:pt x="2419" y="471"/>
                </a:lnTo>
                <a:lnTo>
                  <a:pt x="2428" y="438"/>
                </a:lnTo>
                <a:lnTo>
                  <a:pt x="2441" y="431"/>
                </a:lnTo>
                <a:lnTo>
                  <a:pt x="2418" y="431"/>
                </a:lnTo>
                <a:lnTo>
                  <a:pt x="2410" y="456"/>
                </a:lnTo>
                <a:lnTo>
                  <a:pt x="2361" y="478"/>
                </a:lnTo>
                <a:lnTo>
                  <a:pt x="2365" y="445"/>
                </a:lnTo>
                <a:lnTo>
                  <a:pt x="2312" y="451"/>
                </a:lnTo>
                <a:lnTo>
                  <a:pt x="2260" y="497"/>
                </a:lnTo>
                <a:lnTo>
                  <a:pt x="2272" y="513"/>
                </a:lnTo>
                <a:lnTo>
                  <a:pt x="2215" y="519"/>
                </a:lnTo>
                <a:lnTo>
                  <a:pt x="2208" y="514"/>
                </a:lnTo>
                <a:lnTo>
                  <a:pt x="2226" y="511"/>
                </a:lnTo>
                <a:lnTo>
                  <a:pt x="2181" y="499"/>
                </a:lnTo>
                <a:lnTo>
                  <a:pt x="2170" y="511"/>
                </a:lnTo>
                <a:lnTo>
                  <a:pt x="2066" y="511"/>
                </a:lnTo>
                <a:lnTo>
                  <a:pt x="1941" y="612"/>
                </a:lnTo>
                <a:lnTo>
                  <a:pt x="1968" y="614"/>
                </a:lnTo>
                <a:lnTo>
                  <a:pt x="1968" y="633"/>
                </a:lnTo>
                <a:lnTo>
                  <a:pt x="1982" y="622"/>
                </a:lnTo>
                <a:lnTo>
                  <a:pt x="1977" y="637"/>
                </a:lnTo>
                <a:lnTo>
                  <a:pt x="1997" y="629"/>
                </a:lnTo>
                <a:lnTo>
                  <a:pt x="1995" y="637"/>
                </a:lnTo>
                <a:lnTo>
                  <a:pt x="2000" y="622"/>
                </a:lnTo>
                <a:lnTo>
                  <a:pt x="2019" y="622"/>
                </a:lnTo>
                <a:lnTo>
                  <a:pt x="2045" y="642"/>
                </a:lnTo>
                <a:lnTo>
                  <a:pt x="2021" y="644"/>
                </a:lnTo>
                <a:lnTo>
                  <a:pt x="2041" y="651"/>
                </a:lnTo>
                <a:lnTo>
                  <a:pt x="2046" y="666"/>
                </a:lnTo>
                <a:lnTo>
                  <a:pt x="2030" y="697"/>
                </a:lnTo>
                <a:lnTo>
                  <a:pt x="2026" y="743"/>
                </a:lnTo>
                <a:lnTo>
                  <a:pt x="1940" y="842"/>
                </a:lnTo>
                <a:lnTo>
                  <a:pt x="1910" y="856"/>
                </a:lnTo>
                <a:lnTo>
                  <a:pt x="1886" y="842"/>
                </a:lnTo>
                <a:lnTo>
                  <a:pt x="1866" y="861"/>
                </a:lnTo>
                <a:lnTo>
                  <a:pt x="1863" y="858"/>
                </a:lnTo>
                <a:lnTo>
                  <a:pt x="1876" y="842"/>
                </a:lnTo>
                <a:lnTo>
                  <a:pt x="1871" y="818"/>
                </a:lnTo>
                <a:lnTo>
                  <a:pt x="1905" y="808"/>
                </a:lnTo>
                <a:lnTo>
                  <a:pt x="1935" y="742"/>
                </a:lnTo>
                <a:lnTo>
                  <a:pt x="1873" y="757"/>
                </a:lnTo>
                <a:lnTo>
                  <a:pt x="1863" y="733"/>
                </a:lnTo>
                <a:lnTo>
                  <a:pt x="1813" y="718"/>
                </a:lnTo>
                <a:lnTo>
                  <a:pt x="1782" y="650"/>
                </a:lnTo>
                <a:lnTo>
                  <a:pt x="1746" y="638"/>
                </a:lnTo>
                <a:lnTo>
                  <a:pt x="1687" y="656"/>
                </a:lnTo>
                <a:lnTo>
                  <a:pt x="1698" y="671"/>
                </a:lnTo>
                <a:lnTo>
                  <a:pt x="1672" y="709"/>
                </a:lnTo>
                <a:lnTo>
                  <a:pt x="1648" y="720"/>
                </a:lnTo>
                <a:lnTo>
                  <a:pt x="1625" y="712"/>
                </a:lnTo>
                <a:lnTo>
                  <a:pt x="1593" y="707"/>
                </a:lnTo>
                <a:lnTo>
                  <a:pt x="1513" y="726"/>
                </a:lnTo>
                <a:lnTo>
                  <a:pt x="1443" y="699"/>
                </a:lnTo>
                <a:lnTo>
                  <a:pt x="1400" y="704"/>
                </a:lnTo>
                <a:lnTo>
                  <a:pt x="1383" y="680"/>
                </a:lnTo>
                <a:lnTo>
                  <a:pt x="1339" y="666"/>
                </a:lnTo>
                <a:lnTo>
                  <a:pt x="1314" y="681"/>
                </a:lnTo>
                <a:lnTo>
                  <a:pt x="1313" y="712"/>
                </a:lnTo>
                <a:lnTo>
                  <a:pt x="1213" y="698"/>
                </a:lnTo>
                <a:lnTo>
                  <a:pt x="1146" y="731"/>
                </a:lnTo>
                <a:lnTo>
                  <a:pt x="1113" y="743"/>
                </a:lnTo>
                <a:lnTo>
                  <a:pt x="1108" y="770"/>
                </a:lnTo>
                <a:lnTo>
                  <a:pt x="1064" y="769"/>
                </a:lnTo>
                <a:lnTo>
                  <a:pt x="1055" y="806"/>
                </a:lnTo>
                <a:lnTo>
                  <a:pt x="1014" y="814"/>
                </a:lnTo>
                <a:lnTo>
                  <a:pt x="1026" y="842"/>
                </a:lnTo>
                <a:lnTo>
                  <a:pt x="1017" y="868"/>
                </a:lnTo>
                <a:lnTo>
                  <a:pt x="953" y="899"/>
                </a:lnTo>
                <a:lnTo>
                  <a:pt x="914" y="905"/>
                </a:lnTo>
                <a:lnTo>
                  <a:pt x="909" y="927"/>
                </a:lnTo>
                <a:lnTo>
                  <a:pt x="927" y="935"/>
                </a:lnTo>
                <a:lnTo>
                  <a:pt x="927" y="956"/>
                </a:lnTo>
                <a:lnTo>
                  <a:pt x="904" y="951"/>
                </a:lnTo>
                <a:lnTo>
                  <a:pt x="875" y="965"/>
                </a:lnTo>
                <a:lnTo>
                  <a:pt x="862" y="935"/>
                </a:lnTo>
                <a:lnTo>
                  <a:pt x="836" y="958"/>
                </a:lnTo>
                <a:lnTo>
                  <a:pt x="763" y="956"/>
                </a:lnTo>
                <a:lnTo>
                  <a:pt x="726" y="992"/>
                </a:lnTo>
                <a:lnTo>
                  <a:pt x="700" y="980"/>
                </a:lnTo>
                <a:lnTo>
                  <a:pt x="698" y="968"/>
                </a:lnTo>
                <a:lnTo>
                  <a:pt x="631" y="935"/>
                </a:lnTo>
                <a:lnTo>
                  <a:pt x="577" y="951"/>
                </a:lnTo>
                <a:lnTo>
                  <a:pt x="578" y="923"/>
                </a:lnTo>
                <a:lnTo>
                  <a:pt x="567" y="916"/>
                </a:lnTo>
                <a:lnTo>
                  <a:pt x="575" y="908"/>
                </a:lnTo>
                <a:lnTo>
                  <a:pt x="559" y="907"/>
                </a:lnTo>
                <a:lnTo>
                  <a:pt x="559" y="884"/>
                </a:lnTo>
                <a:lnTo>
                  <a:pt x="583" y="893"/>
                </a:lnTo>
                <a:lnTo>
                  <a:pt x="590" y="884"/>
                </a:lnTo>
                <a:lnTo>
                  <a:pt x="569" y="868"/>
                </a:lnTo>
                <a:lnTo>
                  <a:pt x="559" y="883"/>
                </a:lnTo>
                <a:lnTo>
                  <a:pt x="556" y="851"/>
                </a:lnTo>
                <a:lnTo>
                  <a:pt x="533" y="844"/>
                </a:lnTo>
                <a:lnTo>
                  <a:pt x="514" y="819"/>
                </a:lnTo>
                <a:lnTo>
                  <a:pt x="536" y="819"/>
                </a:lnTo>
                <a:lnTo>
                  <a:pt x="535" y="807"/>
                </a:lnTo>
                <a:lnTo>
                  <a:pt x="548" y="801"/>
                </a:lnTo>
                <a:lnTo>
                  <a:pt x="590" y="808"/>
                </a:lnTo>
                <a:lnTo>
                  <a:pt x="556" y="769"/>
                </a:lnTo>
                <a:lnTo>
                  <a:pt x="487" y="778"/>
                </a:lnTo>
                <a:lnTo>
                  <a:pt x="495" y="783"/>
                </a:lnTo>
                <a:lnTo>
                  <a:pt x="480" y="793"/>
                </a:lnTo>
                <a:lnTo>
                  <a:pt x="469" y="784"/>
                </a:lnTo>
                <a:lnTo>
                  <a:pt x="457" y="822"/>
                </a:lnTo>
                <a:lnTo>
                  <a:pt x="472" y="830"/>
                </a:lnTo>
                <a:lnTo>
                  <a:pt x="483" y="869"/>
                </a:lnTo>
                <a:lnTo>
                  <a:pt x="517" y="899"/>
                </a:lnTo>
                <a:lnTo>
                  <a:pt x="504" y="902"/>
                </a:lnTo>
                <a:lnTo>
                  <a:pt x="493" y="933"/>
                </a:lnTo>
                <a:lnTo>
                  <a:pt x="478" y="927"/>
                </a:lnTo>
                <a:lnTo>
                  <a:pt x="475" y="912"/>
                </a:lnTo>
                <a:lnTo>
                  <a:pt x="446" y="926"/>
                </a:lnTo>
                <a:lnTo>
                  <a:pt x="421" y="908"/>
                </a:lnTo>
                <a:lnTo>
                  <a:pt x="390" y="876"/>
                </a:lnTo>
                <a:lnTo>
                  <a:pt x="368" y="876"/>
                </a:lnTo>
                <a:lnTo>
                  <a:pt x="366" y="851"/>
                </a:lnTo>
                <a:lnTo>
                  <a:pt x="288" y="807"/>
                </a:lnTo>
                <a:lnTo>
                  <a:pt x="319" y="788"/>
                </a:lnTo>
                <a:lnTo>
                  <a:pt x="306" y="778"/>
                </a:lnTo>
                <a:lnTo>
                  <a:pt x="328" y="765"/>
                </a:lnTo>
                <a:lnTo>
                  <a:pt x="263" y="783"/>
                </a:lnTo>
                <a:lnTo>
                  <a:pt x="259" y="793"/>
                </a:lnTo>
                <a:lnTo>
                  <a:pt x="240" y="786"/>
                </a:lnTo>
                <a:lnTo>
                  <a:pt x="262" y="804"/>
                </a:lnTo>
                <a:lnTo>
                  <a:pt x="288" y="801"/>
                </a:lnTo>
                <a:lnTo>
                  <a:pt x="243" y="822"/>
                </a:lnTo>
                <a:lnTo>
                  <a:pt x="219" y="801"/>
                </a:lnTo>
                <a:lnTo>
                  <a:pt x="238" y="790"/>
                </a:lnTo>
                <a:lnTo>
                  <a:pt x="206" y="786"/>
                </a:lnTo>
                <a:lnTo>
                  <a:pt x="209" y="775"/>
                </a:lnTo>
                <a:lnTo>
                  <a:pt x="179" y="783"/>
                </a:lnTo>
                <a:lnTo>
                  <a:pt x="169" y="802"/>
                </a:lnTo>
                <a:lnTo>
                  <a:pt x="144" y="801"/>
                </a:lnTo>
                <a:lnTo>
                  <a:pt x="142" y="775"/>
                </a:lnTo>
                <a:lnTo>
                  <a:pt x="120" y="745"/>
                </a:lnTo>
                <a:lnTo>
                  <a:pt x="54" y="752"/>
                </a:lnTo>
                <a:lnTo>
                  <a:pt x="42" y="743"/>
                </a:lnTo>
                <a:lnTo>
                  <a:pt x="48" y="729"/>
                </a:lnTo>
                <a:lnTo>
                  <a:pt x="75" y="698"/>
                </a:lnTo>
                <a:lnTo>
                  <a:pt x="61" y="662"/>
                </a:lnTo>
                <a:lnTo>
                  <a:pt x="72" y="654"/>
                </a:lnTo>
                <a:lnTo>
                  <a:pt x="65" y="626"/>
                </a:lnTo>
                <a:lnTo>
                  <a:pt x="0" y="61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4" name="Freeform 176"/>
          <p:cNvSpPr>
            <a:spLocks/>
          </p:cNvSpPr>
          <p:nvPr/>
        </p:nvSpPr>
        <p:spPr bwMode="auto">
          <a:xfrm>
            <a:off x="5319713" y="1984375"/>
            <a:ext cx="109537" cy="52388"/>
          </a:xfrm>
          <a:custGeom>
            <a:avLst/>
            <a:gdLst>
              <a:gd name="T0" fmla="*/ 0 w 80"/>
              <a:gd name="T1" fmla="*/ 2147483647 h 36"/>
              <a:gd name="T2" fmla="*/ 2147483647 w 80"/>
              <a:gd name="T3" fmla="*/ 2147483647 h 36"/>
              <a:gd name="T4" fmla="*/ 2147483647 w 80"/>
              <a:gd name="T5" fmla="*/ 2147483647 h 36"/>
              <a:gd name="T6" fmla="*/ 2147483647 w 80"/>
              <a:gd name="T7" fmla="*/ 0 h 36"/>
              <a:gd name="T8" fmla="*/ 2147483647 w 80"/>
              <a:gd name="T9" fmla="*/ 2147483647 h 36"/>
              <a:gd name="T10" fmla="*/ 2147483647 w 80"/>
              <a:gd name="T11" fmla="*/ 2147483647 h 36"/>
              <a:gd name="T12" fmla="*/ 2147483647 w 80"/>
              <a:gd name="T13" fmla="*/ 2147483647 h 36"/>
              <a:gd name="T14" fmla="*/ 2147483647 w 80"/>
              <a:gd name="T15" fmla="*/ 2147483647 h 36"/>
              <a:gd name="T16" fmla="*/ 2147483647 w 80"/>
              <a:gd name="T17" fmla="*/ 2147483647 h 36"/>
              <a:gd name="T18" fmla="*/ 2147483647 w 80"/>
              <a:gd name="T19" fmla="*/ 2147483647 h 36"/>
              <a:gd name="T20" fmla="*/ 0 w 80"/>
              <a:gd name="T21" fmla="*/ 2147483647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36"/>
              <a:gd name="T35" fmla="*/ 80 w 80"/>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36">
                <a:moveTo>
                  <a:pt x="0" y="26"/>
                </a:moveTo>
                <a:lnTo>
                  <a:pt x="17" y="19"/>
                </a:lnTo>
                <a:lnTo>
                  <a:pt x="4" y="11"/>
                </a:lnTo>
                <a:lnTo>
                  <a:pt x="61" y="0"/>
                </a:lnTo>
                <a:lnTo>
                  <a:pt x="71" y="1"/>
                </a:lnTo>
                <a:lnTo>
                  <a:pt x="61" y="9"/>
                </a:lnTo>
                <a:lnTo>
                  <a:pt x="79" y="8"/>
                </a:lnTo>
                <a:lnTo>
                  <a:pt x="29" y="28"/>
                </a:lnTo>
                <a:lnTo>
                  <a:pt x="17" y="35"/>
                </a:lnTo>
                <a:lnTo>
                  <a:pt x="17" y="27"/>
                </a:lnTo>
                <a:lnTo>
                  <a:pt x="0" y="2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5" name="Freeform 177"/>
          <p:cNvSpPr>
            <a:spLocks/>
          </p:cNvSpPr>
          <p:nvPr/>
        </p:nvSpPr>
        <p:spPr bwMode="auto">
          <a:xfrm>
            <a:off x="5351463" y="2514600"/>
            <a:ext cx="50800" cy="28575"/>
          </a:xfrm>
          <a:custGeom>
            <a:avLst/>
            <a:gdLst>
              <a:gd name="T0" fmla="*/ 0 w 36"/>
              <a:gd name="T1" fmla="*/ 2147483647 h 19"/>
              <a:gd name="T2" fmla="*/ 2147483647 w 36"/>
              <a:gd name="T3" fmla="*/ 0 h 19"/>
              <a:gd name="T4" fmla="*/ 2147483647 w 36"/>
              <a:gd name="T5" fmla="*/ 2147483647 h 19"/>
              <a:gd name="T6" fmla="*/ 0 w 36"/>
              <a:gd name="T7" fmla="*/ 2147483647 h 19"/>
              <a:gd name="T8" fmla="*/ 0 60000 65536"/>
              <a:gd name="T9" fmla="*/ 0 60000 65536"/>
              <a:gd name="T10" fmla="*/ 0 60000 65536"/>
              <a:gd name="T11" fmla="*/ 0 60000 65536"/>
              <a:gd name="T12" fmla="*/ 0 w 36"/>
              <a:gd name="T13" fmla="*/ 0 h 19"/>
              <a:gd name="T14" fmla="*/ 36 w 36"/>
              <a:gd name="T15" fmla="*/ 19 h 19"/>
            </a:gdLst>
            <a:ahLst/>
            <a:cxnLst>
              <a:cxn ang="T8">
                <a:pos x="T0" y="T1"/>
              </a:cxn>
              <a:cxn ang="T9">
                <a:pos x="T2" y="T3"/>
              </a:cxn>
              <a:cxn ang="T10">
                <a:pos x="T4" y="T5"/>
              </a:cxn>
              <a:cxn ang="T11">
                <a:pos x="T6" y="T7"/>
              </a:cxn>
            </a:cxnLst>
            <a:rect l="T12" t="T13" r="T14" b="T15"/>
            <a:pathLst>
              <a:path w="36" h="19">
                <a:moveTo>
                  <a:pt x="0" y="18"/>
                </a:moveTo>
                <a:lnTo>
                  <a:pt x="9" y="0"/>
                </a:lnTo>
                <a:lnTo>
                  <a:pt x="35" y="12"/>
                </a:lnTo>
                <a:lnTo>
                  <a:pt x="0" y="1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6" name="Freeform 178"/>
          <p:cNvSpPr>
            <a:spLocks/>
          </p:cNvSpPr>
          <p:nvPr/>
        </p:nvSpPr>
        <p:spPr bwMode="auto">
          <a:xfrm>
            <a:off x="5427663" y="2360613"/>
            <a:ext cx="144462" cy="106362"/>
          </a:xfrm>
          <a:custGeom>
            <a:avLst/>
            <a:gdLst>
              <a:gd name="T0" fmla="*/ 0 w 105"/>
              <a:gd name="T1" fmla="*/ 2147483647 h 73"/>
              <a:gd name="T2" fmla="*/ 2147483647 w 105"/>
              <a:gd name="T3" fmla="*/ 2147483647 h 73"/>
              <a:gd name="T4" fmla="*/ 2147483647 w 105"/>
              <a:gd name="T5" fmla="*/ 2147483647 h 73"/>
              <a:gd name="T6" fmla="*/ 2147483647 w 105"/>
              <a:gd name="T7" fmla="*/ 2147483647 h 73"/>
              <a:gd name="T8" fmla="*/ 2147483647 w 105"/>
              <a:gd name="T9" fmla="*/ 2147483647 h 73"/>
              <a:gd name="T10" fmla="*/ 2147483647 w 105"/>
              <a:gd name="T11" fmla="*/ 2147483647 h 73"/>
              <a:gd name="T12" fmla="*/ 2147483647 w 105"/>
              <a:gd name="T13" fmla="*/ 2147483647 h 73"/>
              <a:gd name="T14" fmla="*/ 2147483647 w 105"/>
              <a:gd name="T15" fmla="*/ 2147483647 h 73"/>
              <a:gd name="T16" fmla="*/ 2147483647 w 105"/>
              <a:gd name="T17" fmla="*/ 2147483647 h 73"/>
              <a:gd name="T18" fmla="*/ 2147483647 w 105"/>
              <a:gd name="T19" fmla="*/ 2147483647 h 73"/>
              <a:gd name="T20" fmla="*/ 2147483647 w 105"/>
              <a:gd name="T21" fmla="*/ 0 h 73"/>
              <a:gd name="T22" fmla="*/ 2147483647 w 105"/>
              <a:gd name="T23" fmla="*/ 2147483647 h 73"/>
              <a:gd name="T24" fmla="*/ 2147483647 w 105"/>
              <a:gd name="T25" fmla="*/ 2147483647 h 73"/>
              <a:gd name="T26" fmla="*/ 0 w 105"/>
              <a:gd name="T27" fmla="*/ 2147483647 h 7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73"/>
              <a:gd name="T44" fmla="*/ 105 w 105"/>
              <a:gd name="T45" fmla="*/ 73 h 7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73">
                <a:moveTo>
                  <a:pt x="0" y="36"/>
                </a:moveTo>
                <a:lnTo>
                  <a:pt x="9" y="51"/>
                </a:lnTo>
                <a:lnTo>
                  <a:pt x="20" y="46"/>
                </a:lnTo>
                <a:lnTo>
                  <a:pt x="34" y="57"/>
                </a:lnTo>
                <a:lnTo>
                  <a:pt x="43" y="51"/>
                </a:lnTo>
                <a:lnTo>
                  <a:pt x="39" y="70"/>
                </a:lnTo>
                <a:lnTo>
                  <a:pt x="104" y="72"/>
                </a:lnTo>
                <a:lnTo>
                  <a:pt x="79" y="60"/>
                </a:lnTo>
                <a:lnTo>
                  <a:pt x="66" y="38"/>
                </a:lnTo>
                <a:lnTo>
                  <a:pt x="69" y="14"/>
                </a:lnTo>
                <a:lnTo>
                  <a:pt x="83" y="0"/>
                </a:lnTo>
                <a:lnTo>
                  <a:pt x="28" y="2"/>
                </a:lnTo>
                <a:lnTo>
                  <a:pt x="14" y="35"/>
                </a:lnTo>
                <a:lnTo>
                  <a:pt x="0" y="3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7" name="Freeform 179"/>
          <p:cNvSpPr>
            <a:spLocks/>
          </p:cNvSpPr>
          <p:nvPr/>
        </p:nvSpPr>
        <p:spPr bwMode="auto">
          <a:xfrm>
            <a:off x="5483225" y="2185988"/>
            <a:ext cx="354013" cy="171450"/>
          </a:xfrm>
          <a:custGeom>
            <a:avLst/>
            <a:gdLst>
              <a:gd name="T0" fmla="*/ 0 w 257"/>
              <a:gd name="T1" fmla="*/ 2147483647 h 117"/>
              <a:gd name="T2" fmla="*/ 2147483647 w 257"/>
              <a:gd name="T3" fmla="*/ 2147483647 h 117"/>
              <a:gd name="T4" fmla="*/ 2147483647 w 257"/>
              <a:gd name="T5" fmla="*/ 2147483647 h 117"/>
              <a:gd name="T6" fmla="*/ 2147483647 w 257"/>
              <a:gd name="T7" fmla="*/ 2147483647 h 117"/>
              <a:gd name="T8" fmla="*/ 2147483647 w 257"/>
              <a:gd name="T9" fmla="*/ 2147483647 h 117"/>
              <a:gd name="T10" fmla="*/ 2147483647 w 257"/>
              <a:gd name="T11" fmla="*/ 2147483647 h 117"/>
              <a:gd name="T12" fmla="*/ 2147483647 w 257"/>
              <a:gd name="T13" fmla="*/ 2147483647 h 117"/>
              <a:gd name="T14" fmla="*/ 2147483647 w 257"/>
              <a:gd name="T15" fmla="*/ 2147483647 h 117"/>
              <a:gd name="T16" fmla="*/ 2147483647 w 257"/>
              <a:gd name="T17" fmla="*/ 2147483647 h 117"/>
              <a:gd name="T18" fmla="*/ 2147483647 w 257"/>
              <a:gd name="T19" fmla="*/ 2147483647 h 117"/>
              <a:gd name="T20" fmla="*/ 2147483647 w 257"/>
              <a:gd name="T21" fmla="*/ 2147483647 h 117"/>
              <a:gd name="T22" fmla="*/ 2147483647 w 257"/>
              <a:gd name="T23" fmla="*/ 2147483647 h 117"/>
              <a:gd name="T24" fmla="*/ 2147483647 w 257"/>
              <a:gd name="T25" fmla="*/ 2147483647 h 117"/>
              <a:gd name="T26" fmla="*/ 2147483647 w 257"/>
              <a:gd name="T27" fmla="*/ 2147483647 h 117"/>
              <a:gd name="T28" fmla="*/ 2147483647 w 257"/>
              <a:gd name="T29" fmla="*/ 2147483647 h 117"/>
              <a:gd name="T30" fmla="*/ 2147483647 w 257"/>
              <a:gd name="T31" fmla="*/ 2147483647 h 117"/>
              <a:gd name="T32" fmla="*/ 2147483647 w 257"/>
              <a:gd name="T33" fmla="*/ 2147483647 h 117"/>
              <a:gd name="T34" fmla="*/ 2147483647 w 257"/>
              <a:gd name="T35" fmla="*/ 2147483647 h 117"/>
              <a:gd name="T36" fmla="*/ 2147483647 w 257"/>
              <a:gd name="T37" fmla="*/ 0 h 117"/>
              <a:gd name="T38" fmla="*/ 2147483647 w 257"/>
              <a:gd name="T39" fmla="*/ 2147483647 h 117"/>
              <a:gd name="T40" fmla="*/ 2147483647 w 257"/>
              <a:gd name="T41" fmla="*/ 2147483647 h 117"/>
              <a:gd name="T42" fmla="*/ 2147483647 w 257"/>
              <a:gd name="T43" fmla="*/ 2147483647 h 117"/>
              <a:gd name="T44" fmla="*/ 2147483647 w 257"/>
              <a:gd name="T45" fmla="*/ 2147483647 h 117"/>
              <a:gd name="T46" fmla="*/ 2147483647 w 257"/>
              <a:gd name="T47" fmla="*/ 2147483647 h 117"/>
              <a:gd name="T48" fmla="*/ 2147483647 w 257"/>
              <a:gd name="T49" fmla="*/ 2147483647 h 117"/>
              <a:gd name="T50" fmla="*/ 2147483647 w 257"/>
              <a:gd name="T51" fmla="*/ 2147483647 h 117"/>
              <a:gd name="T52" fmla="*/ 2147483647 w 257"/>
              <a:gd name="T53" fmla="*/ 2147483647 h 117"/>
              <a:gd name="T54" fmla="*/ 2147483647 w 257"/>
              <a:gd name="T55" fmla="*/ 2147483647 h 117"/>
              <a:gd name="T56" fmla="*/ 2147483647 w 257"/>
              <a:gd name="T57" fmla="*/ 2147483647 h 117"/>
              <a:gd name="T58" fmla="*/ 0 w 257"/>
              <a:gd name="T59" fmla="*/ 2147483647 h 11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7"/>
              <a:gd name="T91" fmla="*/ 0 h 117"/>
              <a:gd name="T92" fmla="*/ 257 w 257"/>
              <a:gd name="T93" fmla="*/ 117 h 11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7" h="117">
                <a:moveTo>
                  <a:pt x="0" y="101"/>
                </a:moveTo>
                <a:lnTo>
                  <a:pt x="25" y="104"/>
                </a:lnTo>
                <a:lnTo>
                  <a:pt x="7" y="114"/>
                </a:lnTo>
                <a:lnTo>
                  <a:pt x="50" y="116"/>
                </a:lnTo>
                <a:lnTo>
                  <a:pt x="53" y="104"/>
                </a:lnTo>
                <a:lnTo>
                  <a:pt x="64" y="106"/>
                </a:lnTo>
                <a:lnTo>
                  <a:pt x="50" y="99"/>
                </a:lnTo>
                <a:lnTo>
                  <a:pt x="69" y="101"/>
                </a:lnTo>
                <a:lnTo>
                  <a:pt x="65" y="86"/>
                </a:lnTo>
                <a:lnTo>
                  <a:pt x="74" y="95"/>
                </a:lnTo>
                <a:lnTo>
                  <a:pt x="85" y="87"/>
                </a:lnTo>
                <a:lnTo>
                  <a:pt x="76" y="77"/>
                </a:lnTo>
                <a:lnTo>
                  <a:pt x="105" y="78"/>
                </a:lnTo>
                <a:lnTo>
                  <a:pt x="96" y="71"/>
                </a:lnTo>
                <a:lnTo>
                  <a:pt x="110" y="73"/>
                </a:lnTo>
                <a:lnTo>
                  <a:pt x="114" y="60"/>
                </a:lnTo>
                <a:lnTo>
                  <a:pt x="242" y="24"/>
                </a:lnTo>
                <a:lnTo>
                  <a:pt x="256" y="10"/>
                </a:lnTo>
                <a:lnTo>
                  <a:pt x="231" y="0"/>
                </a:lnTo>
                <a:lnTo>
                  <a:pt x="178" y="22"/>
                </a:lnTo>
                <a:lnTo>
                  <a:pt x="122" y="22"/>
                </a:lnTo>
                <a:lnTo>
                  <a:pt x="63" y="55"/>
                </a:lnTo>
                <a:lnTo>
                  <a:pt x="32" y="58"/>
                </a:lnTo>
                <a:lnTo>
                  <a:pt x="33" y="71"/>
                </a:lnTo>
                <a:lnTo>
                  <a:pt x="49" y="73"/>
                </a:lnTo>
                <a:lnTo>
                  <a:pt x="31" y="74"/>
                </a:lnTo>
                <a:lnTo>
                  <a:pt x="39" y="81"/>
                </a:lnTo>
                <a:lnTo>
                  <a:pt x="25" y="87"/>
                </a:lnTo>
                <a:lnTo>
                  <a:pt x="41" y="93"/>
                </a:lnTo>
                <a:lnTo>
                  <a:pt x="0" y="10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8" name="Freeform 180"/>
          <p:cNvSpPr>
            <a:spLocks/>
          </p:cNvSpPr>
          <p:nvPr/>
        </p:nvSpPr>
        <p:spPr bwMode="auto">
          <a:xfrm>
            <a:off x="5683250" y="1958975"/>
            <a:ext cx="73025" cy="34925"/>
          </a:xfrm>
          <a:custGeom>
            <a:avLst/>
            <a:gdLst>
              <a:gd name="T0" fmla="*/ 0 w 54"/>
              <a:gd name="T1" fmla="*/ 2147483647 h 23"/>
              <a:gd name="T2" fmla="*/ 2147483647 w 54"/>
              <a:gd name="T3" fmla="*/ 2147483647 h 23"/>
              <a:gd name="T4" fmla="*/ 2147483647 w 54"/>
              <a:gd name="T5" fmla="*/ 2147483647 h 23"/>
              <a:gd name="T6" fmla="*/ 2147483647 w 54"/>
              <a:gd name="T7" fmla="*/ 0 h 23"/>
              <a:gd name="T8" fmla="*/ 0 w 54"/>
              <a:gd name="T9" fmla="*/ 2147483647 h 23"/>
              <a:gd name="T10" fmla="*/ 0 60000 65536"/>
              <a:gd name="T11" fmla="*/ 0 60000 65536"/>
              <a:gd name="T12" fmla="*/ 0 60000 65536"/>
              <a:gd name="T13" fmla="*/ 0 60000 65536"/>
              <a:gd name="T14" fmla="*/ 0 60000 65536"/>
              <a:gd name="T15" fmla="*/ 0 w 54"/>
              <a:gd name="T16" fmla="*/ 0 h 23"/>
              <a:gd name="T17" fmla="*/ 54 w 54"/>
              <a:gd name="T18" fmla="*/ 23 h 23"/>
            </a:gdLst>
            <a:ahLst/>
            <a:cxnLst>
              <a:cxn ang="T10">
                <a:pos x="T0" y="T1"/>
              </a:cxn>
              <a:cxn ang="T11">
                <a:pos x="T2" y="T3"/>
              </a:cxn>
              <a:cxn ang="T12">
                <a:pos x="T4" y="T5"/>
              </a:cxn>
              <a:cxn ang="T13">
                <a:pos x="T6" y="T7"/>
              </a:cxn>
              <a:cxn ang="T14">
                <a:pos x="T8" y="T9"/>
              </a:cxn>
            </a:cxnLst>
            <a:rect l="T15" t="T16" r="T17" b="T18"/>
            <a:pathLst>
              <a:path w="54" h="23">
                <a:moveTo>
                  <a:pt x="0" y="15"/>
                </a:moveTo>
                <a:lnTo>
                  <a:pt x="16" y="22"/>
                </a:lnTo>
                <a:lnTo>
                  <a:pt x="53" y="15"/>
                </a:lnTo>
                <a:lnTo>
                  <a:pt x="30" y="0"/>
                </a:lnTo>
                <a:lnTo>
                  <a:pt x="0" y="1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89" name="Freeform 181"/>
          <p:cNvSpPr>
            <a:spLocks/>
          </p:cNvSpPr>
          <p:nvPr/>
        </p:nvSpPr>
        <p:spPr bwMode="auto">
          <a:xfrm>
            <a:off x="6346825" y="2028825"/>
            <a:ext cx="63500" cy="23813"/>
          </a:xfrm>
          <a:custGeom>
            <a:avLst/>
            <a:gdLst>
              <a:gd name="T0" fmla="*/ 0 w 46"/>
              <a:gd name="T1" fmla="*/ 0 h 17"/>
              <a:gd name="T2" fmla="*/ 2147483647 w 46"/>
              <a:gd name="T3" fmla="*/ 2147483647 h 17"/>
              <a:gd name="T4" fmla="*/ 2147483647 w 46"/>
              <a:gd name="T5" fmla="*/ 2147483647 h 17"/>
              <a:gd name="T6" fmla="*/ 2147483647 w 46"/>
              <a:gd name="T7" fmla="*/ 2147483647 h 17"/>
              <a:gd name="T8" fmla="*/ 2147483647 w 46"/>
              <a:gd name="T9" fmla="*/ 2147483647 h 17"/>
              <a:gd name="T10" fmla="*/ 0 w 46"/>
              <a:gd name="T11" fmla="*/ 0 h 17"/>
              <a:gd name="T12" fmla="*/ 0 60000 65536"/>
              <a:gd name="T13" fmla="*/ 0 60000 65536"/>
              <a:gd name="T14" fmla="*/ 0 60000 65536"/>
              <a:gd name="T15" fmla="*/ 0 60000 65536"/>
              <a:gd name="T16" fmla="*/ 0 60000 65536"/>
              <a:gd name="T17" fmla="*/ 0 60000 65536"/>
              <a:gd name="T18" fmla="*/ 0 w 46"/>
              <a:gd name="T19" fmla="*/ 0 h 17"/>
              <a:gd name="T20" fmla="*/ 46 w 4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46" h="17">
                <a:moveTo>
                  <a:pt x="0" y="0"/>
                </a:moveTo>
                <a:lnTo>
                  <a:pt x="20" y="13"/>
                </a:lnTo>
                <a:lnTo>
                  <a:pt x="13" y="16"/>
                </a:lnTo>
                <a:lnTo>
                  <a:pt x="31" y="14"/>
                </a:lnTo>
                <a:lnTo>
                  <a:pt x="45" y="7"/>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0" name="Freeform 182"/>
          <p:cNvSpPr>
            <a:spLocks/>
          </p:cNvSpPr>
          <p:nvPr/>
        </p:nvSpPr>
        <p:spPr bwMode="auto">
          <a:xfrm>
            <a:off x="6353175" y="1965325"/>
            <a:ext cx="147638" cy="68263"/>
          </a:xfrm>
          <a:custGeom>
            <a:avLst/>
            <a:gdLst>
              <a:gd name="T0" fmla="*/ 0 w 107"/>
              <a:gd name="T1" fmla="*/ 2147483647 h 46"/>
              <a:gd name="T2" fmla="*/ 2147483647 w 107"/>
              <a:gd name="T3" fmla="*/ 2147483647 h 46"/>
              <a:gd name="T4" fmla="*/ 2147483647 w 107"/>
              <a:gd name="T5" fmla="*/ 0 h 46"/>
              <a:gd name="T6" fmla="*/ 2147483647 w 107"/>
              <a:gd name="T7" fmla="*/ 2147483647 h 46"/>
              <a:gd name="T8" fmla="*/ 2147483647 w 107"/>
              <a:gd name="T9" fmla="*/ 2147483647 h 46"/>
              <a:gd name="T10" fmla="*/ 2147483647 w 107"/>
              <a:gd name="T11" fmla="*/ 2147483647 h 46"/>
              <a:gd name="T12" fmla="*/ 2147483647 w 107"/>
              <a:gd name="T13" fmla="*/ 2147483647 h 46"/>
              <a:gd name="T14" fmla="*/ 0 w 107"/>
              <a:gd name="T15" fmla="*/ 2147483647 h 46"/>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46"/>
              <a:gd name="T26" fmla="*/ 107 w 107"/>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46">
                <a:moveTo>
                  <a:pt x="0" y="36"/>
                </a:moveTo>
                <a:lnTo>
                  <a:pt x="29" y="13"/>
                </a:lnTo>
                <a:lnTo>
                  <a:pt x="69" y="0"/>
                </a:lnTo>
                <a:lnTo>
                  <a:pt x="106" y="21"/>
                </a:lnTo>
                <a:lnTo>
                  <a:pt x="95" y="27"/>
                </a:lnTo>
                <a:lnTo>
                  <a:pt x="99" y="36"/>
                </a:lnTo>
                <a:lnTo>
                  <a:pt x="44" y="45"/>
                </a:lnTo>
                <a:lnTo>
                  <a:pt x="0" y="3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1" name="Freeform 183"/>
          <p:cNvSpPr>
            <a:spLocks/>
          </p:cNvSpPr>
          <p:nvPr/>
        </p:nvSpPr>
        <p:spPr bwMode="auto">
          <a:xfrm>
            <a:off x="6388100" y="2024063"/>
            <a:ext cx="166688" cy="73025"/>
          </a:xfrm>
          <a:custGeom>
            <a:avLst/>
            <a:gdLst>
              <a:gd name="T0" fmla="*/ 0 w 121"/>
              <a:gd name="T1" fmla="*/ 2147483647 h 50"/>
              <a:gd name="T2" fmla="*/ 2147483647 w 121"/>
              <a:gd name="T3" fmla="*/ 2147483647 h 50"/>
              <a:gd name="T4" fmla="*/ 2147483647 w 121"/>
              <a:gd name="T5" fmla="*/ 2147483647 h 50"/>
              <a:gd name="T6" fmla="*/ 2147483647 w 121"/>
              <a:gd name="T7" fmla="*/ 2147483647 h 50"/>
              <a:gd name="T8" fmla="*/ 2147483647 w 121"/>
              <a:gd name="T9" fmla="*/ 2147483647 h 50"/>
              <a:gd name="T10" fmla="*/ 2147483647 w 121"/>
              <a:gd name="T11" fmla="*/ 2147483647 h 50"/>
              <a:gd name="T12" fmla="*/ 2147483647 w 121"/>
              <a:gd name="T13" fmla="*/ 2147483647 h 50"/>
              <a:gd name="T14" fmla="*/ 2147483647 w 121"/>
              <a:gd name="T15" fmla="*/ 2147483647 h 50"/>
              <a:gd name="T16" fmla="*/ 2147483647 w 121"/>
              <a:gd name="T17" fmla="*/ 2147483647 h 50"/>
              <a:gd name="T18" fmla="*/ 2147483647 w 121"/>
              <a:gd name="T19" fmla="*/ 2147483647 h 50"/>
              <a:gd name="T20" fmla="*/ 2147483647 w 121"/>
              <a:gd name="T21" fmla="*/ 2147483647 h 50"/>
              <a:gd name="T22" fmla="*/ 2147483647 w 121"/>
              <a:gd name="T23" fmla="*/ 2147483647 h 50"/>
              <a:gd name="T24" fmla="*/ 2147483647 w 121"/>
              <a:gd name="T25" fmla="*/ 0 h 50"/>
              <a:gd name="T26" fmla="*/ 2147483647 w 121"/>
              <a:gd name="T27" fmla="*/ 2147483647 h 50"/>
              <a:gd name="T28" fmla="*/ 0 w 121"/>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50"/>
              <a:gd name="T47" fmla="*/ 121 w 121"/>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50">
                <a:moveTo>
                  <a:pt x="0" y="22"/>
                </a:moveTo>
                <a:lnTo>
                  <a:pt x="22" y="24"/>
                </a:lnTo>
                <a:lnTo>
                  <a:pt x="37" y="41"/>
                </a:lnTo>
                <a:lnTo>
                  <a:pt x="48" y="35"/>
                </a:lnTo>
                <a:lnTo>
                  <a:pt x="98" y="49"/>
                </a:lnTo>
                <a:lnTo>
                  <a:pt x="114" y="46"/>
                </a:lnTo>
                <a:lnTo>
                  <a:pt x="102" y="30"/>
                </a:lnTo>
                <a:lnTo>
                  <a:pt x="113" y="33"/>
                </a:lnTo>
                <a:lnTo>
                  <a:pt x="120" y="14"/>
                </a:lnTo>
                <a:lnTo>
                  <a:pt x="94" y="5"/>
                </a:lnTo>
                <a:lnTo>
                  <a:pt x="67" y="17"/>
                </a:lnTo>
                <a:lnTo>
                  <a:pt x="88" y="10"/>
                </a:lnTo>
                <a:lnTo>
                  <a:pt x="76" y="0"/>
                </a:lnTo>
                <a:lnTo>
                  <a:pt x="34" y="3"/>
                </a:lnTo>
                <a:lnTo>
                  <a:pt x="0" y="2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2" name="Freeform 184"/>
          <p:cNvSpPr>
            <a:spLocks/>
          </p:cNvSpPr>
          <p:nvPr/>
        </p:nvSpPr>
        <p:spPr bwMode="auto">
          <a:xfrm>
            <a:off x="6538913" y="2063750"/>
            <a:ext cx="139700" cy="74613"/>
          </a:xfrm>
          <a:custGeom>
            <a:avLst/>
            <a:gdLst>
              <a:gd name="T0" fmla="*/ 0 w 101"/>
              <a:gd name="T1" fmla="*/ 2147483647 h 51"/>
              <a:gd name="T2" fmla="*/ 2147483647 w 101"/>
              <a:gd name="T3" fmla="*/ 2147483647 h 51"/>
              <a:gd name="T4" fmla="*/ 2147483647 w 101"/>
              <a:gd name="T5" fmla="*/ 2147483647 h 51"/>
              <a:gd name="T6" fmla="*/ 2147483647 w 101"/>
              <a:gd name="T7" fmla="*/ 2147483647 h 51"/>
              <a:gd name="T8" fmla="*/ 2147483647 w 101"/>
              <a:gd name="T9" fmla="*/ 2147483647 h 51"/>
              <a:gd name="T10" fmla="*/ 2147483647 w 101"/>
              <a:gd name="T11" fmla="*/ 2147483647 h 51"/>
              <a:gd name="T12" fmla="*/ 2147483647 w 101"/>
              <a:gd name="T13" fmla="*/ 2147483647 h 51"/>
              <a:gd name="T14" fmla="*/ 2147483647 w 101"/>
              <a:gd name="T15" fmla="*/ 0 h 51"/>
              <a:gd name="T16" fmla="*/ 2147483647 w 101"/>
              <a:gd name="T17" fmla="*/ 2147483647 h 51"/>
              <a:gd name="T18" fmla="*/ 0 w 101"/>
              <a:gd name="T19" fmla="*/ 2147483647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51"/>
              <a:gd name="T32" fmla="*/ 101 w 101"/>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51">
                <a:moveTo>
                  <a:pt x="0" y="43"/>
                </a:moveTo>
                <a:lnTo>
                  <a:pt x="7" y="50"/>
                </a:lnTo>
                <a:lnTo>
                  <a:pt x="91" y="39"/>
                </a:lnTo>
                <a:lnTo>
                  <a:pt x="100" y="23"/>
                </a:lnTo>
                <a:lnTo>
                  <a:pt x="77" y="9"/>
                </a:lnTo>
                <a:lnTo>
                  <a:pt x="58" y="15"/>
                </a:lnTo>
                <a:lnTo>
                  <a:pt x="62" y="3"/>
                </a:lnTo>
                <a:lnTo>
                  <a:pt x="48" y="0"/>
                </a:lnTo>
                <a:lnTo>
                  <a:pt x="10" y="36"/>
                </a:lnTo>
                <a:lnTo>
                  <a:pt x="0" y="4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3" name="Freeform 185"/>
          <p:cNvSpPr>
            <a:spLocks/>
          </p:cNvSpPr>
          <p:nvPr/>
        </p:nvSpPr>
        <p:spPr bwMode="auto">
          <a:xfrm>
            <a:off x="7399338" y="2222500"/>
            <a:ext cx="155575" cy="69850"/>
          </a:xfrm>
          <a:custGeom>
            <a:avLst/>
            <a:gdLst>
              <a:gd name="T0" fmla="*/ 0 w 113"/>
              <a:gd name="T1" fmla="*/ 2147483647 h 48"/>
              <a:gd name="T2" fmla="*/ 2147483647 w 113"/>
              <a:gd name="T3" fmla="*/ 2147483647 h 48"/>
              <a:gd name="T4" fmla="*/ 2147483647 w 113"/>
              <a:gd name="T5" fmla="*/ 0 h 48"/>
              <a:gd name="T6" fmla="*/ 2147483647 w 113"/>
              <a:gd name="T7" fmla="*/ 2147483647 h 48"/>
              <a:gd name="T8" fmla="*/ 2147483647 w 113"/>
              <a:gd name="T9" fmla="*/ 2147483647 h 48"/>
              <a:gd name="T10" fmla="*/ 2147483647 w 113"/>
              <a:gd name="T11" fmla="*/ 2147483647 h 48"/>
              <a:gd name="T12" fmla="*/ 2147483647 w 113"/>
              <a:gd name="T13" fmla="*/ 2147483647 h 48"/>
              <a:gd name="T14" fmla="*/ 2147483647 w 113"/>
              <a:gd name="T15" fmla="*/ 2147483647 h 48"/>
              <a:gd name="T16" fmla="*/ 2147483647 w 113"/>
              <a:gd name="T17" fmla="*/ 2147483647 h 48"/>
              <a:gd name="T18" fmla="*/ 2147483647 w 113"/>
              <a:gd name="T19" fmla="*/ 2147483647 h 48"/>
              <a:gd name="T20" fmla="*/ 2147483647 w 113"/>
              <a:gd name="T21" fmla="*/ 2147483647 h 48"/>
              <a:gd name="T22" fmla="*/ 0 w 113"/>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3"/>
              <a:gd name="T37" fmla="*/ 0 h 48"/>
              <a:gd name="T38" fmla="*/ 113 w 113"/>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3" h="48">
                <a:moveTo>
                  <a:pt x="0" y="26"/>
                </a:moveTo>
                <a:lnTo>
                  <a:pt x="23" y="2"/>
                </a:lnTo>
                <a:lnTo>
                  <a:pt x="38" y="0"/>
                </a:lnTo>
                <a:lnTo>
                  <a:pt x="64" y="19"/>
                </a:lnTo>
                <a:lnTo>
                  <a:pt x="69" y="6"/>
                </a:lnTo>
                <a:lnTo>
                  <a:pt x="96" y="15"/>
                </a:lnTo>
                <a:lnTo>
                  <a:pt x="94" y="33"/>
                </a:lnTo>
                <a:lnTo>
                  <a:pt x="112" y="40"/>
                </a:lnTo>
                <a:lnTo>
                  <a:pt x="54" y="44"/>
                </a:lnTo>
                <a:lnTo>
                  <a:pt x="48" y="36"/>
                </a:lnTo>
                <a:lnTo>
                  <a:pt x="39" y="47"/>
                </a:lnTo>
                <a:lnTo>
                  <a:pt x="0" y="2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4" name="Freeform 186"/>
          <p:cNvSpPr>
            <a:spLocks/>
          </p:cNvSpPr>
          <p:nvPr/>
        </p:nvSpPr>
        <p:spPr bwMode="auto">
          <a:xfrm>
            <a:off x="7510463" y="2225675"/>
            <a:ext cx="93662" cy="49213"/>
          </a:xfrm>
          <a:custGeom>
            <a:avLst/>
            <a:gdLst>
              <a:gd name="T0" fmla="*/ 0 w 68"/>
              <a:gd name="T1" fmla="*/ 0 h 34"/>
              <a:gd name="T2" fmla="*/ 2147483647 w 68"/>
              <a:gd name="T3" fmla="*/ 2147483647 h 34"/>
              <a:gd name="T4" fmla="*/ 2147483647 w 68"/>
              <a:gd name="T5" fmla="*/ 2147483647 h 34"/>
              <a:gd name="T6" fmla="*/ 2147483647 w 68"/>
              <a:gd name="T7" fmla="*/ 2147483647 h 34"/>
              <a:gd name="T8" fmla="*/ 2147483647 w 68"/>
              <a:gd name="T9" fmla="*/ 2147483647 h 34"/>
              <a:gd name="T10" fmla="*/ 2147483647 w 68"/>
              <a:gd name="T11" fmla="*/ 2147483647 h 34"/>
              <a:gd name="T12" fmla="*/ 0 w 68"/>
              <a:gd name="T13" fmla="*/ 0 h 34"/>
              <a:gd name="T14" fmla="*/ 0 60000 65536"/>
              <a:gd name="T15" fmla="*/ 0 60000 65536"/>
              <a:gd name="T16" fmla="*/ 0 60000 65536"/>
              <a:gd name="T17" fmla="*/ 0 60000 65536"/>
              <a:gd name="T18" fmla="*/ 0 60000 65536"/>
              <a:gd name="T19" fmla="*/ 0 60000 65536"/>
              <a:gd name="T20" fmla="*/ 0 60000 65536"/>
              <a:gd name="T21" fmla="*/ 0 w 68"/>
              <a:gd name="T22" fmla="*/ 0 h 34"/>
              <a:gd name="T23" fmla="*/ 68 w 68"/>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8" h="34">
                <a:moveTo>
                  <a:pt x="0" y="0"/>
                </a:moveTo>
                <a:lnTo>
                  <a:pt x="22" y="10"/>
                </a:lnTo>
                <a:lnTo>
                  <a:pt x="16" y="23"/>
                </a:lnTo>
                <a:lnTo>
                  <a:pt x="27" y="33"/>
                </a:lnTo>
                <a:lnTo>
                  <a:pt x="49" y="33"/>
                </a:lnTo>
                <a:lnTo>
                  <a:pt x="67" y="19"/>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5" name="Freeform 187"/>
          <p:cNvSpPr>
            <a:spLocks/>
          </p:cNvSpPr>
          <p:nvPr/>
        </p:nvSpPr>
        <p:spPr bwMode="auto">
          <a:xfrm>
            <a:off x="7518400" y="3052763"/>
            <a:ext cx="68263" cy="258762"/>
          </a:xfrm>
          <a:custGeom>
            <a:avLst/>
            <a:gdLst>
              <a:gd name="T0" fmla="*/ 0 w 50"/>
              <a:gd name="T1" fmla="*/ 2147483647 h 176"/>
              <a:gd name="T2" fmla="*/ 2147483647 w 50"/>
              <a:gd name="T3" fmla="*/ 2147483647 h 176"/>
              <a:gd name="T4" fmla="*/ 2147483647 w 50"/>
              <a:gd name="T5" fmla="*/ 2147483647 h 176"/>
              <a:gd name="T6" fmla="*/ 2147483647 w 50"/>
              <a:gd name="T7" fmla="*/ 2147483647 h 176"/>
              <a:gd name="T8" fmla="*/ 2147483647 w 50"/>
              <a:gd name="T9" fmla="*/ 2147483647 h 176"/>
              <a:gd name="T10" fmla="*/ 2147483647 w 50"/>
              <a:gd name="T11" fmla="*/ 2147483647 h 176"/>
              <a:gd name="T12" fmla="*/ 2147483647 w 50"/>
              <a:gd name="T13" fmla="*/ 2147483647 h 176"/>
              <a:gd name="T14" fmla="*/ 2147483647 w 50"/>
              <a:gd name="T15" fmla="*/ 2147483647 h 176"/>
              <a:gd name="T16" fmla="*/ 2147483647 w 50"/>
              <a:gd name="T17" fmla="*/ 2147483647 h 176"/>
              <a:gd name="T18" fmla="*/ 2147483647 w 50"/>
              <a:gd name="T19" fmla="*/ 0 h 176"/>
              <a:gd name="T20" fmla="*/ 0 w 50"/>
              <a:gd name="T21" fmla="*/ 2147483647 h 1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176"/>
              <a:gd name="T35" fmla="*/ 50 w 50"/>
              <a:gd name="T36" fmla="*/ 176 h 17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176">
                <a:moveTo>
                  <a:pt x="0" y="44"/>
                </a:moveTo>
                <a:lnTo>
                  <a:pt x="8" y="67"/>
                </a:lnTo>
                <a:lnTo>
                  <a:pt x="8" y="175"/>
                </a:lnTo>
                <a:lnTo>
                  <a:pt x="17" y="160"/>
                </a:lnTo>
                <a:lnTo>
                  <a:pt x="31" y="168"/>
                </a:lnTo>
                <a:lnTo>
                  <a:pt x="16" y="140"/>
                </a:lnTo>
                <a:lnTo>
                  <a:pt x="23" y="109"/>
                </a:lnTo>
                <a:lnTo>
                  <a:pt x="49" y="118"/>
                </a:lnTo>
                <a:lnTo>
                  <a:pt x="24" y="62"/>
                </a:lnTo>
                <a:lnTo>
                  <a:pt x="17" y="0"/>
                </a:lnTo>
                <a:lnTo>
                  <a:pt x="0" y="4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6" name="Freeform 188"/>
          <p:cNvSpPr>
            <a:spLocks/>
          </p:cNvSpPr>
          <p:nvPr/>
        </p:nvSpPr>
        <p:spPr bwMode="auto">
          <a:xfrm>
            <a:off x="7620000" y="2254250"/>
            <a:ext cx="109538" cy="34925"/>
          </a:xfrm>
          <a:custGeom>
            <a:avLst/>
            <a:gdLst>
              <a:gd name="T0" fmla="*/ 0 w 79"/>
              <a:gd name="T1" fmla="*/ 0 h 24"/>
              <a:gd name="T2" fmla="*/ 2147483647 w 79"/>
              <a:gd name="T3" fmla="*/ 2147483647 h 24"/>
              <a:gd name="T4" fmla="*/ 2147483647 w 79"/>
              <a:gd name="T5" fmla="*/ 2147483647 h 24"/>
              <a:gd name="T6" fmla="*/ 2147483647 w 79"/>
              <a:gd name="T7" fmla="*/ 2147483647 h 24"/>
              <a:gd name="T8" fmla="*/ 0 w 79"/>
              <a:gd name="T9" fmla="*/ 0 h 24"/>
              <a:gd name="T10" fmla="*/ 0 60000 65536"/>
              <a:gd name="T11" fmla="*/ 0 60000 65536"/>
              <a:gd name="T12" fmla="*/ 0 60000 65536"/>
              <a:gd name="T13" fmla="*/ 0 60000 65536"/>
              <a:gd name="T14" fmla="*/ 0 60000 65536"/>
              <a:gd name="T15" fmla="*/ 0 w 79"/>
              <a:gd name="T16" fmla="*/ 0 h 24"/>
              <a:gd name="T17" fmla="*/ 79 w 79"/>
              <a:gd name="T18" fmla="*/ 24 h 24"/>
            </a:gdLst>
            <a:ahLst/>
            <a:cxnLst>
              <a:cxn ang="T10">
                <a:pos x="T0" y="T1"/>
              </a:cxn>
              <a:cxn ang="T11">
                <a:pos x="T2" y="T3"/>
              </a:cxn>
              <a:cxn ang="T12">
                <a:pos x="T4" y="T5"/>
              </a:cxn>
              <a:cxn ang="T13">
                <a:pos x="T6" y="T7"/>
              </a:cxn>
              <a:cxn ang="T14">
                <a:pos x="T8" y="T9"/>
              </a:cxn>
            </a:cxnLst>
            <a:rect l="T15" t="T16" r="T17" b="T18"/>
            <a:pathLst>
              <a:path w="79" h="24">
                <a:moveTo>
                  <a:pt x="0" y="0"/>
                </a:moveTo>
                <a:lnTo>
                  <a:pt x="14" y="14"/>
                </a:lnTo>
                <a:lnTo>
                  <a:pt x="50" y="23"/>
                </a:lnTo>
                <a:lnTo>
                  <a:pt x="78" y="19"/>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7" name="Freeform 189"/>
          <p:cNvSpPr>
            <a:spLocks/>
          </p:cNvSpPr>
          <p:nvPr/>
        </p:nvSpPr>
        <p:spPr bwMode="auto">
          <a:xfrm>
            <a:off x="4027488" y="3373438"/>
            <a:ext cx="287337" cy="204787"/>
          </a:xfrm>
          <a:custGeom>
            <a:avLst/>
            <a:gdLst>
              <a:gd name="T0" fmla="*/ 0 w 209"/>
              <a:gd name="T1" fmla="*/ 2147483647 h 140"/>
              <a:gd name="T2" fmla="*/ 2147483647 w 209"/>
              <a:gd name="T3" fmla="*/ 2147483647 h 140"/>
              <a:gd name="T4" fmla="*/ 2147483647 w 209"/>
              <a:gd name="T5" fmla="*/ 2147483647 h 140"/>
              <a:gd name="T6" fmla="*/ 2147483647 w 209"/>
              <a:gd name="T7" fmla="*/ 2147483647 h 140"/>
              <a:gd name="T8" fmla="*/ 2147483647 w 209"/>
              <a:gd name="T9" fmla="*/ 2147483647 h 140"/>
              <a:gd name="T10" fmla="*/ 2147483647 w 209"/>
              <a:gd name="T11" fmla="*/ 2147483647 h 140"/>
              <a:gd name="T12" fmla="*/ 2147483647 w 209"/>
              <a:gd name="T13" fmla="*/ 2147483647 h 140"/>
              <a:gd name="T14" fmla="*/ 2147483647 w 209"/>
              <a:gd name="T15" fmla="*/ 2147483647 h 140"/>
              <a:gd name="T16" fmla="*/ 2147483647 w 209"/>
              <a:gd name="T17" fmla="*/ 2147483647 h 140"/>
              <a:gd name="T18" fmla="*/ 2147483647 w 209"/>
              <a:gd name="T19" fmla="*/ 2147483647 h 140"/>
              <a:gd name="T20" fmla="*/ 2147483647 w 209"/>
              <a:gd name="T21" fmla="*/ 2147483647 h 140"/>
              <a:gd name="T22" fmla="*/ 2147483647 w 209"/>
              <a:gd name="T23" fmla="*/ 2147483647 h 140"/>
              <a:gd name="T24" fmla="*/ 2147483647 w 209"/>
              <a:gd name="T25" fmla="*/ 2147483647 h 140"/>
              <a:gd name="T26" fmla="*/ 2147483647 w 209"/>
              <a:gd name="T27" fmla="*/ 2147483647 h 140"/>
              <a:gd name="T28" fmla="*/ 2147483647 w 209"/>
              <a:gd name="T29" fmla="*/ 2147483647 h 140"/>
              <a:gd name="T30" fmla="*/ 2147483647 w 209"/>
              <a:gd name="T31" fmla="*/ 0 h 140"/>
              <a:gd name="T32" fmla="*/ 0 w 209"/>
              <a:gd name="T33" fmla="*/ 2147483647 h 1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9"/>
              <a:gd name="T52" fmla="*/ 0 h 140"/>
              <a:gd name="T53" fmla="*/ 209 w 209"/>
              <a:gd name="T54" fmla="*/ 140 h 1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9" h="140">
                <a:moveTo>
                  <a:pt x="0" y="13"/>
                </a:moveTo>
                <a:lnTo>
                  <a:pt x="7" y="35"/>
                </a:lnTo>
                <a:lnTo>
                  <a:pt x="52" y="38"/>
                </a:lnTo>
                <a:lnTo>
                  <a:pt x="33" y="74"/>
                </a:lnTo>
                <a:lnTo>
                  <a:pt x="32" y="118"/>
                </a:lnTo>
                <a:lnTo>
                  <a:pt x="64" y="139"/>
                </a:lnTo>
                <a:lnTo>
                  <a:pt x="123" y="126"/>
                </a:lnTo>
                <a:lnTo>
                  <a:pt x="158" y="93"/>
                </a:lnTo>
                <a:lnTo>
                  <a:pt x="150" y="81"/>
                </a:lnTo>
                <a:lnTo>
                  <a:pt x="170" y="53"/>
                </a:lnTo>
                <a:lnTo>
                  <a:pt x="207" y="35"/>
                </a:lnTo>
                <a:lnTo>
                  <a:pt x="208" y="23"/>
                </a:lnTo>
                <a:lnTo>
                  <a:pt x="182" y="22"/>
                </a:lnTo>
                <a:lnTo>
                  <a:pt x="177" y="20"/>
                </a:lnTo>
                <a:lnTo>
                  <a:pt x="125" y="5"/>
                </a:lnTo>
                <a:lnTo>
                  <a:pt x="20" y="0"/>
                </a:lnTo>
                <a:lnTo>
                  <a:pt x="0" y="1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8" name="Freeform 190"/>
          <p:cNvSpPr>
            <a:spLocks/>
          </p:cNvSpPr>
          <p:nvPr/>
        </p:nvSpPr>
        <p:spPr bwMode="auto">
          <a:xfrm>
            <a:off x="3849688" y="3790950"/>
            <a:ext cx="193675" cy="163513"/>
          </a:xfrm>
          <a:custGeom>
            <a:avLst/>
            <a:gdLst>
              <a:gd name="T0" fmla="*/ 0 w 140"/>
              <a:gd name="T1" fmla="*/ 2147483647 h 112"/>
              <a:gd name="T2" fmla="*/ 2147483647 w 140"/>
              <a:gd name="T3" fmla="*/ 0 h 112"/>
              <a:gd name="T4" fmla="*/ 2147483647 w 140"/>
              <a:gd name="T5" fmla="*/ 2147483647 h 112"/>
              <a:gd name="T6" fmla="*/ 2147483647 w 140"/>
              <a:gd name="T7" fmla="*/ 2147483647 h 112"/>
              <a:gd name="T8" fmla="*/ 2147483647 w 140"/>
              <a:gd name="T9" fmla="*/ 2147483647 h 112"/>
              <a:gd name="T10" fmla="*/ 2147483647 w 140"/>
              <a:gd name="T11" fmla="*/ 2147483647 h 112"/>
              <a:gd name="T12" fmla="*/ 2147483647 w 140"/>
              <a:gd name="T13" fmla="*/ 2147483647 h 112"/>
              <a:gd name="T14" fmla="*/ 2147483647 w 140"/>
              <a:gd name="T15" fmla="*/ 2147483647 h 112"/>
              <a:gd name="T16" fmla="*/ 2147483647 w 140"/>
              <a:gd name="T17" fmla="*/ 2147483647 h 112"/>
              <a:gd name="T18" fmla="*/ 0 w 140"/>
              <a:gd name="T19" fmla="*/ 2147483647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0"/>
              <a:gd name="T31" fmla="*/ 0 h 112"/>
              <a:gd name="T32" fmla="*/ 140 w 140"/>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0" h="112">
                <a:moveTo>
                  <a:pt x="0" y="111"/>
                </a:moveTo>
                <a:lnTo>
                  <a:pt x="66" y="0"/>
                </a:lnTo>
                <a:lnTo>
                  <a:pt x="139" y="1"/>
                </a:lnTo>
                <a:lnTo>
                  <a:pt x="139" y="8"/>
                </a:lnTo>
                <a:lnTo>
                  <a:pt x="139" y="29"/>
                </a:lnTo>
                <a:lnTo>
                  <a:pt x="85" y="28"/>
                </a:lnTo>
                <a:lnTo>
                  <a:pt x="84" y="71"/>
                </a:lnTo>
                <a:lnTo>
                  <a:pt x="66" y="80"/>
                </a:lnTo>
                <a:lnTo>
                  <a:pt x="66" y="105"/>
                </a:lnTo>
                <a:lnTo>
                  <a:pt x="0" y="11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199" name="Freeform 191"/>
          <p:cNvSpPr>
            <a:spLocks/>
          </p:cNvSpPr>
          <p:nvPr/>
        </p:nvSpPr>
        <p:spPr bwMode="auto">
          <a:xfrm>
            <a:off x="4748213" y="3905250"/>
            <a:ext cx="382587" cy="460375"/>
          </a:xfrm>
          <a:custGeom>
            <a:avLst/>
            <a:gdLst>
              <a:gd name="T0" fmla="*/ 0 w 278"/>
              <a:gd name="T1" fmla="*/ 2147483647 h 314"/>
              <a:gd name="T2" fmla="*/ 2147483647 w 278"/>
              <a:gd name="T3" fmla="*/ 2147483647 h 314"/>
              <a:gd name="T4" fmla="*/ 2147483647 w 278"/>
              <a:gd name="T5" fmla="*/ 2147483647 h 314"/>
              <a:gd name="T6" fmla="*/ 2147483647 w 278"/>
              <a:gd name="T7" fmla="*/ 2147483647 h 314"/>
              <a:gd name="T8" fmla="*/ 2147483647 w 278"/>
              <a:gd name="T9" fmla="*/ 2147483647 h 314"/>
              <a:gd name="T10" fmla="*/ 2147483647 w 278"/>
              <a:gd name="T11" fmla="*/ 2147483647 h 314"/>
              <a:gd name="T12" fmla="*/ 2147483647 w 278"/>
              <a:gd name="T13" fmla="*/ 2147483647 h 314"/>
              <a:gd name="T14" fmla="*/ 2147483647 w 278"/>
              <a:gd name="T15" fmla="*/ 2147483647 h 314"/>
              <a:gd name="T16" fmla="*/ 2147483647 w 278"/>
              <a:gd name="T17" fmla="*/ 2147483647 h 314"/>
              <a:gd name="T18" fmla="*/ 2147483647 w 278"/>
              <a:gd name="T19" fmla="*/ 2147483647 h 314"/>
              <a:gd name="T20" fmla="*/ 2147483647 w 278"/>
              <a:gd name="T21" fmla="*/ 2147483647 h 314"/>
              <a:gd name="T22" fmla="*/ 2147483647 w 278"/>
              <a:gd name="T23" fmla="*/ 2147483647 h 314"/>
              <a:gd name="T24" fmla="*/ 2147483647 w 278"/>
              <a:gd name="T25" fmla="*/ 2147483647 h 314"/>
              <a:gd name="T26" fmla="*/ 2147483647 w 278"/>
              <a:gd name="T27" fmla="*/ 2147483647 h 314"/>
              <a:gd name="T28" fmla="*/ 2147483647 w 278"/>
              <a:gd name="T29" fmla="*/ 2147483647 h 314"/>
              <a:gd name="T30" fmla="*/ 2147483647 w 278"/>
              <a:gd name="T31" fmla="*/ 2147483647 h 314"/>
              <a:gd name="T32" fmla="*/ 2147483647 w 278"/>
              <a:gd name="T33" fmla="*/ 2147483647 h 314"/>
              <a:gd name="T34" fmla="*/ 2147483647 w 278"/>
              <a:gd name="T35" fmla="*/ 0 h 314"/>
              <a:gd name="T36" fmla="*/ 2147483647 w 278"/>
              <a:gd name="T37" fmla="*/ 2147483647 h 314"/>
              <a:gd name="T38" fmla="*/ 2147483647 w 278"/>
              <a:gd name="T39" fmla="*/ 2147483647 h 314"/>
              <a:gd name="T40" fmla="*/ 2147483647 w 278"/>
              <a:gd name="T41" fmla="*/ 2147483647 h 314"/>
              <a:gd name="T42" fmla="*/ 2147483647 w 278"/>
              <a:gd name="T43" fmla="*/ 2147483647 h 314"/>
              <a:gd name="T44" fmla="*/ 2147483647 w 278"/>
              <a:gd name="T45" fmla="*/ 2147483647 h 314"/>
              <a:gd name="T46" fmla="*/ 2147483647 w 278"/>
              <a:gd name="T47" fmla="*/ 2147483647 h 314"/>
              <a:gd name="T48" fmla="*/ 2147483647 w 278"/>
              <a:gd name="T49" fmla="*/ 2147483647 h 314"/>
              <a:gd name="T50" fmla="*/ 0 w 278"/>
              <a:gd name="T51" fmla="*/ 2147483647 h 31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78"/>
              <a:gd name="T79" fmla="*/ 0 h 314"/>
              <a:gd name="T80" fmla="*/ 278 w 278"/>
              <a:gd name="T81" fmla="*/ 314 h 31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78" h="314">
                <a:moveTo>
                  <a:pt x="0" y="164"/>
                </a:moveTo>
                <a:lnTo>
                  <a:pt x="14" y="194"/>
                </a:lnTo>
                <a:lnTo>
                  <a:pt x="27" y="228"/>
                </a:lnTo>
                <a:lnTo>
                  <a:pt x="55" y="242"/>
                </a:lnTo>
                <a:lnTo>
                  <a:pt x="95" y="287"/>
                </a:lnTo>
                <a:lnTo>
                  <a:pt x="151" y="313"/>
                </a:lnTo>
                <a:lnTo>
                  <a:pt x="203" y="306"/>
                </a:lnTo>
                <a:lnTo>
                  <a:pt x="233" y="297"/>
                </a:lnTo>
                <a:lnTo>
                  <a:pt x="215" y="264"/>
                </a:lnTo>
                <a:lnTo>
                  <a:pt x="186" y="246"/>
                </a:lnTo>
                <a:lnTo>
                  <a:pt x="204" y="233"/>
                </a:lnTo>
                <a:lnTo>
                  <a:pt x="207" y="202"/>
                </a:lnTo>
                <a:lnTo>
                  <a:pt x="239" y="164"/>
                </a:lnTo>
                <a:lnTo>
                  <a:pt x="252" y="98"/>
                </a:lnTo>
                <a:lnTo>
                  <a:pt x="277" y="81"/>
                </a:lnTo>
                <a:lnTo>
                  <a:pt x="259" y="67"/>
                </a:lnTo>
                <a:lnTo>
                  <a:pt x="250" y="17"/>
                </a:lnTo>
                <a:lnTo>
                  <a:pt x="229" y="0"/>
                </a:lnTo>
                <a:lnTo>
                  <a:pt x="203" y="21"/>
                </a:lnTo>
                <a:lnTo>
                  <a:pt x="52" y="17"/>
                </a:lnTo>
                <a:lnTo>
                  <a:pt x="52" y="48"/>
                </a:lnTo>
                <a:lnTo>
                  <a:pt x="37" y="49"/>
                </a:lnTo>
                <a:lnTo>
                  <a:pt x="37" y="59"/>
                </a:lnTo>
                <a:lnTo>
                  <a:pt x="36" y="119"/>
                </a:lnTo>
                <a:lnTo>
                  <a:pt x="20" y="121"/>
                </a:lnTo>
                <a:lnTo>
                  <a:pt x="0" y="16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0" name="Freeform 192"/>
          <p:cNvSpPr>
            <a:spLocks/>
          </p:cNvSpPr>
          <p:nvPr/>
        </p:nvSpPr>
        <p:spPr bwMode="auto">
          <a:xfrm>
            <a:off x="2897188" y="4311650"/>
            <a:ext cx="96837" cy="88900"/>
          </a:xfrm>
          <a:custGeom>
            <a:avLst/>
            <a:gdLst>
              <a:gd name="T0" fmla="*/ 0 w 70"/>
              <a:gd name="T1" fmla="*/ 2147483647 h 61"/>
              <a:gd name="T2" fmla="*/ 2147483647 w 70"/>
              <a:gd name="T3" fmla="*/ 0 h 61"/>
              <a:gd name="T4" fmla="*/ 2147483647 w 70"/>
              <a:gd name="T5" fmla="*/ 2147483647 h 61"/>
              <a:gd name="T6" fmla="*/ 2147483647 w 70"/>
              <a:gd name="T7" fmla="*/ 2147483647 h 61"/>
              <a:gd name="T8" fmla="*/ 2147483647 w 70"/>
              <a:gd name="T9" fmla="*/ 2147483647 h 61"/>
              <a:gd name="T10" fmla="*/ 0 w 70"/>
              <a:gd name="T11" fmla="*/ 2147483647 h 61"/>
              <a:gd name="T12" fmla="*/ 0 60000 65536"/>
              <a:gd name="T13" fmla="*/ 0 60000 65536"/>
              <a:gd name="T14" fmla="*/ 0 60000 65536"/>
              <a:gd name="T15" fmla="*/ 0 60000 65536"/>
              <a:gd name="T16" fmla="*/ 0 60000 65536"/>
              <a:gd name="T17" fmla="*/ 0 60000 65536"/>
              <a:gd name="T18" fmla="*/ 0 w 70"/>
              <a:gd name="T19" fmla="*/ 0 h 61"/>
              <a:gd name="T20" fmla="*/ 70 w 70"/>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70" h="61">
                <a:moveTo>
                  <a:pt x="0" y="28"/>
                </a:moveTo>
                <a:lnTo>
                  <a:pt x="20" y="0"/>
                </a:lnTo>
                <a:lnTo>
                  <a:pt x="69" y="5"/>
                </a:lnTo>
                <a:lnTo>
                  <a:pt x="63" y="55"/>
                </a:lnTo>
                <a:lnTo>
                  <a:pt x="28" y="60"/>
                </a:lnTo>
                <a:lnTo>
                  <a:pt x="0" y="2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1" name="Freeform 193"/>
          <p:cNvSpPr>
            <a:spLocks/>
          </p:cNvSpPr>
          <p:nvPr/>
        </p:nvSpPr>
        <p:spPr bwMode="auto">
          <a:xfrm>
            <a:off x="4489450" y="2028825"/>
            <a:ext cx="246063" cy="176213"/>
          </a:xfrm>
          <a:custGeom>
            <a:avLst/>
            <a:gdLst>
              <a:gd name="T0" fmla="*/ 0 w 179"/>
              <a:gd name="T1" fmla="*/ 2147483647 h 121"/>
              <a:gd name="T2" fmla="*/ 2147483647 w 179"/>
              <a:gd name="T3" fmla="*/ 2147483647 h 121"/>
              <a:gd name="T4" fmla="*/ 2147483647 w 179"/>
              <a:gd name="T5" fmla="*/ 2147483647 h 121"/>
              <a:gd name="T6" fmla="*/ 2147483647 w 179"/>
              <a:gd name="T7" fmla="*/ 2147483647 h 121"/>
              <a:gd name="T8" fmla="*/ 2147483647 w 179"/>
              <a:gd name="T9" fmla="*/ 2147483647 h 121"/>
              <a:gd name="T10" fmla="*/ 2147483647 w 179"/>
              <a:gd name="T11" fmla="*/ 2147483647 h 121"/>
              <a:gd name="T12" fmla="*/ 2147483647 w 179"/>
              <a:gd name="T13" fmla="*/ 2147483647 h 121"/>
              <a:gd name="T14" fmla="*/ 2147483647 w 179"/>
              <a:gd name="T15" fmla="*/ 2147483647 h 121"/>
              <a:gd name="T16" fmla="*/ 2147483647 w 179"/>
              <a:gd name="T17" fmla="*/ 2147483647 h 121"/>
              <a:gd name="T18" fmla="*/ 2147483647 w 179"/>
              <a:gd name="T19" fmla="*/ 2147483647 h 121"/>
              <a:gd name="T20" fmla="*/ 2147483647 w 179"/>
              <a:gd name="T21" fmla="*/ 2147483647 h 121"/>
              <a:gd name="T22" fmla="*/ 2147483647 w 179"/>
              <a:gd name="T23" fmla="*/ 2147483647 h 121"/>
              <a:gd name="T24" fmla="*/ 2147483647 w 179"/>
              <a:gd name="T25" fmla="*/ 2147483647 h 121"/>
              <a:gd name="T26" fmla="*/ 2147483647 w 179"/>
              <a:gd name="T27" fmla="*/ 2147483647 h 121"/>
              <a:gd name="T28" fmla="*/ 2147483647 w 179"/>
              <a:gd name="T29" fmla="*/ 2147483647 h 121"/>
              <a:gd name="T30" fmla="*/ 2147483647 w 179"/>
              <a:gd name="T31" fmla="*/ 2147483647 h 121"/>
              <a:gd name="T32" fmla="*/ 2147483647 w 179"/>
              <a:gd name="T33" fmla="*/ 2147483647 h 121"/>
              <a:gd name="T34" fmla="*/ 2147483647 w 179"/>
              <a:gd name="T35" fmla="*/ 2147483647 h 121"/>
              <a:gd name="T36" fmla="*/ 2147483647 w 179"/>
              <a:gd name="T37" fmla="*/ 2147483647 h 121"/>
              <a:gd name="T38" fmla="*/ 2147483647 w 179"/>
              <a:gd name="T39" fmla="*/ 2147483647 h 121"/>
              <a:gd name="T40" fmla="*/ 2147483647 w 179"/>
              <a:gd name="T41" fmla="*/ 2147483647 h 121"/>
              <a:gd name="T42" fmla="*/ 2147483647 w 179"/>
              <a:gd name="T43" fmla="*/ 2147483647 h 121"/>
              <a:gd name="T44" fmla="*/ 2147483647 w 179"/>
              <a:gd name="T45" fmla="*/ 2147483647 h 121"/>
              <a:gd name="T46" fmla="*/ 2147483647 w 179"/>
              <a:gd name="T47" fmla="*/ 2147483647 h 121"/>
              <a:gd name="T48" fmla="*/ 2147483647 w 179"/>
              <a:gd name="T49" fmla="*/ 2147483647 h 121"/>
              <a:gd name="T50" fmla="*/ 2147483647 w 179"/>
              <a:gd name="T51" fmla="*/ 2147483647 h 121"/>
              <a:gd name="T52" fmla="*/ 2147483647 w 179"/>
              <a:gd name="T53" fmla="*/ 2147483647 h 121"/>
              <a:gd name="T54" fmla="*/ 2147483647 w 179"/>
              <a:gd name="T55" fmla="*/ 2147483647 h 121"/>
              <a:gd name="T56" fmla="*/ 2147483647 w 179"/>
              <a:gd name="T57" fmla="*/ 2147483647 h 121"/>
              <a:gd name="T58" fmla="*/ 2147483647 w 179"/>
              <a:gd name="T59" fmla="*/ 0 h 121"/>
              <a:gd name="T60" fmla="*/ 2147483647 w 179"/>
              <a:gd name="T61" fmla="*/ 2147483647 h 121"/>
              <a:gd name="T62" fmla="*/ 2147483647 w 179"/>
              <a:gd name="T63" fmla="*/ 2147483647 h 121"/>
              <a:gd name="T64" fmla="*/ 2147483647 w 179"/>
              <a:gd name="T65" fmla="*/ 2147483647 h 121"/>
              <a:gd name="T66" fmla="*/ 2147483647 w 179"/>
              <a:gd name="T67" fmla="*/ 2147483647 h 121"/>
              <a:gd name="T68" fmla="*/ 2147483647 w 179"/>
              <a:gd name="T69" fmla="*/ 2147483647 h 121"/>
              <a:gd name="T70" fmla="*/ 2147483647 w 179"/>
              <a:gd name="T71" fmla="*/ 2147483647 h 121"/>
              <a:gd name="T72" fmla="*/ 2147483647 w 179"/>
              <a:gd name="T73" fmla="*/ 2147483647 h 121"/>
              <a:gd name="T74" fmla="*/ 0 w 179"/>
              <a:gd name="T75" fmla="*/ 2147483647 h 1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21"/>
              <a:gd name="T116" fmla="*/ 179 w 179"/>
              <a:gd name="T117" fmla="*/ 121 h 1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21">
                <a:moveTo>
                  <a:pt x="0" y="14"/>
                </a:moveTo>
                <a:lnTo>
                  <a:pt x="1" y="28"/>
                </a:lnTo>
                <a:lnTo>
                  <a:pt x="20" y="28"/>
                </a:lnTo>
                <a:lnTo>
                  <a:pt x="14" y="37"/>
                </a:lnTo>
                <a:lnTo>
                  <a:pt x="27" y="43"/>
                </a:lnTo>
                <a:lnTo>
                  <a:pt x="9" y="40"/>
                </a:lnTo>
                <a:lnTo>
                  <a:pt x="39" y="54"/>
                </a:lnTo>
                <a:lnTo>
                  <a:pt x="28" y="58"/>
                </a:lnTo>
                <a:lnTo>
                  <a:pt x="37" y="65"/>
                </a:lnTo>
                <a:lnTo>
                  <a:pt x="65" y="61"/>
                </a:lnTo>
                <a:lnTo>
                  <a:pt x="64" y="49"/>
                </a:lnTo>
                <a:lnTo>
                  <a:pt x="77" y="44"/>
                </a:lnTo>
                <a:lnTo>
                  <a:pt x="80" y="58"/>
                </a:lnTo>
                <a:lnTo>
                  <a:pt x="97" y="49"/>
                </a:lnTo>
                <a:lnTo>
                  <a:pt x="93" y="58"/>
                </a:lnTo>
                <a:lnTo>
                  <a:pt x="109" y="59"/>
                </a:lnTo>
                <a:lnTo>
                  <a:pt x="48" y="73"/>
                </a:lnTo>
                <a:lnTo>
                  <a:pt x="52" y="83"/>
                </a:lnTo>
                <a:lnTo>
                  <a:pt x="102" y="77"/>
                </a:lnTo>
                <a:lnTo>
                  <a:pt x="68" y="86"/>
                </a:lnTo>
                <a:lnTo>
                  <a:pt x="87" y="91"/>
                </a:lnTo>
                <a:lnTo>
                  <a:pt x="54" y="96"/>
                </a:lnTo>
                <a:lnTo>
                  <a:pt x="104" y="120"/>
                </a:lnTo>
                <a:lnTo>
                  <a:pt x="136" y="58"/>
                </a:lnTo>
                <a:lnTo>
                  <a:pt x="178" y="44"/>
                </a:lnTo>
                <a:lnTo>
                  <a:pt x="133" y="33"/>
                </a:lnTo>
                <a:lnTo>
                  <a:pt x="128" y="19"/>
                </a:lnTo>
                <a:lnTo>
                  <a:pt x="113" y="27"/>
                </a:lnTo>
                <a:lnTo>
                  <a:pt x="119" y="13"/>
                </a:lnTo>
                <a:lnTo>
                  <a:pt x="92" y="0"/>
                </a:lnTo>
                <a:lnTo>
                  <a:pt x="81" y="13"/>
                </a:lnTo>
                <a:lnTo>
                  <a:pt x="95" y="43"/>
                </a:lnTo>
                <a:lnTo>
                  <a:pt x="61" y="12"/>
                </a:lnTo>
                <a:lnTo>
                  <a:pt x="52" y="19"/>
                </a:lnTo>
                <a:lnTo>
                  <a:pt x="58" y="31"/>
                </a:lnTo>
                <a:lnTo>
                  <a:pt x="26" y="20"/>
                </a:lnTo>
                <a:lnTo>
                  <a:pt x="49" y="9"/>
                </a:lnTo>
                <a:lnTo>
                  <a:pt x="0" y="1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2" name="Freeform 194"/>
          <p:cNvSpPr>
            <a:spLocks/>
          </p:cNvSpPr>
          <p:nvPr/>
        </p:nvSpPr>
        <p:spPr bwMode="auto">
          <a:xfrm>
            <a:off x="4645025" y="2003425"/>
            <a:ext cx="223838" cy="76200"/>
          </a:xfrm>
          <a:custGeom>
            <a:avLst/>
            <a:gdLst>
              <a:gd name="T0" fmla="*/ 0 w 163"/>
              <a:gd name="T1" fmla="*/ 2147483647 h 52"/>
              <a:gd name="T2" fmla="*/ 2147483647 w 163"/>
              <a:gd name="T3" fmla="*/ 2147483647 h 52"/>
              <a:gd name="T4" fmla="*/ 2147483647 w 163"/>
              <a:gd name="T5" fmla="*/ 2147483647 h 52"/>
              <a:gd name="T6" fmla="*/ 2147483647 w 163"/>
              <a:gd name="T7" fmla="*/ 2147483647 h 52"/>
              <a:gd name="T8" fmla="*/ 2147483647 w 163"/>
              <a:gd name="T9" fmla="*/ 2147483647 h 52"/>
              <a:gd name="T10" fmla="*/ 2147483647 w 163"/>
              <a:gd name="T11" fmla="*/ 2147483647 h 52"/>
              <a:gd name="T12" fmla="*/ 2147483647 w 163"/>
              <a:gd name="T13" fmla="*/ 2147483647 h 52"/>
              <a:gd name="T14" fmla="*/ 2147483647 w 163"/>
              <a:gd name="T15" fmla="*/ 2147483647 h 52"/>
              <a:gd name="T16" fmla="*/ 2147483647 w 163"/>
              <a:gd name="T17" fmla="*/ 2147483647 h 52"/>
              <a:gd name="T18" fmla="*/ 2147483647 w 163"/>
              <a:gd name="T19" fmla="*/ 2147483647 h 52"/>
              <a:gd name="T20" fmla="*/ 2147483647 w 163"/>
              <a:gd name="T21" fmla="*/ 2147483647 h 52"/>
              <a:gd name="T22" fmla="*/ 2147483647 w 163"/>
              <a:gd name="T23" fmla="*/ 2147483647 h 52"/>
              <a:gd name="T24" fmla="*/ 2147483647 w 163"/>
              <a:gd name="T25" fmla="*/ 2147483647 h 52"/>
              <a:gd name="T26" fmla="*/ 2147483647 w 163"/>
              <a:gd name="T27" fmla="*/ 0 h 52"/>
              <a:gd name="T28" fmla="*/ 2147483647 w 163"/>
              <a:gd name="T29" fmla="*/ 2147483647 h 52"/>
              <a:gd name="T30" fmla="*/ 2147483647 w 163"/>
              <a:gd name="T31" fmla="*/ 0 h 52"/>
              <a:gd name="T32" fmla="*/ 2147483647 w 163"/>
              <a:gd name="T33" fmla="*/ 2147483647 h 52"/>
              <a:gd name="T34" fmla="*/ 2147483647 w 163"/>
              <a:gd name="T35" fmla="*/ 2147483647 h 52"/>
              <a:gd name="T36" fmla="*/ 2147483647 w 163"/>
              <a:gd name="T37" fmla="*/ 2147483647 h 52"/>
              <a:gd name="T38" fmla="*/ 0 w 163"/>
              <a:gd name="T39" fmla="*/ 2147483647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3"/>
              <a:gd name="T61" fmla="*/ 0 h 52"/>
              <a:gd name="T62" fmla="*/ 163 w 163"/>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3" h="52">
                <a:moveTo>
                  <a:pt x="0" y="14"/>
                </a:moveTo>
                <a:lnTo>
                  <a:pt x="23" y="19"/>
                </a:lnTo>
                <a:lnTo>
                  <a:pt x="11" y="24"/>
                </a:lnTo>
                <a:lnTo>
                  <a:pt x="17" y="28"/>
                </a:lnTo>
                <a:lnTo>
                  <a:pt x="74" y="27"/>
                </a:lnTo>
                <a:lnTo>
                  <a:pt x="37" y="36"/>
                </a:lnTo>
                <a:lnTo>
                  <a:pt x="98" y="51"/>
                </a:lnTo>
                <a:lnTo>
                  <a:pt x="137" y="42"/>
                </a:lnTo>
                <a:lnTo>
                  <a:pt x="162" y="24"/>
                </a:lnTo>
                <a:lnTo>
                  <a:pt x="156" y="14"/>
                </a:lnTo>
                <a:lnTo>
                  <a:pt x="117" y="15"/>
                </a:lnTo>
                <a:lnTo>
                  <a:pt x="124" y="7"/>
                </a:lnTo>
                <a:lnTo>
                  <a:pt x="94" y="15"/>
                </a:lnTo>
                <a:lnTo>
                  <a:pt x="89" y="0"/>
                </a:lnTo>
                <a:lnTo>
                  <a:pt x="82" y="20"/>
                </a:lnTo>
                <a:lnTo>
                  <a:pt x="37" y="0"/>
                </a:lnTo>
                <a:lnTo>
                  <a:pt x="40" y="13"/>
                </a:lnTo>
                <a:lnTo>
                  <a:pt x="27" y="7"/>
                </a:lnTo>
                <a:lnTo>
                  <a:pt x="32" y="19"/>
                </a:lnTo>
                <a:lnTo>
                  <a:pt x="0" y="1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3" name="Freeform 195"/>
          <p:cNvSpPr>
            <a:spLocks/>
          </p:cNvSpPr>
          <p:nvPr/>
        </p:nvSpPr>
        <p:spPr bwMode="auto">
          <a:xfrm>
            <a:off x="4719638" y="2122488"/>
            <a:ext cx="98425" cy="50800"/>
          </a:xfrm>
          <a:custGeom>
            <a:avLst/>
            <a:gdLst>
              <a:gd name="T0" fmla="*/ 0 w 71"/>
              <a:gd name="T1" fmla="*/ 2147483647 h 35"/>
              <a:gd name="T2" fmla="*/ 2147483647 w 71"/>
              <a:gd name="T3" fmla="*/ 2147483647 h 35"/>
              <a:gd name="T4" fmla="*/ 2147483647 w 71"/>
              <a:gd name="T5" fmla="*/ 0 h 35"/>
              <a:gd name="T6" fmla="*/ 2147483647 w 71"/>
              <a:gd name="T7" fmla="*/ 2147483647 h 35"/>
              <a:gd name="T8" fmla="*/ 2147483647 w 71"/>
              <a:gd name="T9" fmla="*/ 2147483647 h 35"/>
              <a:gd name="T10" fmla="*/ 2147483647 w 71"/>
              <a:gd name="T11" fmla="*/ 2147483647 h 35"/>
              <a:gd name="T12" fmla="*/ 2147483647 w 71"/>
              <a:gd name="T13" fmla="*/ 2147483647 h 35"/>
              <a:gd name="T14" fmla="*/ 0 w 71"/>
              <a:gd name="T15" fmla="*/ 2147483647 h 3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35"/>
              <a:gd name="T26" fmla="*/ 71 w 71"/>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35">
                <a:moveTo>
                  <a:pt x="0" y="28"/>
                </a:moveTo>
                <a:lnTo>
                  <a:pt x="6" y="11"/>
                </a:lnTo>
                <a:lnTo>
                  <a:pt x="35" y="0"/>
                </a:lnTo>
                <a:lnTo>
                  <a:pt x="39" y="11"/>
                </a:lnTo>
                <a:lnTo>
                  <a:pt x="70" y="18"/>
                </a:lnTo>
                <a:lnTo>
                  <a:pt x="30" y="34"/>
                </a:lnTo>
                <a:lnTo>
                  <a:pt x="35" y="25"/>
                </a:lnTo>
                <a:lnTo>
                  <a:pt x="0" y="2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4" name="Freeform 196"/>
          <p:cNvSpPr>
            <a:spLocks/>
          </p:cNvSpPr>
          <p:nvPr/>
        </p:nvSpPr>
        <p:spPr bwMode="auto">
          <a:xfrm>
            <a:off x="4951413" y="5049838"/>
            <a:ext cx="28575" cy="36512"/>
          </a:xfrm>
          <a:custGeom>
            <a:avLst/>
            <a:gdLst>
              <a:gd name="T0" fmla="*/ 0 w 21"/>
              <a:gd name="T1" fmla="*/ 2147483647 h 25"/>
              <a:gd name="T2" fmla="*/ 2147483647 w 21"/>
              <a:gd name="T3" fmla="*/ 2147483647 h 25"/>
              <a:gd name="T4" fmla="*/ 2147483647 w 21"/>
              <a:gd name="T5" fmla="*/ 2147483647 h 25"/>
              <a:gd name="T6" fmla="*/ 2147483647 w 21"/>
              <a:gd name="T7" fmla="*/ 0 h 25"/>
              <a:gd name="T8" fmla="*/ 0 w 21"/>
              <a:gd name="T9" fmla="*/ 2147483647 h 25"/>
              <a:gd name="T10" fmla="*/ 0 60000 65536"/>
              <a:gd name="T11" fmla="*/ 0 60000 65536"/>
              <a:gd name="T12" fmla="*/ 0 60000 65536"/>
              <a:gd name="T13" fmla="*/ 0 60000 65536"/>
              <a:gd name="T14" fmla="*/ 0 60000 65536"/>
              <a:gd name="T15" fmla="*/ 0 w 21"/>
              <a:gd name="T16" fmla="*/ 0 h 25"/>
              <a:gd name="T17" fmla="*/ 21 w 21"/>
              <a:gd name="T18" fmla="*/ 25 h 25"/>
            </a:gdLst>
            <a:ahLst/>
            <a:cxnLst>
              <a:cxn ang="T10">
                <a:pos x="T0" y="T1"/>
              </a:cxn>
              <a:cxn ang="T11">
                <a:pos x="T2" y="T3"/>
              </a:cxn>
              <a:cxn ang="T12">
                <a:pos x="T4" y="T5"/>
              </a:cxn>
              <a:cxn ang="T13">
                <a:pos x="T6" y="T7"/>
              </a:cxn>
              <a:cxn ang="T14">
                <a:pos x="T8" y="T9"/>
              </a:cxn>
            </a:cxnLst>
            <a:rect l="T15" t="T16" r="T17" b="T18"/>
            <a:pathLst>
              <a:path w="21" h="25">
                <a:moveTo>
                  <a:pt x="0" y="14"/>
                </a:moveTo>
                <a:lnTo>
                  <a:pt x="13" y="24"/>
                </a:lnTo>
                <a:lnTo>
                  <a:pt x="20" y="17"/>
                </a:lnTo>
                <a:lnTo>
                  <a:pt x="20" y="0"/>
                </a:lnTo>
                <a:lnTo>
                  <a:pt x="0" y="1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5" name="Freeform 197"/>
          <p:cNvSpPr>
            <a:spLocks/>
          </p:cNvSpPr>
          <p:nvPr/>
        </p:nvSpPr>
        <p:spPr bwMode="auto">
          <a:xfrm>
            <a:off x="4497388" y="2541588"/>
            <a:ext cx="298450" cy="488950"/>
          </a:xfrm>
          <a:custGeom>
            <a:avLst/>
            <a:gdLst>
              <a:gd name="T0" fmla="*/ 0 w 217"/>
              <a:gd name="T1" fmla="*/ 2147483647 h 334"/>
              <a:gd name="T2" fmla="*/ 2147483647 w 217"/>
              <a:gd name="T3" fmla="*/ 2147483647 h 334"/>
              <a:gd name="T4" fmla="*/ 2147483647 w 217"/>
              <a:gd name="T5" fmla="*/ 2147483647 h 334"/>
              <a:gd name="T6" fmla="*/ 2147483647 w 217"/>
              <a:gd name="T7" fmla="*/ 2147483647 h 334"/>
              <a:gd name="T8" fmla="*/ 2147483647 w 217"/>
              <a:gd name="T9" fmla="*/ 2147483647 h 334"/>
              <a:gd name="T10" fmla="*/ 2147483647 w 217"/>
              <a:gd name="T11" fmla="*/ 2147483647 h 334"/>
              <a:gd name="T12" fmla="*/ 2147483647 w 217"/>
              <a:gd name="T13" fmla="*/ 2147483647 h 334"/>
              <a:gd name="T14" fmla="*/ 2147483647 w 217"/>
              <a:gd name="T15" fmla="*/ 2147483647 h 334"/>
              <a:gd name="T16" fmla="*/ 2147483647 w 217"/>
              <a:gd name="T17" fmla="*/ 2147483647 h 334"/>
              <a:gd name="T18" fmla="*/ 2147483647 w 217"/>
              <a:gd name="T19" fmla="*/ 2147483647 h 334"/>
              <a:gd name="T20" fmla="*/ 2147483647 w 217"/>
              <a:gd name="T21" fmla="*/ 2147483647 h 334"/>
              <a:gd name="T22" fmla="*/ 2147483647 w 217"/>
              <a:gd name="T23" fmla="*/ 2147483647 h 334"/>
              <a:gd name="T24" fmla="*/ 2147483647 w 217"/>
              <a:gd name="T25" fmla="*/ 2147483647 h 334"/>
              <a:gd name="T26" fmla="*/ 2147483647 w 217"/>
              <a:gd name="T27" fmla="*/ 2147483647 h 334"/>
              <a:gd name="T28" fmla="*/ 2147483647 w 217"/>
              <a:gd name="T29" fmla="*/ 2147483647 h 334"/>
              <a:gd name="T30" fmla="*/ 2147483647 w 217"/>
              <a:gd name="T31" fmla="*/ 2147483647 h 334"/>
              <a:gd name="T32" fmla="*/ 2147483647 w 217"/>
              <a:gd name="T33" fmla="*/ 2147483647 h 334"/>
              <a:gd name="T34" fmla="*/ 2147483647 w 217"/>
              <a:gd name="T35" fmla="*/ 2147483647 h 334"/>
              <a:gd name="T36" fmla="*/ 2147483647 w 217"/>
              <a:gd name="T37" fmla="*/ 2147483647 h 334"/>
              <a:gd name="T38" fmla="*/ 2147483647 w 217"/>
              <a:gd name="T39" fmla="*/ 2147483647 h 334"/>
              <a:gd name="T40" fmla="*/ 2147483647 w 217"/>
              <a:gd name="T41" fmla="*/ 0 h 334"/>
              <a:gd name="T42" fmla="*/ 2147483647 w 217"/>
              <a:gd name="T43" fmla="*/ 2147483647 h 334"/>
              <a:gd name="T44" fmla="*/ 2147483647 w 217"/>
              <a:gd name="T45" fmla="*/ 2147483647 h 334"/>
              <a:gd name="T46" fmla="*/ 2147483647 w 217"/>
              <a:gd name="T47" fmla="*/ 2147483647 h 334"/>
              <a:gd name="T48" fmla="*/ 2147483647 w 217"/>
              <a:gd name="T49" fmla="*/ 2147483647 h 334"/>
              <a:gd name="T50" fmla="*/ 2147483647 w 217"/>
              <a:gd name="T51" fmla="*/ 2147483647 h 334"/>
              <a:gd name="T52" fmla="*/ 2147483647 w 217"/>
              <a:gd name="T53" fmla="*/ 2147483647 h 334"/>
              <a:gd name="T54" fmla="*/ 2147483647 w 217"/>
              <a:gd name="T55" fmla="*/ 2147483647 h 334"/>
              <a:gd name="T56" fmla="*/ 2147483647 w 217"/>
              <a:gd name="T57" fmla="*/ 2147483647 h 334"/>
              <a:gd name="T58" fmla="*/ 2147483647 w 217"/>
              <a:gd name="T59" fmla="*/ 2147483647 h 334"/>
              <a:gd name="T60" fmla="*/ 2147483647 w 217"/>
              <a:gd name="T61" fmla="*/ 2147483647 h 334"/>
              <a:gd name="T62" fmla="*/ 2147483647 w 217"/>
              <a:gd name="T63" fmla="*/ 2147483647 h 334"/>
              <a:gd name="T64" fmla="*/ 2147483647 w 217"/>
              <a:gd name="T65" fmla="*/ 2147483647 h 334"/>
              <a:gd name="T66" fmla="*/ 2147483647 w 217"/>
              <a:gd name="T67" fmla="*/ 2147483647 h 334"/>
              <a:gd name="T68" fmla="*/ 2147483647 w 217"/>
              <a:gd name="T69" fmla="*/ 2147483647 h 334"/>
              <a:gd name="T70" fmla="*/ 0 w 217"/>
              <a:gd name="T71" fmla="*/ 2147483647 h 3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7"/>
              <a:gd name="T109" fmla="*/ 0 h 334"/>
              <a:gd name="T110" fmla="*/ 217 w 217"/>
              <a:gd name="T111" fmla="*/ 334 h 3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7" h="334">
                <a:moveTo>
                  <a:pt x="0" y="252"/>
                </a:moveTo>
                <a:lnTo>
                  <a:pt x="10" y="290"/>
                </a:lnTo>
                <a:lnTo>
                  <a:pt x="27" y="307"/>
                </a:lnTo>
                <a:lnTo>
                  <a:pt x="26" y="333"/>
                </a:lnTo>
                <a:lnTo>
                  <a:pt x="78" y="317"/>
                </a:lnTo>
                <a:lnTo>
                  <a:pt x="93" y="265"/>
                </a:lnTo>
                <a:lnTo>
                  <a:pt x="81" y="261"/>
                </a:lnTo>
                <a:lnTo>
                  <a:pt x="122" y="244"/>
                </a:lnTo>
                <a:lnTo>
                  <a:pt x="85" y="241"/>
                </a:lnTo>
                <a:lnTo>
                  <a:pt x="111" y="244"/>
                </a:lnTo>
                <a:lnTo>
                  <a:pt x="127" y="231"/>
                </a:lnTo>
                <a:lnTo>
                  <a:pt x="105" y="215"/>
                </a:lnTo>
                <a:lnTo>
                  <a:pt x="83" y="225"/>
                </a:lnTo>
                <a:lnTo>
                  <a:pt x="101" y="216"/>
                </a:lnTo>
                <a:lnTo>
                  <a:pt x="101" y="169"/>
                </a:lnTo>
                <a:lnTo>
                  <a:pt x="175" y="123"/>
                </a:lnTo>
                <a:lnTo>
                  <a:pt x="168" y="111"/>
                </a:lnTo>
                <a:lnTo>
                  <a:pt x="180" y="89"/>
                </a:lnTo>
                <a:lnTo>
                  <a:pt x="216" y="84"/>
                </a:lnTo>
                <a:lnTo>
                  <a:pt x="207" y="30"/>
                </a:lnTo>
                <a:lnTo>
                  <a:pt x="158" y="0"/>
                </a:lnTo>
                <a:lnTo>
                  <a:pt x="149" y="1"/>
                </a:lnTo>
                <a:lnTo>
                  <a:pt x="148" y="17"/>
                </a:lnTo>
                <a:lnTo>
                  <a:pt x="120" y="15"/>
                </a:lnTo>
                <a:lnTo>
                  <a:pt x="111" y="30"/>
                </a:lnTo>
                <a:lnTo>
                  <a:pt x="91" y="32"/>
                </a:lnTo>
                <a:lnTo>
                  <a:pt x="86" y="55"/>
                </a:lnTo>
                <a:lnTo>
                  <a:pt x="56" y="80"/>
                </a:lnTo>
                <a:lnTo>
                  <a:pt x="43" y="116"/>
                </a:lnTo>
                <a:lnTo>
                  <a:pt x="48" y="129"/>
                </a:lnTo>
                <a:lnTo>
                  <a:pt x="16" y="142"/>
                </a:lnTo>
                <a:lnTo>
                  <a:pt x="16" y="188"/>
                </a:lnTo>
                <a:lnTo>
                  <a:pt x="25" y="197"/>
                </a:lnTo>
                <a:lnTo>
                  <a:pt x="16" y="207"/>
                </a:lnTo>
                <a:lnTo>
                  <a:pt x="20" y="227"/>
                </a:lnTo>
                <a:lnTo>
                  <a:pt x="0" y="25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6" name="Freeform 198"/>
          <p:cNvSpPr>
            <a:spLocks/>
          </p:cNvSpPr>
          <p:nvPr/>
        </p:nvSpPr>
        <p:spPr bwMode="auto">
          <a:xfrm>
            <a:off x="4375150" y="3259138"/>
            <a:ext cx="107950" cy="52387"/>
          </a:xfrm>
          <a:custGeom>
            <a:avLst/>
            <a:gdLst>
              <a:gd name="T0" fmla="*/ 0 w 78"/>
              <a:gd name="T1" fmla="*/ 2147483647 h 35"/>
              <a:gd name="T2" fmla="*/ 2147483647 w 78"/>
              <a:gd name="T3" fmla="*/ 2147483647 h 35"/>
              <a:gd name="T4" fmla="*/ 2147483647 w 78"/>
              <a:gd name="T5" fmla="*/ 2147483647 h 35"/>
              <a:gd name="T6" fmla="*/ 2147483647 w 78"/>
              <a:gd name="T7" fmla="*/ 2147483647 h 35"/>
              <a:gd name="T8" fmla="*/ 2147483647 w 78"/>
              <a:gd name="T9" fmla="*/ 2147483647 h 35"/>
              <a:gd name="T10" fmla="*/ 2147483647 w 78"/>
              <a:gd name="T11" fmla="*/ 2147483647 h 35"/>
              <a:gd name="T12" fmla="*/ 2147483647 w 78"/>
              <a:gd name="T13" fmla="*/ 2147483647 h 35"/>
              <a:gd name="T14" fmla="*/ 2147483647 w 78"/>
              <a:gd name="T15" fmla="*/ 2147483647 h 35"/>
              <a:gd name="T16" fmla="*/ 2147483647 w 78"/>
              <a:gd name="T17" fmla="*/ 0 h 35"/>
              <a:gd name="T18" fmla="*/ 0 w 78"/>
              <a:gd name="T19" fmla="*/ 2147483647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8"/>
              <a:gd name="T31" fmla="*/ 0 h 35"/>
              <a:gd name="T32" fmla="*/ 78 w 78"/>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8" h="35">
                <a:moveTo>
                  <a:pt x="0" y="24"/>
                </a:moveTo>
                <a:lnTo>
                  <a:pt x="18" y="34"/>
                </a:lnTo>
                <a:lnTo>
                  <a:pt x="42" y="24"/>
                </a:lnTo>
                <a:lnTo>
                  <a:pt x="52" y="34"/>
                </a:lnTo>
                <a:lnTo>
                  <a:pt x="77" y="15"/>
                </a:lnTo>
                <a:lnTo>
                  <a:pt x="64" y="12"/>
                </a:lnTo>
                <a:lnTo>
                  <a:pt x="62" y="6"/>
                </a:lnTo>
                <a:lnTo>
                  <a:pt x="61" y="3"/>
                </a:lnTo>
                <a:lnTo>
                  <a:pt x="27" y="0"/>
                </a:lnTo>
                <a:lnTo>
                  <a:pt x="0" y="2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7" name="Freeform 199"/>
          <p:cNvSpPr>
            <a:spLocks/>
          </p:cNvSpPr>
          <p:nvPr/>
        </p:nvSpPr>
        <p:spPr bwMode="auto">
          <a:xfrm>
            <a:off x="5060950" y="3548063"/>
            <a:ext cx="165100" cy="130175"/>
          </a:xfrm>
          <a:custGeom>
            <a:avLst/>
            <a:gdLst>
              <a:gd name="T0" fmla="*/ 0 w 119"/>
              <a:gd name="T1" fmla="*/ 2147483647 h 89"/>
              <a:gd name="T2" fmla="*/ 2147483647 w 119"/>
              <a:gd name="T3" fmla="*/ 2147483647 h 89"/>
              <a:gd name="T4" fmla="*/ 2147483647 w 119"/>
              <a:gd name="T5" fmla="*/ 2147483647 h 89"/>
              <a:gd name="T6" fmla="*/ 2147483647 w 119"/>
              <a:gd name="T7" fmla="*/ 2147483647 h 89"/>
              <a:gd name="T8" fmla="*/ 2147483647 w 119"/>
              <a:gd name="T9" fmla="*/ 2147483647 h 89"/>
              <a:gd name="T10" fmla="*/ 2147483647 w 119"/>
              <a:gd name="T11" fmla="*/ 2147483647 h 89"/>
              <a:gd name="T12" fmla="*/ 2147483647 w 119"/>
              <a:gd name="T13" fmla="*/ 0 h 89"/>
              <a:gd name="T14" fmla="*/ 2147483647 w 119"/>
              <a:gd name="T15" fmla="*/ 2147483647 h 89"/>
              <a:gd name="T16" fmla="*/ 2147483647 w 119"/>
              <a:gd name="T17" fmla="*/ 2147483647 h 89"/>
              <a:gd name="T18" fmla="*/ 2147483647 w 119"/>
              <a:gd name="T19" fmla="*/ 2147483647 h 89"/>
              <a:gd name="T20" fmla="*/ 2147483647 w 119"/>
              <a:gd name="T21" fmla="*/ 2147483647 h 89"/>
              <a:gd name="T22" fmla="*/ 0 w 119"/>
              <a:gd name="T23" fmla="*/ 2147483647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89"/>
              <a:gd name="T38" fmla="*/ 119 w 11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89">
                <a:moveTo>
                  <a:pt x="0" y="81"/>
                </a:moveTo>
                <a:lnTo>
                  <a:pt x="2" y="71"/>
                </a:lnTo>
                <a:lnTo>
                  <a:pt x="21" y="52"/>
                </a:lnTo>
                <a:lnTo>
                  <a:pt x="9" y="45"/>
                </a:lnTo>
                <a:lnTo>
                  <a:pt x="9" y="22"/>
                </a:lnTo>
                <a:lnTo>
                  <a:pt x="21" y="7"/>
                </a:lnTo>
                <a:lnTo>
                  <a:pt x="118" y="0"/>
                </a:lnTo>
                <a:lnTo>
                  <a:pt x="100" y="14"/>
                </a:lnTo>
                <a:lnTo>
                  <a:pt x="93" y="49"/>
                </a:lnTo>
                <a:lnTo>
                  <a:pt x="53" y="69"/>
                </a:lnTo>
                <a:lnTo>
                  <a:pt x="18" y="88"/>
                </a:lnTo>
                <a:lnTo>
                  <a:pt x="0" y="8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8" name="Freeform 200"/>
          <p:cNvSpPr>
            <a:spLocks/>
          </p:cNvSpPr>
          <p:nvPr/>
        </p:nvSpPr>
        <p:spPr bwMode="auto">
          <a:xfrm>
            <a:off x="4922838" y="4465638"/>
            <a:ext cx="254000" cy="246062"/>
          </a:xfrm>
          <a:custGeom>
            <a:avLst/>
            <a:gdLst>
              <a:gd name="T0" fmla="*/ 0 w 185"/>
              <a:gd name="T1" fmla="*/ 2147483647 h 168"/>
              <a:gd name="T2" fmla="*/ 2147483647 w 185"/>
              <a:gd name="T3" fmla="*/ 2147483647 h 168"/>
              <a:gd name="T4" fmla="*/ 2147483647 w 185"/>
              <a:gd name="T5" fmla="*/ 2147483647 h 168"/>
              <a:gd name="T6" fmla="*/ 2147483647 w 185"/>
              <a:gd name="T7" fmla="*/ 2147483647 h 168"/>
              <a:gd name="T8" fmla="*/ 2147483647 w 185"/>
              <a:gd name="T9" fmla="*/ 2147483647 h 168"/>
              <a:gd name="T10" fmla="*/ 2147483647 w 185"/>
              <a:gd name="T11" fmla="*/ 2147483647 h 168"/>
              <a:gd name="T12" fmla="*/ 2147483647 w 185"/>
              <a:gd name="T13" fmla="*/ 2147483647 h 168"/>
              <a:gd name="T14" fmla="*/ 2147483647 w 185"/>
              <a:gd name="T15" fmla="*/ 2147483647 h 168"/>
              <a:gd name="T16" fmla="*/ 2147483647 w 185"/>
              <a:gd name="T17" fmla="*/ 2147483647 h 168"/>
              <a:gd name="T18" fmla="*/ 2147483647 w 185"/>
              <a:gd name="T19" fmla="*/ 2147483647 h 168"/>
              <a:gd name="T20" fmla="*/ 2147483647 w 185"/>
              <a:gd name="T21" fmla="*/ 0 h 168"/>
              <a:gd name="T22" fmla="*/ 2147483647 w 185"/>
              <a:gd name="T23" fmla="*/ 2147483647 h 168"/>
              <a:gd name="T24" fmla="*/ 2147483647 w 185"/>
              <a:gd name="T25" fmla="*/ 2147483647 h 168"/>
              <a:gd name="T26" fmla="*/ 2147483647 w 185"/>
              <a:gd name="T27" fmla="*/ 2147483647 h 168"/>
              <a:gd name="T28" fmla="*/ 2147483647 w 185"/>
              <a:gd name="T29" fmla="*/ 0 h 168"/>
              <a:gd name="T30" fmla="*/ 2147483647 w 185"/>
              <a:gd name="T31" fmla="*/ 0 h 168"/>
              <a:gd name="T32" fmla="*/ 2147483647 w 185"/>
              <a:gd name="T33" fmla="*/ 2147483647 h 168"/>
              <a:gd name="T34" fmla="*/ 2147483647 w 185"/>
              <a:gd name="T35" fmla="*/ 2147483647 h 168"/>
              <a:gd name="T36" fmla="*/ 0 w 185"/>
              <a:gd name="T37" fmla="*/ 2147483647 h 1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5"/>
              <a:gd name="T58" fmla="*/ 0 h 168"/>
              <a:gd name="T59" fmla="*/ 185 w 185"/>
              <a:gd name="T60" fmla="*/ 168 h 16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5" h="168">
                <a:moveTo>
                  <a:pt x="0" y="55"/>
                </a:moveTo>
                <a:lnTo>
                  <a:pt x="4" y="86"/>
                </a:lnTo>
                <a:lnTo>
                  <a:pt x="26" y="119"/>
                </a:lnTo>
                <a:lnTo>
                  <a:pt x="57" y="132"/>
                </a:lnTo>
                <a:lnTo>
                  <a:pt x="72" y="138"/>
                </a:lnTo>
                <a:lnTo>
                  <a:pt x="91" y="167"/>
                </a:lnTo>
                <a:lnTo>
                  <a:pt x="158" y="164"/>
                </a:lnTo>
                <a:lnTo>
                  <a:pt x="184" y="151"/>
                </a:lnTo>
                <a:lnTo>
                  <a:pt x="157" y="84"/>
                </a:lnTo>
                <a:lnTo>
                  <a:pt x="165" y="58"/>
                </a:lnTo>
                <a:lnTo>
                  <a:pt x="78" y="0"/>
                </a:lnTo>
                <a:lnTo>
                  <a:pt x="56" y="30"/>
                </a:lnTo>
                <a:lnTo>
                  <a:pt x="46" y="20"/>
                </a:lnTo>
                <a:lnTo>
                  <a:pt x="40" y="28"/>
                </a:lnTo>
                <a:lnTo>
                  <a:pt x="37" y="0"/>
                </a:lnTo>
                <a:lnTo>
                  <a:pt x="15" y="0"/>
                </a:lnTo>
                <a:lnTo>
                  <a:pt x="17" y="22"/>
                </a:lnTo>
                <a:lnTo>
                  <a:pt x="20" y="34"/>
                </a:lnTo>
                <a:lnTo>
                  <a:pt x="0" y="5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09" name="Freeform 201"/>
          <p:cNvSpPr>
            <a:spLocks/>
          </p:cNvSpPr>
          <p:nvPr/>
        </p:nvSpPr>
        <p:spPr bwMode="auto">
          <a:xfrm>
            <a:off x="6494463" y="3960813"/>
            <a:ext cx="185737" cy="355600"/>
          </a:xfrm>
          <a:custGeom>
            <a:avLst/>
            <a:gdLst>
              <a:gd name="T0" fmla="*/ 0 w 135"/>
              <a:gd name="T1" fmla="*/ 2147483647 h 243"/>
              <a:gd name="T2" fmla="*/ 2147483647 w 135"/>
              <a:gd name="T3" fmla="*/ 2147483647 h 243"/>
              <a:gd name="T4" fmla="*/ 2147483647 w 135"/>
              <a:gd name="T5" fmla="*/ 0 h 243"/>
              <a:gd name="T6" fmla="*/ 2147483647 w 135"/>
              <a:gd name="T7" fmla="*/ 2147483647 h 243"/>
              <a:gd name="T8" fmla="*/ 2147483647 w 135"/>
              <a:gd name="T9" fmla="*/ 2147483647 h 243"/>
              <a:gd name="T10" fmla="*/ 2147483647 w 135"/>
              <a:gd name="T11" fmla="*/ 2147483647 h 243"/>
              <a:gd name="T12" fmla="*/ 2147483647 w 135"/>
              <a:gd name="T13" fmla="*/ 2147483647 h 243"/>
              <a:gd name="T14" fmla="*/ 2147483647 w 135"/>
              <a:gd name="T15" fmla="*/ 2147483647 h 243"/>
              <a:gd name="T16" fmla="*/ 2147483647 w 135"/>
              <a:gd name="T17" fmla="*/ 2147483647 h 243"/>
              <a:gd name="T18" fmla="*/ 2147483647 w 135"/>
              <a:gd name="T19" fmla="*/ 2147483647 h 243"/>
              <a:gd name="T20" fmla="*/ 2147483647 w 135"/>
              <a:gd name="T21" fmla="*/ 2147483647 h 243"/>
              <a:gd name="T22" fmla="*/ 2147483647 w 135"/>
              <a:gd name="T23" fmla="*/ 2147483647 h 243"/>
              <a:gd name="T24" fmla="*/ 2147483647 w 135"/>
              <a:gd name="T25" fmla="*/ 2147483647 h 243"/>
              <a:gd name="T26" fmla="*/ 2147483647 w 135"/>
              <a:gd name="T27" fmla="*/ 2147483647 h 243"/>
              <a:gd name="T28" fmla="*/ 2147483647 w 135"/>
              <a:gd name="T29" fmla="*/ 2147483647 h 243"/>
              <a:gd name="T30" fmla="*/ 2147483647 w 135"/>
              <a:gd name="T31" fmla="*/ 2147483647 h 243"/>
              <a:gd name="T32" fmla="*/ 2147483647 w 135"/>
              <a:gd name="T33" fmla="*/ 2147483647 h 243"/>
              <a:gd name="T34" fmla="*/ 2147483647 w 135"/>
              <a:gd name="T35" fmla="*/ 2147483647 h 243"/>
              <a:gd name="T36" fmla="*/ 2147483647 w 135"/>
              <a:gd name="T37" fmla="*/ 2147483647 h 243"/>
              <a:gd name="T38" fmla="*/ 2147483647 w 135"/>
              <a:gd name="T39" fmla="*/ 2147483647 h 243"/>
              <a:gd name="T40" fmla="*/ 2147483647 w 135"/>
              <a:gd name="T41" fmla="*/ 2147483647 h 243"/>
              <a:gd name="T42" fmla="*/ 2147483647 w 135"/>
              <a:gd name="T43" fmla="*/ 2147483647 h 243"/>
              <a:gd name="T44" fmla="*/ 2147483647 w 135"/>
              <a:gd name="T45" fmla="*/ 2147483647 h 243"/>
              <a:gd name="T46" fmla="*/ 2147483647 w 135"/>
              <a:gd name="T47" fmla="*/ 2147483647 h 243"/>
              <a:gd name="T48" fmla="*/ 0 w 135"/>
              <a:gd name="T49" fmla="*/ 2147483647 h 24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5"/>
              <a:gd name="T76" fmla="*/ 0 h 243"/>
              <a:gd name="T77" fmla="*/ 135 w 135"/>
              <a:gd name="T78" fmla="*/ 243 h 24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5" h="243">
                <a:moveTo>
                  <a:pt x="0" y="37"/>
                </a:moveTo>
                <a:lnTo>
                  <a:pt x="9" y="19"/>
                </a:lnTo>
                <a:lnTo>
                  <a:pt x="44" y="0"/>
                </a:lnTo>
                <a:lnTo>
                  <a:pt x="61" y="19"/>
                </a:lnTo>
                <a:lnTo>
                  <a:pt x="58" y="51"/>
                </a:lnTo>
                <a:lnTo>
                  <a:pt x="101" y="37"/>
                </a:lnTo>
                <a:lnTo>
                  <a:pt x="118" y="51"/>
                </a:lnTo>
                <a:lnTo>
                  <a:pt x="134" y="83"/>
                </a:lnTo>
                <a:lnTo>
                  <a:pt x="130" y="105"/>
                </a:lnTo>
                <a:lnTo>
                  <a:pt x="95" y="104"/>
                </a:lnTo>
                <a:lnTo>
                  <a:pt x="84" y="112"/>
                </a:lnTo>
                <a:lnTo>
                  <a:pt x="91" y="148"/>
                </a:lnTo>
                <a:lnTo>
                  <a:pt x="45" y="118"/>
                </a:lnTo>
                <a:lnTo>
                  <a:pt x="28" y="169"/>
                </a:lnTo>
                <a:lnTo>
                  <a:pt x="51" y="215"/>
                </a:lnTo>
                <a:lnTo>
                  <a:pt x="78" y="234"/>
                </a:lnTo>
                <a:lnTo>
                  <a:pt x="61" y="242"/>
                </a:lnTo>
                <a:lnTo>
                  <a:pt x="59" y="229"/>
                </a:lnTo>
                <a:lnTo>
                  <a:pt x="45" y="229"/>
                </a:lnTo>
                <a:lnTo>
                  <a:pt x="13" y="201"/>
                </a:lnTo>
                <a:lnTo>
                  <a:pt x="19" y="170"/>
                </a:lnTo>
                <a:lnTo>
                  <a:pt x="35" y="142"/>
                </a:lnTo>
                <a:lnTo>
                  <a:pt x="11" y="95"/>
                </a:lnTo>
                <a:lnTo>
                  <a:pt x="21" y="74"/>
                </a:lnTo>
                <a:lnTo>
                  <a:pt x="0" y="3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0" name="Freeform 202"/>
          <p:cNvSpPr>
            <a:spLocks/>
          </p:cNvSpPr>
          <p:nvPr/>
        </p:nvSpPr>
        <p:spPr bwMode="auto">
          <a:xfrm>
            <a:off x="4232275" y="4184650"/>
            <a:ext cx="53975" cy="120650"/>
          </a:xfrm>
          <a:custGeom>
            <a:avLst/>
            <a:gdLst>
              <a:gd name="T0" fmla="*/ 0 w 39"/>
              <a:gd name="T1" fmla="*/ 0 h 82"/>
              <a:gd name="T2" fmla="*/ 2147483647 w 39"/>
              <a:gd name="T3" fmla="*/ 2147483647 h 82"/>
              <a:gd name="T4" fmla="*/ 2147483647 w 39"/>
              <a:gd name="T5" fmla="*/ 2147483647 h 82"/>
              <a:gd name="T6" fmla="*/ 2147483647 w 39"/>
              <a:gd name="T7" fmla="*/ 2147483647 h 82"/>
              <a:gd name="T8" fmla="*/ 0 w 39"/>
              <a:gd name="T9" fmla="*/ 0 h 82"/>
              <a:gd name="T10" fmla="*/ 0 60000 65536"/>
              <a:gd name="T11" fmla="*/ 0 60000 65536"/>
              <a:gd name="T12" fmla="*/ 0 60000 65536"/>
              <a:gd name="T13" fmla="*/ 0 60000 65536"/>
              <a:gd name="T14" fmla="*/ 0 60000 65536"/>
              <a:gd name="T15" fmla="*/ 0 w 39"/>
              <a:gd name="T16" fmla="*/ 0 h 82"/>
              <a:gd name="T17" fmla="*/ 39 w 39"/>
              <a:gd name="T18" fmla="*/ 82 h 82"/>
            </a:gdLst>
            <a:ahLst/>
            <a:cxnLst>
              <a:cxn ang="T10">
                <a:pos x="T0" y="T1"/>
              </a:cxn>
              <a:cxn ang="T11">
                <a:pos x="T2" y="T3"/>
              </a:cxn>
              <a:cxn ang="T12">
                <a:pos x="T4" y="T5"/>
              </a:cxn>
              <a:cxn ang="T13">
                <a:pos x="T6" y="T7"/>
              </a:cxn>
              <a:cxn ang="T14">
                <a:pos x="T8" y="T9"/>
              </a:cxn>
            </a:cxnLst>
            <a:rect l="T15" t="T16" r="T17" b="T18"/>
            <a:pathLst>
              <a:path w="39" h="82">
                <a:moveTo>
                  <a:pt x="0" y="0"/>
                </a:moveTo>
                <a:lnTo>
                  <a:pt x="20" y="3"/>
                </a:lnTo>
                <a:lnTo>
                  <a:pt x="38" y="78"/>
                </a:lnTo>
                <a:lnTo>
                  <a:pt x="25" y="81"/>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1" name="Freeform 203"/>
          <p:cNvSpPr>
            <a:spLocks/>
          </p:cNvSpPr>
          <p:nvPr/>
        </p:nvSpPr>
        <p:spPr bwMode="auto">
          <a:xfrm>
            <a:off x="2808288" y="4195763"/>
            <a:ext cx="23812" cy="17462"/>
          </a:xfrm>
          <a:custGeom>
            <a:avLst/>
            <a:gdLst>
              <a:gd name="T0" fmla="*/ 0 w 17"/>
              <a:gd name="T1" fmla="*/ 2147483647 h 12"/>
              <a:gd name="T2" fmla="*/ 2147483647 w 17"/>
              <a:gd name="T3" fmla="*/ 2147483647 h 12"/>
              <a:gd name="T4" fmla="*/ 2147483647 w 17"/>
              <a:gd name="T5" fmla="*/ 0 h 12"/>
              <a:gd name="T6" fmla="*/ 0 w 17"/>
              <a:gd name="T7" fmla="*/ 2147483647 h 12"/>
              <a:gd name="T8" fmla="*/ 0 60000 65536"/>
              <a:gd name="T9" fmla="*/ 0 60000 65536"/>
              <a:gd name="T10" fmla="*/ 0 60000 65536"/>
              <a:gd name="T11" fmla="*/ 0 60000 65536"/>
              <a:gd name="T12" fmla="*/ 0 w 17"/>
              <a:gd name="T13" fmla="*/ 0 h 12"/>
              <a:gd name="T14" fmla="*/ 17 w 17"/>
              <a:gd name="T15" fmla="*/ 12 h 12"/>
            </a:gdLst>
            <a:ahLst/>
            <a:cxnLst>
              <a:cxn ang="T8">
                <a:pos x="T0" y="T1"/>
              </a:cxn>
              <a:cxn ang="T9">
                <a:pos x="T2" y="T3"/>
              </a:cxn>
              <a:cxn ang="T10">
                <a:pos x="T4" y="T5"/>
              </a:cxn>
              <a:cxn ang="T11">
                <a:pos x="T6" y="T7"/>
              </a:cxn>
            </a:cxnLst>
            <a:rect l="T12" t="T13" r="T14" b="T15"/>
            <a:pathLst>
              <a:path w="17" h="12">
                <a:moveTo>
                  <a:pt x="0" y="11"/>
                </a:moveTo>
                <a:lnTo>
                  <a:pt x="14" y="9"/>
                </a:lnTo>
                <a:lnTo>
                  <a:pt x="16" y="0"/>
                </a:lnTo>
                <a:lnTo>
                  <a:pt x="0" y="1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2" name="Freeform 204"/>
          <p:cNvSpPr>
            <a:spLocks/>
          </p:cNvSpPr>
          <p:nvPr/>
        </p:nvSpPr>
        <p:spPr bwMode="auto">
          <a:xfrm>
            <a:off x="5416550" y="3829050"/>
            <a:ext cx="123825" cy="85725"/>
          </a:xfrm>
          <a:custGeom>
            <a:avLst/>
            <a:gdLst>
              <a:gd name="T0" fmla="*/ 0 w 90"/>
              <a:gd name="T1" fmla="*/ 2147483647 h 58"/>
              <a:gd name="T2" fmla="*/ 2147483647 w 90"/>
              <a:gd name="T3" fmla="*/ 2147483647 h 58"/>
              <a:gd name="T4" fmla="*/ 2147483647 w 90"/>
              <a:gd name="T5" fmla="*/ 2147483647 h 58"/>
              <a:gd name="T6" fmla="*/ 2147483647 w 90"/>
              <a:gd name="T7" fmla="*/ 2147483647 h 58"/>
              <a:gd name="T8" fmla="*/ 2147483647 w 90"/>
              <a:gd name="T9" fmla="*/ 0 h 58"/>
              <a:gd name="T10" fmla="*/ 2147483647 w 90"/>
              <a:gd name="T11" fmla="*/ 2147483647 h 58"/>
              <a:gd name="T12" fmla="*/ 2147483647 w 90"/>
              <a:gd name="T13" fmla="*/ 2147483647 h 58"/>
              <a:gd name="T14" fmla="*/ 2147483647 w 90"/>
              <a:gd name="T15" fmla="*/ 2147483647 h 58"/>
              <a:gd name="T16" fmla="*/ 2147483647 w 90"/>
              <a:gd name="T17" fmla="*/ 2147483647 h 58"/>
              <a:gd name="T18" fmla="*/ 2147483647 w 90"/>
              <a:gd name="T19" fmla="*/ 2147483647 h 58"/>
              <a:gd name="T20" fmla="*/ 0 w 90"/>
              <a:gd name="T21" fmla="*/ 2147483647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0"/>
              <a:gd name="T34" fmla="*/ 0 h 58"/>
              <a:gd name="T35" fmla="*/ 90 w 9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0" h="58">
                <a:moveTo>
                  <a:pt x="0" y="27"/>
                </a:moveTo>
                <a:lnTo>
                  <a:pt x="7" y="24"/>
                </a:lnTo>
                <a:lnTo>
                  <a:pt x="15" y="34"/>
                </a:lnTo>
                <a:lnTo>
                  <a:pt x="51" y="34"/>
                </a:lnTo>
                <a:lnTo>
                  <a:pt x="85" y="0"/>
                </a:lnTo>
                <a:lnTo>
                  <a:pt x="89" y="21"/>
                </a:lnTo>
                <a:lnTo>
                  <a:pt x="79" y="22"/>
                </a:lnTo>
                <a:lnTo>
                  <a:pt x="85" y="34"/>
                </a:lnTo>
                <a:lnTo>
                  <a:pt x="72" y="57"/>
                </a:lnTo>
                <a:lnTo>
                  <a:pt x="17" y="52"/>
                </a:lnTo>
                <a:lnTo>
                  <a:pt x="0" y="2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3" name="Freeform 205"/>
          <p:cNvSpPr>
            <a:spLocks/>
          </p:cNvSpPr>
          <p:nvPr/>
        </p:nvSpPr>
        <p:spPr bwMode="auto">
          <a:xfrm>
            <a:off x="4410075" y="3551238"/>
            <a:ext cx="92075" cy="176212"/>
          </a:xfrm>
          <a:custGeom>
            <a:avLst/>
            <a:gdLst>
              <a:gd name="T0" fmla="*/ 0 w 67"/>
              <a:gd name="T1" fmla="*/ 2147483647 h 121"/>
              <a:gd name="T2" fmla="*/ 2147483647 w 67"/>
              <a:gd name="T3" fmla="*/ 2147483647 h 121"/>
              <a:gd name="T4" fmla="*/ 2147483647 w 67"/>
              <a:gd name="T5" fmla="*/ 2147483647 h 121"/>
              <a:gd name="T6" fmla="*/ 2147483647 w 67"/>
              <a:gd name="T7" fmla="*/ 0 h 121"/>
              <a:gd name="T8" fmla="*/ 2147483647 w 67"/>
              <a:gd name="T9" fmla="*/ 2147483647 h 121"/>
              <a:gd name="T10" fmla="*/ 2147483647 w 67"/>
              <a:gd name="T11" fmla="*/ 2147483647 h 121"/>
              <a:gd name="T12" fmla="*/ 2147483647 w 67"/>
              <a:gd name="T13" fmla="*/ 2147483647 h 121"/>
              <a:gd name="T14" fmla="*/ 2147483647 w 67"/>
              <a:gd name="T15" fmla="*/ 2147483647 h 121"/>
              <a:gd name="T16" fmla="*/ 2147483647 w 67"/>
              <a:gd name="T17" fmla="*/ 2147483647 h 121"/>
              <a:gd name="T18" fmla="*/ 2147483647 w 67"/>
              <a:gd name="T19" fmla="*/ 2147483647 h 121"/>
              <a:gd name="T20" fmla="*/ 0 w 67"/>
              <a:gd name="T21" fmla="*/ 2147483647 h 1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121"/>
              <a:gd name="T35" fmla="*/ 67 w 67"/>
              <a:gd name="T36" fmla="*/ 121 h 1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121">
                <a:moveTo>
                  <a:pt x="0" y="57"/>
                </a:moveTo>
                <a:lnTo>
                  <a:pt x="14" y="45"/>
                </a:lnTo>
                <a:lnTo>
                  <a:pt x="22" y="3"/>
                </a:lnTo>
                <a:lnTo>
                  <a:pt x="61" y="0"/>
                </a:lnTo>
                <a:lnTo>
                  <a:pt x="52" y="17"/>
                </a:lnTo>
                <a:lnTo>
                  <a:pt x="64" y="33"/>
                </a:lnTo>
                <a:lnTo>
                  <a:pt x="42" y="57"/>
                </a:lnTo>
                <a:lnTo>
                  <a:pt x="66" y="70"/>
                </a:lnTo>
                <a:lnTo>
                  <a:pt x="32" y="120"/>
                </a:lnTo>
                <a:lnTo>
                  <a:pt x="27" y="89"/>
                </a:lnTo>
                <a:lnTo>
                  <a:pt x="0" y="5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4" name="Freeform 206"/>
          <p:cNvSpPr>
            <a:spLocks/>
          </p:cNvSpPr>
          <p:nvPr/>
        </p:nvSpPr>
        <p:spPr bwMode="auto">
          <a:xfrm>
            <a:off x="4843463" y="3422650"/>
            <a:ext cx="68262" cy="49213"/>
          </a:xfrm>
          <a:custGeom>
            <a:avLst/>
            <a:gdLst>
              <a:gd name="T0" fmla="*/ 0 w 50"/>
              <a:gd name="T1" fmla="*/ 2147483647 h 34"/>
              <a:gd name="T2" fmla="*/ 2147483647 w 50"/>
              <a:gd name="T3" fmla="*/ 2147483647 h 34"/>
              <a:gd name="T4" fmla="*/ 2147483647 w 50"/>
              <a:gd name="T5" fmla="*/ 0 h 34"/>
              <a:gd name="T6" fmla="*/ 2147483647 w 50"/>
              <a:gd name="T7" fmla="*/ 2147483647 h 34"/>
              <a:gd name="T8" fmla="*/ 2147483647 w 50"/>
              <a:gd name="T9" fmla="*/ 2147483647 h 34"/>
              <a:gd name="T10" fmla="*/ 2147483647 w 50"/>
              <a:gd name="T11" fmla="*/ 2147483647 h 34"/>
              <a:gd name="T12" fmla="*/ 2147483647 w 50"/>
              <a:gd name="T13" fmla="*/ 2147483647 h 34"/>
              <a:gd name="T14" fmla="*/ 0 w 50"/>
              <a:gd name="T15" fmla="*/ 2147483647 h 34"/>
              <a:gd name="T16" fmla="*/ 0 60000 65536"/>
              <a:gd name="T17" fmla="*/ 0 60000 65536"/>
              <a:gd name="T18" fmla="*/ 0 60000 65536"/>
              <a:gd name="T19" fmla="*/ 0 60000 65536"/>
              <a:gd name="T20" fmla="*/ 0 60000 65536"/>
              <a:gd name="T21" fmla="*/ 0 60000 65536"/>
              <a:gd name="T22" fmla="*/ 0 60000 65536"/>
              <a:gd name="T23" fmla="*/ 0 60000 65536"/>
              <a:gd name="T24" fmla="*/ 0 w 50"/>
              <a:gd name="T25" fmla="*/ 0 h 34"/>
              <a:gd name="T26" fmla="*/ 50 w 50"/>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 h="34">
                <a:moveTo>
                  <a:pt x="0" y="22"/>
                </a:moveTo>
                <a:lnTo>
                  <a:pt x="5" y="2"/>
                </a:lnTo>
                <a:lnTo>
                  <a:pt x="33" y="0"/>
                </a:lnTo>
                <a:lnTo>
                  <a:pt x="49" y="16"/>
                </a:lnTo>
                <a:lnTo>
                  <a:pt x="27" y="17"/>
                </a:lnTo>
                <a:lnTo>
                  <a:pt x="4" y="33"/>
                </a:lnTo>
                <a:lnTo>
                  <a:pt x="13" y="23"/>
                </a:lnTo>
                <a:lnTo>
                  <a:pt x="0" y="22"/>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5" name="Freeform 207"/>
          <p:cNvSpPr>
            <a:spLocks/>
          </p:cNvSpPr>
          <p:nvPr/>
        </p:nvSpPr>
        <p:spPr bwMode="auto">
          <a:xfrm>
            <a:off x="4848225" y="3416300"/>
            <a:ext cx="427038" cy="163513"/>
          </a:xfrm>
          <a:custGeom>
            <a:avLst/>
            <a:gdLst>
              <a:gd name="T0" fmla="*/ 0 w 310"/>
              <a:gd name="T1" fmla="*/ 2147483647 h 112"/>
              <a:gd name="T2" fmla="*/ 2147483647 w 310"/>
              <a:gd name="T3" fmla="*/ 2147483647 h 112"/>
              <a:gd name="T4" fmla="*/ 0 w 310"/>
              <a:gd name="T5" fmla="*/ 2147483647 h 112"/>
              <a:gd name="T6" fmla="*/ 2147483647 w 310"/>
              <a:gd name="T7" fmla="*/ 2147483647 h 112"/>
              <a:gd name="T8" fmla="*/ 2147483647 w 310"/>
              <a:gd name="T9" fmla="*/ 2147483647 h 112"/>
              <a:gd name="T10" fmla="*/ 2147483647 w 310"/>
              <a:gd name="T11" fmla="*/ 2147483647 h 112"/>
              <a:gd name="T12" fmla="*/ 2147483647 w 310"/>
              <a:gd name="T13" fmla="*/ 2147483647 h 112"/>
              <a:gd name="T14" fmla="*/ 2147483647 w 310"/>
              <a:gd name="T15" fmla="*/ 2147483647 h 112"/>
              <a:gd name="T16" fmla="*/ 2147483647 w 310"/>
              <a:gd name="T17" fmla="*/ 2147483647 h 112"/>
              <a:gd name="T18" fmla="*/ 2147483647 w 310"/>
              <a:gd name="T19" fmla="*/ 2147483647 h 112"/>
              <a:gd name="T20" fmla="*/ 2147483647 w 310"/>
              <a:gd name="T21" fmla="*/ 2147483647 h 112"/>
              <a:gd name="T22" fmla="*/ 2147483647 w 310"/>
              <a:gd name="T23" fmla="*/ 2147483647 h 112"/>
              <a:gd name="T24" fmla="*/ 2147483647 w 310"/>
              <a:gd name="T25" fmla="*/ 2147483647 h 112"/>
              <a:gd name="T26" fmla="*/ 2147483647 w 310"/>
              <a:gd name="T27" fmla="*/ 2147483647 h 112"/>
              <a:gd name="T28" fmla="*/ 2147483647 w 310"/>
              <a:gd name="T29" fmla="*/ 2147483647 h 112"/>
              <a:gd name="T30" fmla="*/ 2147483647 w 310"/>
              <a:gd name="T31" fmla="*/ 2147483647 h 112"/>
              <a:gd name="T32" fmla="*/ 2147483647 w 310"/>
              <a:gd name="T33" fmla="*/ 2147483647 h 112"/>
              <a:gd name="T34" fmla="*/ 2147483647 w 310"/>
              <a:gd name="T35" fmla="*/ 2147483647 h 112"/>
              <a:gd name="T36" fmla="*/ 2147483647 w 310"/>
              <a:gd name="T37" fmla="*/ 2147483647 h 112"/>
              <a:gd name="T38" fmla="*/ 2147483647 w 310"/>
              <a:gd name="T39" fmla="*/ 2147483647 h 112"/>
              <a:gd name="T40" fmla="*/ 2147483647 w 310"/>
              <a:gd name="T41" fmla="*/ 2147483647 h 112"/>
              <a:gd name="T42" fmla="*/ 2147483647 w 310"/>
              <a:gd name="T43" fmla="*/ 0 h 112"/>
              <a:gd name="T44" fmla="*/ 2147483647 w 310"/>
              <a:gd name="T45" fmla="*/ 2147483647 h 112"/>
              <a:gd name="T46" fmla="*/ 2147483647 w 310"/>
              <a:gd name="T47" fmla="*/ 2147483647 h 112"/>
              <a:gd name="T48" fmla="*/ 2147483647 w 310"/>
              <a:gd name="T49" fmla="*/ 2147483647 h 112"/>
              <a:gd name="T50" fmla="*/ 2147483647 w 310"/>
              <a:gd name="T51" fmla="*/ 2147483647 h 112"/>
              <a:gd name="T52" fmla="*/ 0 w 310"/>
              <a:gd name="T53" fmla="*/ 2147483647 h 1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0"/>
              <a:gd name="T82" fmla="*/ 0 h 112"/>
              <a:gd name="T83" fmla="*/ 310 w 310"/>
              <a:gd name="T84" fmla="*/ 112 h 1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0" h="112">
                <a:moveTo>
                  <a:pt x="0" y="38"/>
                </a:moveTo>
                <a:lnTo>
                  <a:pt x="14" y="68"/>
                </a:lnTo>
                <a:lnTo>
                  <a:pt x="0" y="69"/>
                </a:lnTo>
                <a:lnTo>
                  <a:pt x="14" y="74"/>
                </a:lnTo>
                <a:lnTo>
                  <a:pt x="20" y="94"/>
                </a:lnTo>
                <a:lnTo>
                  <a:pt x="34" y="91"/>
                </a:lnTo>
                <a:lnTo>
                  <a:pt x="20" y="98"/>
                </a:lnTo>
                <a:lnTo>
                  <a:pt x="39" y="97"/>
                </a:lnTo>
                <a:lnTo>
                  <a:pt x="60" y="109"/>
                </a:lnTo>
                <a:lnTo>
                  <a:pt x="80" y="96"/>
                </a:lnTo>
                <a:lnTo>
                  <a:pt x="111" y="111"/>
                </a:lnTo>
                <a:lnTo>
                  <a:pt x="163" y="96"/>
                </a:lnTo>
                <a:lnTo>
                  <a:pt x="161" y="111"/>
                </a:lnTo>
                <a:lnTo>
                  <a:pt x="174" y="96"/>
                </a:lnTo>
                <a:lnTo>
                  <a:pt x="271" y="89"/>
                </a:lnTo>
                <a:lnTo>
                  <a:pt x="309" y="89"/>
                </a:lnTo>
                <a:lnTo>
                  <a:pt x="298" y="50"/>
                </a:lnTo>
                <a:lnTo>
                  <a:pt x="307" y="42"/>
                </a:lnTo>
                <a:lnTo>
                  <a:pt x="276" y="9"/>
                </a:lnTo>
                <a:lnTo>
                  <a:pt x="254" y="9"/>
                </a:lnTo>
                <a:lnTo>
                  <a:pt x="197" y="21"/>
                </a:lnTo>
                <a:lnTo>
                  <a:pt x="149" y="0"/>
                </a:lnTo>
                <a:lnTo>
                  <a:pt x="119" y="1"/>
                </a:lnTo>
                <a:lnTo>
                  <a:pt x="81" y="20"/>
                </a:lnTo>
                <a:lnTo>
                  <a:pt x="50" y="15"/>
                </a:lnTo>
                <a:lnTo>
                  <a:pt x="59" y="24"/>
                </a:lnTo>
                <a:lnTo>
                  <a:pt x="0" y="3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6" name="Freeform 208"/>
          <p:cNvSpPr>
            <a:spLocks/>
          </p:cNvSpPr>
          <p:nvPr/>
        </p:nvSpPr>
        <p:spPr bwMode="auto">
          <a:xfrm>
            <a:off x="4926013" y="4351338"/>
            <a:ext cx="123825" cy="123825"/>
          </a:xfrm>
          <a:custGeom>
            <a:avLst/>
            <a:gdLst>
              <a:gd name="T0" fmla="*/ 0 w 91"/>
              <a:gd name="T1" fmla="*/ 2147483647 h 84"/>
              <a:gd name="T2" fmla="*/ 2147483647 w 91"/>
              <a:gd name="T3" fmla="*/ 2147483647 h 84"/>
              <a:gd name="T4" fmla="*/ 2147483647 w 91"/>
              <a:gd name="T5" fmla="*/ 2147483647 h 84"/>
              <a:gd name="T6" fmla="*/ 2147483647 w 91"/>
              <a:gd name="T7" fmla="*/ 2147483647 h 84"/>
              <a:gd name="T8" fmla="*/ 2147483647 w 91"/>
              <a:gd name="T9" fmla="*/ 2147483647 h 84"/>
              <a:gd name="T10" fmla="*/ 2147483647 w 91"/>
              <a:gd name="T11" fmla="*/ 2147483647 h 84"/>
              <a:gd name="T12" fmla="*/ 2147483647 w 91"/>
              <a:gd name="T13" fmla="*/ 0 h 84"/>
              <a:gd name="T14" fmla="*/ 2147483647 w 91"/>
              <a:gd name="T15" fmla="*/ 2147483647 h 84"/>
              <a:gd name="T16" fmla="*/ 2147483647 w 91"/>
              <a:gd name="T17" fmla="*/ 2147483647 h 84"/>
              <a:gd name="T18" fmla="*/ 2147483647 w 91"/>
              <a:gd name="T19" fmla="*/ 2147483647 h 84"/>
              <a:gd name="T20" fmla="*/ 0 w 91"/>
              <a:gd name="T21" fmla="*/ 2147483647 h 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84"/>
              <a:gd name="T35" fmla="*/ 91 w 91"/>
              <a:gd name="T36" fmla="*/ 84 h 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84">
                <a:moveTo>
                  <a:pt x="0" y="83"/>
                </a:moveTo>
                <a:lnTo>
                  <a:pt x="14" y="78"/>
                </a:lnTo>
                <a:lnTo>
                  <a:pt x="36" y="78"/>
                </a:lnTo>
                <a:lnTo>
                  <a:pt x="39" y="65"/>
                </a:lnTo>
                <a:lnTo>
                  <a:pt x="74" y="60"/>
                </a:lnTo>
                <a:lnTo>
                  <a:pt x="90" y="30"/>
                </a:lnTo>
                <a:lnTo>
                  <a:pt x="74" y="0"/>
                </a:lnTo>
                <a:lnTo>
                  <a:pt x="21" y="7"/>
                </a:lnTo>
                <a:lnTo>
                  <a:pt x="28" y="28"/>
                </a:lnTo>
                <a:lnTo>
                  <a:pt x="15" y="43"/>
                </a:lnTo>
                <a:lnTo>
                  <a:pt x="0" y="8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7" name="Freeform 209"/>
          <p:cNvSpPr>
            <a:spLocks/>
          </p:cNvSpPr>
          <p:nvPr/>
        </p:nvSpPr>
        <p:spPr bwMode="auto">
          <a:xfrm>
            <a:off x="4805363" y="3694113"/>
            <a:ext cx="263525" cy="244475"/>
          </a:xfrm>
          <a:custGeom>
            <a:avLst/>
            <a:gdLst>
              <a:gd name="T0" fmla="*/ 0 w 191"/>
              <a:gd name="T1" fmla="*/ 2147483647 h 167"/>
              <a:gd name="T2" fmla="*/ 2147483647 w 191"/>
              <a:gd name="T3" fmla="*/ 2147483647 h 167"/>
              <a:gd name="T4" fmla="*/ 2147483647 w 191"/>
              <a:gd name="T5" fmla="*/ 2147483647 h 167"/>
              <a:gd name="T6" fmla="*/ 2147483647 w 191"/>
              <a:gd name="T7" fmla="*/ 2147483647 h 167"/>
              <a:gd name="T8" fmla="*/ 2147483647 w 191"/>
              <a:gd name="T9" fmla="*/ 2147483647 h 167"/>
              <a:gd name="T10" fmla="*/ 2147483647 w 191"/>
              <a:gd name="T11" fmla="*/ 2147483647 h 167"/>
              <a:gd name="T12" fmla="*/ 2147483647 w 191"/>
              <a:gd name="T13" fmla="*/ 2147483647 h 167"/>
              <a:gd name="T14" fmla="*/ 2147483647 w 191"/>
              <a:gd name="T15" fmla="*/ 2147483647 h 167"/>
              <a:gd name="T16" fmla="*/ 2147483647 w 191"/>
              <a:gd name="T17" fmla="*/ 2147483647 h 167"/>
              <a:gd name="T18" fmla="*/ 2147483647 w 191"/>
              <a:gd name="T19" fmla="*/ 2147483647 h 167"/>
              <a:gd name="T20" fmla="*/ 2147483647 w 191"/>
              <a:gd name="T21" fmla="*/ 2147483647 h 167"/>
              <a:gd name="T22" fmla="*/ 2147483647 w 191"/>
              <a:gd name="T23" fmla="*/ 2147483647 h 167"/>
              <a:gd name="T24" fmla="*/ 2147483647 w 191"/>
              <a:gd name="T25" fmla="*/ 2147483647 h 167"/>
              <a:gd name="T26" fmla="*/ 2147483647 w 191"/>
              <a:gd name="T27" fmla="*/ 0 h 167"/>
              <a:gd name="T28" fmla="*/ 0 w 191"/>
              <a:gd name="T29" fmla="*/ 2147483647 h 1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1"/>
              <a:gd name="T46" fmla="*/ 0 h 167"/>
              <a:gd name="T47" fmla="*/ 191 w 191"/>
              <a:gd name="T48" fmla="*/ 167 h 1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1" h="167">
                <a:moveTo>
                  <a:pt x="0" y="27"/>
                </a:moveTo>
                <a:lnTo>
                  <a:pt x="9" y="163"/>
                </a:lnTo>
                <a:lnTo>
                  <a:pt x="160" y="166"/>
                </a:lnTo>
                <a:lnTo>
                  <a:pt x="186" y="145"/>
                </a:lnTo>
                <a:lnTo>
                  <a:pt x="190" y="131"/>
                </a:lnTo>
                <a:lnTo>
                  <a:pt x="132" y="35"/>
                </a:lnTo>
                <a:lnTo>
                  <a:pt x="160" y="66"/>
                </a:lnTo>
                <a:lnTo>
                  <a:pt x="174" y="38"/>
                </a:lnTo>
                <a:lnTo>
                  <a:pt x="160" y="6"/>
                </a:lnTo>
                <a:lnTo>
                  <a:pt x="126" y="10"/>
                </a:lnTo>
                <a:lnTo>
                  <a:pt x="123" y="1"/>
                </a:lnTo>
                <a:lnTo>
                  <a:pt x="104" y="1"/>
                </a:lnTo>
                <a:lnTo>
                  <a:pt x="74" y="13"/>
                </a:lnTo>
                <a:lnTo>
                  <a:pt x="9" y="0"/>
                </a:lnTo>
                <a:lnTo>
                  <a:pt x="0" y="2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8" name="Freeform 210"/>
          <p:cNvSpPr>
            <a:spLocks/>
          </p:cNvSpPr>
          <p:nvPr/>
        </p:nvSpPr>
        <p:spPr bwMode="auto">
          <a:xfrm>
            <a:off x="4054475" y="3024188"/>
            <a:ext cx="61913" cy="46037"/>
          </a:xfrm>
          <a:custGeom>
            <a:avLst/>
            <a:gdLst>
              <a:gd name="T0" fmla="*/ 0 w 44"/>
              <a:gd name="T1" fmla="*/ 2147483647 h 31"/>
              <a:gd name="T2" fmla="*/ 2147483647 w 44"/>
              <a:gd name="T3" fmla="*/ 2147483647 h 31"/>
              <a:gd name="T4" fmla="*/ 2147483647 w 44"/>
              <a:gd name="T5" fmla="*/ 2147483647 h 31"/>
              <a:gd name="T6" fmla="*/ 2147483647 w 44"/>
              <a:gd name="T7" fmla="*/ 2147483647 h 31"/>
              <a:gd name="T8" fmla="*/ 2147483647 w 44"/>
              <a:gd name="T9" fmla="*/ 2147483647 h 31"/>
              <a:gd name="T10" fmla="*/ 2147483647 w 44"/>
              <a:gd name="T11" fmla="*/ 2147483647 h 31"/>
              <a:gd name="T12" fmla="*/ 2147483647 w 44"/>
              <a:gd name="T13" fmla="*/ 0 h 31"/>
              <a:gd name="T14" fmla="*/ 2147483647 w 44"/>
              <a:gd name="T15" fmla="*/ 2147483647 h 31"/>
              <a:gd name="T16" fmla="*/ 0 w 44"/>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1"/>
              <a:gd name="T29" fmla="*/ 44 w 44"/>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1">
                <a:moveTo>
                  <a:pt x="0" y="18"/>
                </a:moveTo>
                <a:lnTo>
                  <a:pt x="6" y="25"/>
                </a:lnTo>
                <a:lnTo>
                  <a:pt x="25" y="20"/>
                </a:lnTo>
                <a:lnTo>
                  <a:pt x="32" y="30"/>
                </a:lnTo>
                <a:lnTo>
                  <a:pt x="43" y="18"/>
                </a:lnTo>
                <a:lnTo>
                  <a:pt x="32" y="3"/>
                </a:lnTo>
                <a:lnTo>
                  <a:pt x="12" y="0"/>
                </a:lnTo>
                <a:lnTo>
                  <a:pt x="7" y="9"/>
                </a:lnTo>
                <a:lnTo>
                  <a:pt x="0" y="1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19" name="Freeform 211"/>
          <p:cNvSpPr>
            <a:spLocks/>
          </p:cNvSpPr>
          <p:nvPr/>
        </p:nvSpPr>
        <p:spPr bwMode="auto">
          <a:xfrm>
            <a:off x="4083050" y="2928938"/>
            <a:ext cx="14288" cy="17462"/>
          </a:xfrm>
          <a:custGeom>
            <a:avLst/>
            <a:gdLst>
              <a:gd name="T0" fmla="*/ 0 w 11"/>
              <a:gd name="T1" fmla="*/ 2147483647 h 12"/>
              <a:gd name="T2" fmla="*/ 0 w 11"/>
              <a:gd name="T3" fmla="*/ 2147483647 h 12"/>
              <a:gd name="T4" fmla="*/ 2147483647 w 11"/>
              <a:gd name="T5" fmla="*/ 0 h 12"/>
              <a:gd name="T6" fmla="*/ 0 w 11"/>
              <a:gd name="T7" fmla="*/ 2147483647 h 12"/>
              <a:gd name="T8" fmla="*/ 0 60000 65536"/>
              <a:gd name="T9" fmla="*/ 0 60000 65536"/>
              <a:gd name="T10" fmla="*/ 0 60000 65536"/>
              <a:gd name="T11" fmla="*/ 0 60000 65536"/>
              <a:gd name="T12" fmla="*/ 0 w 11"/>
              <a:gd name="T13" fmla="*/ 0 h 12"/>
              <a:gd name="T14" fmla="*/ 11 w 11"/>
              <a:gd name="T15" fmla="*/ 12 h 12"/>
            </a:gdLst>
            <a:ahLst/>
            <a:cxnLst>
              <a:cxn ang="T8">
                <a:pos x="T0" y="T1"/>
              </a:cxn>
              <a:cxn ang="T9">
                <a:pos x="T2" y="T3"/>
              </a:cxn>
              <a:cxn ang="T10">
                <a:pos x="T4" y="T5"/>
              </a:cxn>
              <a:cxn ang="T11">
                <a:pos x="T6" y="T7"/>
              </a:cxn>
            </a:cxnLst>
            <a:rect l="T12" t="T13" r="T14" b="T15"/>
            <a:pathLst>
              <a:path w="11" h="12">
                <a:moveTo>
                  <a:pt x="0" y="11"/>
                </a:moveTo>
                <a:lnTo>
                  <a:pt x="0" y="1"/>
                </a:lnTo>
                <a:lnTo>
                  <a:pt x="10" y="0"/>
                </a:lnTo>
                <a:lnTo>
                  <a:pt x="0" y="1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0" name="Freeform 212"/>
          <p:cNvSpPr>
            <a:spLocks/>
          </p:cNvSpPr>
          <p:nvPr/>
        </p:nvSpPr>
        <p:spPr bwMode="auto">
          <a:xfrm>
            <a:off x="4087813" y="2946400"/>
            <a:ext cx="14287" cy="14288"/>
          </a:xfrm>
          <a:custGeom>
            <a:avLst/>
            <a:gdLst>
              <a:gd name="T0" fmla="*/ 0 w 10"/>
              <a:gd name="T1" fmla="*/ 2147483647 h 10"/>
              <a:gd name="T2" fmla="*/ 2147483647 w 10"/>
              <a:gd name="T3" fmla="*/ 0 h 10"/>
              <a:gd name="T4" fmla="*/ 2147483647 w 10"/>
              <a:gd name="T5" fmla="*/ 2147483647 h 10"/>
              <a:gd name="T6" fmla="*/ 0 w 10"/>
              <a:gd name="T7" fmla="*/ 2147483647 h 10"/>
              <a:gd name="T8" fmla="*/ 0 60000 65536"/>
              <a:gd name="T9" fmla="*/ 0 60000 65536"/>
              <a:gd name="T10" fmla="*/ 0 60000 65536"/>
              <a:gd name="T11" fmla="*/ 0 60000 65536"/>
              <a:gd name="T12" fmla="*/ 0 w 10"/>
              <a:gd name="T13" fmla="*/ 0 h 10"/>
              <a:gd name="T14" fmla="*/ 10 w 10"/>
              <a:gd name="T15" fmla="*/ 10 h 10"/>
            </a:gdLst>
            <a:ahLst/>
            <a:cxnLst>
              <a:cxn ang="T8">
                <a:pos x="T0" y="T1"/>
              </a:cxn>
              <a:cxn ang="T9">
                <a:pos x="T2" y="T3"/>
              </a:cxn>
              <a:cxn ang="T10">
                <a:pos x="T4" y="T5"/>
              </a:cxn>
              <a:cxn ang="T11">
                <a:pos x="T6" y="T7"/>
              </a:cxn>
            </a:cxnLst>
            <a:rect l="T12" t="T13" r="T14" b="T15"/>
            <a:pathLst>
              <a:path w="10" h="10">
                <a:moveTo>
                  <a:pt x="0" y="7"/>
                </a:moveTo>
                <a:lnTo>
                  <a:pt x="5" y="0"/>
                </a:lnTo>
                <a:lnTo>
                  <a:pt x="9" y="9"/>
                </a:lnTo>
                <a:lnTo>
                  <a:pt x="0" y="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1" name="Freeform 213"/>
          <p:cNvSpPr>
            <a:spLocks/>
          </p:cNvSpPr>
          <p:nvPr/>
        </p:nvSpPr>
        <p:spPr bwMode="auto">
          <a:xfrm>
            <a:off x="4100513" y="2916238"/>
            <a:ext cx="179387" cy="274637"/>
          </a:xfrm>
          <a:custGeom>
            <a:avLst/>
            <a:gdLst>
              <a:gd name="T0" fmla="*/ 0 w 130"/>
              <a:gd name="T1" fmla="*/ 2147483647 h 188"/>
              <a:gd name="T2" fmla="*/ 2147483647 w 130"/>
              <a:gd name="T3" fmla="*/ 2147483647 h 188"/>
              <a:gd name="T4" fmla="*/ 2147483647 w 130"/>
              <a:gd name="T5" fmla="*/ 2147483647 h 188"/>
              <a:gd name="T6" fmla="*/ 2147483647 w 130"/>
              <a:gd name="T7" fmla="*/ 0 h 188"/>
              <a:gd name="T8" fmla="*/ 2147483647 w 130"/>
              <a:gd name="T9" fmla="*/ 2147483647 h 188"/>
              <a:gd name="T10" fmla="*/ 2147483647 w 130"/>
              <a:gd name="T11" fmla="*/ 2147483647 h 188"/>
              <a:gd name="T12" fmla="*/ 2147483647 w 130"/>
              <a:gd name="T13" fmla="*/ 2147483647 h 188"/>
              <a:gd name="T14" fmla="*/ 2147483647 w 130"/>
              <a:gd name="T15" fmla="*/ 2147483647 h 188"/>
              <a:gd name="T16" fmla="*/ 2147483647 w 130"/>
              <a:gd name="T17" fmla="*/ 2147483647 h 188"/>
              <a:gd name="T18" fmla="*/ 2147483647 w 130"/>
              <a:gd name="T19" fmla="*/ 2147483647 h 188"/>
              <a:gd name="T20" fmla="*/ 2147483647 w 130"/>
              <a:gd name="T21" fmla="*/ 2147483647 h 188"/>
              <a:gd name="T22" fmla="*/ 2147483647 w 130"/>
              <a:gd name="T23" fmla="*/ 2147483647 h 188"/>
              <a:gd name="T24" fmla="*/ 2147483647 w 130"/>
              <a:gd name="T25" fmla="*/ 2147483647 h 188"/>
              <a:gd name="T26" fmla="*/ 2147483647 w 130"/>
              <a:gd name="T27" fmla="*/ 2147483647 h 188"/>
              <a:gd name="T28" fmla="*/ 2147483647 w 130"/>
              <a:gd name="T29" fmla="*/ 2147483647 h 188"/>
              <a:gd name="T30" fmla="*/ 2147483647 w 130"/>
              <a:gd name="T31" fmla="*/ 2147483647 h 188"/>
              <a:gd name="T32" fmla="*/ 2147483647 w 130"/>
              <a:gd name="T33" fmla="*/ 2147483647 h 188"/>
              <a:gd name="T34" fmla="*/ 2147483647 w 130"/>
              <a:gd name="T35" fmla="*/ 2147483647 h 188"/>
              <a:gd name="T36" fmla="*/ 2147483647 w 130"/>
              <a:gd name="T37" fmla="*/ 2147483647 h 188"/>
              <a:gd name="T38" fmla="*/ 2147483647 w 130"/>
              <a:gd name="T39" fmla="*/ 2147483647 h 188"/>
              <a:gd name="T40" fmla="*/ 2147483647 w 130"/>
              <a:gd name="T41" fmla="*/ 2147483647 h 188"/>
              <a:gd name="T42" fmla="*/ 2147483647 w 130"/>
              <a:gd name="T43" fmla="*/ 2147483647 h 188"/>
              <a:gd name="T44" fmla="*/ 2147483647 w 130"/>
              <a:gd name="T45" fmla="*/ 2147483647 h 188"/>
              <a:gd name="T46" fmla="*/ 2147483647 w 130"/>
              <a:gd name="T47" fmla="*/ 2147483647 h 188"/>
              <a:gd name="T48" fmla="*/ 2147483647 w 130"/>
              <a:gd name="T49" fmla="*/ 2147483647 h 188"/>
              <a:gd name="T50" fmla="*/ 2147483647 w 130"/>
              <a:gd name="T51" fmla="*/ 2147483647 h 188"/>
              <a:gd name="T52" fmla="*/ 2147483647 w 130"/>
              <a:gd name="T53" fmla="*/ 2147483647 h 188"/>
              <a:gd name="T54" fmla="*/ 2147483647 w 130"/>
              <a:gd name="T55" fmla="*/ 2147483647 h 188"/>
              <a:gd name="T56" fmla="*/ 2147483647 w 130"/>
              <a:gd name="T57" fmla="*/ 2147483647 h 188"/>
              <a:gd name="T58" fmla="*/ 0 w 130"/>
              <a:gd name="T59" fmla="*/ 2147483647 h 1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0"/>
              <a:gd name="T91" fmla="*/ 0 h 188"/>
              <a:gd name="T92" fmla="*/ 130 w 130"/>
              <a:gd name="T93" fmla="*/ 188 h 1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0" h="188">
                <a:moveTo>
                  <a:pt x="0" y="44"/>
                </a:moveTo>
                <a:lnTo>
                  <a:pt x="5" y="19"/>
                </a:lnTo>
                <a:lnTo>
                  <a:pt x="19" y="1"/>
                </a:lnTo>
                <a:lnTo>
                  <a:pt x="50" y="0"/>
                </a:lnTo>
                <a:lnTo>
                  <a:pt x="32" y="23"/>
                </a:lnTo>
                <a:lnTo>
                  <a:pt x="71" y="28"/>
                </a:lnTo>
                <a:lnTo>
                  <a:pt x="47" y="59"/>
                </a:lnTo>
                <a:lnTo>
                  <a:pt x="74" y="69"/>
                </a:lnTo>
                <a:lnTo>
                  <a:pt x="105" y="107"/>
                </a:lnTo>
                <a:lnTo>
                  <a:pt x="97" y="109"/>
                </a:lnTo>
                <a:lnTo>
                  <a:pt x="109" y="118"/>
                </a:lnTo>
                <a:lnTo>
                  <a:pt x="102" y="127"/>
                </a:lnTo>
                <a:lnTo>
                  <a:pt x="129" y="131"/>
                </a:lnTo>
                <a:lnTo>
                  <a:pt x="113" y="156"/>
                </a:lnTo>
                <a:lnTo>
                  <a:pt x="124" y="163"/>
                </a:lnTo>
                <a:lnTo>
                  <a:pt x="9" y="187"/>
                </a:lnTo>
                <a:lnTo>
                  <a:pt x="58" y="151"/>
                </a:lnTo>
                <a:lnTo>
                  <a:pt x="45" y="158"/>
                </a:lnTo>
                <a:lnTo>
                  <a:pt x="14" y="148"/>
                </a:lnTo>
                <a:lnTo>
                  <a:pt x="36" y="134"/>
                </a:lnTo>
                <a:lnTo>
                  <a:pt x="24" y="127"/>
                </a:lnTo>
                <a:lnTo>
                  <a:pt x="53" y="115"/>
                </a:lnTo>
                <a:lnTo>
                  <a:pt x="57" y="99"/>
                </a:lnTo>
                <a:lnTo>
                  <a:pt x="41" y="92"/>
                </a:lnTo>
                <a:lnTo>
                  <a:pt x="51" y="82"/>
                </a:lnTo>
                <a:lnTo>
                  <a:pt x="17" y="88"/>
                </a:lnTo>
                <a:lnTo>
                  <a:pt x="19" y="60"/>
                </a:lnTo>
                <a:lnTo>
                  <a:pt x="5" y="73"/>
                </a:lnTo>
                <a:lnTo>
                  <a:pt x="12" y="45"/>
                </a:lnTo>
                <a:lnTo>
                  <a:pt x="0" y="44"/>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2" name="Freeform 214"/>
          <p:cNvSpPr>
            <a:spLocks/>
          </p:cNvSpPr>
          <p:nvPr/>
        </p:nvSpPr>
        <p:spPr bwMode="auto">
          <a:xfrm>
            <a:off x="352425" y="2438400"/>
            <a:ext cx="690563" cy="600075"/>
          </a:xfrm>
          <a:custGeom>
            <a:avLst/>
            <a:gdLst>
              <a:gd name="T0" fmla="*/ 2147483647 w 501"/>
              <a:gd name="T1" fmla="*/ 2147483647 h 411"/>
              <a:gd name="T2" fmla="*/ 2147483647 w 501"/>
              <a:gd name="T3" fmla="*/ 2147483647 h 411"/>
              <a:gd name="T4" fmla="*/ 2147483647 w 501"/>
              <a:gd name="T5" fmla="*/ 2147483647 h 411"/>
              <a:gd name="T6" fmla="*/ 2147483647 w 501"/>
              <a:gd name="T7" fmla="*/ 2147483647 h 411"/>
              <a:gd name="T8" fmla="*/ 2147483647 w 501"/>
              <a:gd name="T9" fmla="*/ 2147483647 h 411"/>
              <a:gd name="T10" fmla="*/ 2147483647 w 501"/>
              <a:gd name="T11" fmla="*/ 2147483647 h 411"/>
              <a:gd name="T12" fmla="*/ 2147483647 w 501"/>
              <a:gd name="T13" fmla="*/ 2147483647 h 411"/>
              <a:gd name="T14" fmla="*/ 2147483647 w 501"/>
              <a:gd name="T15" fmla="*/ 2147483647 h 411"/>
              <a:gd name="T16" fmla="*/ 2147483647 w 501"/>
              <a:gd name="T17" fmla="*/ 2147483647 h 411"/>
              <a:gd name="T18" fmla="*/ 2147483647 w 501"/>
              <a:gd name="T19" fmla="*/ 2147483647 h 411"/>
              <a:gd name="T20" fmla="*/ 2147483647 w 501"/>
              <a:gd name="T21" fmla="*/ 2147483647 h 411"/>
              <a:gd name="T22" fmla="*/ 2147483647 w 501"/>
              <a:gd name="T23" fmla="*/ 2147483647 h 411"/>
              <a:gd name="T24" fmla="*/ 2147483647 w 501"/>
              <a:gd name="T25" fmla="*/ 2147483647 h 411"/>
              <a:gd name="T26" fmla="*/ 2147483647 w 501"/>
              <a:gd name="T27" fmla="*/ 2147483647 h 411"/>
              <a:gd name="T28" fmla="*/ 2147483647 w 501"/>
              <a:gd name="T29" fmla="*/ 2147483647 h 411"/>
              <a:gd name="T30" fmla="*/ 2147483647 w 501"/>
              <a:gd name="T31" fmla="*/ 2147483647 h 411"/>
              <a:gd name="T32" fmla="*/ 2147483647 w 501"/>
              <a:gd name="T33" fmla="*/ 2147483647 h 411"/>
              <a:gd name="T34" fmla="*/ 2147483647 w 501"/>
              <a:gd name="T35" fmla="*/ 2147483647 h 411"/>
              <a:gd name="T36" fmla="*/ 2147483647 w 501"/>
              <a:gd name="T37" fmla="*/ 2147483647 h 411"/>
              <a:gd name="T38" fmla="*/ 2147483647 w 501"/>
              <a:gd name="T39" fmla="*/ 2147483647 h 411"/>
              <a:gd name="T40" fmla="*/ 2147483647 w 501"/>
              <a:gd name="T41" fmla="*/ 2147483647 h 411"/>
              <a:gd name="T42" fmla="*/ 2147483647 w 501"/>
              <a:gd name="T43" fmla="*/ 2147483647 h 411"/>
              <a:gd name="T44" fmla="*/ 2147483647 w 501"/>
              <a:gd name="T45" fmla="*/ 2147483647 h 411"/>
              <a:gd name="T46" fmla="*/ 2147483647 w 501"/>
              <a:gd name="T47" fmla="*/ 2147483647 h 411"/>
              <a:gd name="T48" fmla="*/ 2147483647 w 501"/>
              <a:gd name="T49" fmla="*/ 2147483647 h 411"/>
              <a:gd name="T50" fmla="*/ 2147483647 w 501"/>
              <a:gd name="T51" fmla="*/ 2147483647 h 411"/>
              <a:gd name="T52" fmla="*/ 2147483647 w 501"/>
              <a:gd name="T53" fmla="*/ 2147483647 h 411"/>
              <a:gd name="T54" fmla="*/ 2147483647 w 501"/>
              <a:gd name="T55" fmla="*/ 2147483647 h 411"/>
              <a:gd name="T56" fmla="*/ 2147483647 w 501"/>
              <a:gd name="T57" fmla="*/ 2147483647 h 411"/>
              <a:gd name="T58" fmla="*/ 2147483647 w 501"/>
              <a:gd name="T59" fmla="*/ 2147483647 h 411"/>
              <a:gd name="T60" fmla="*/ 2147483647 w 501"/>
              <a:gd name="T61" fmla="*/ 2147483647 h 411"/>
              <a:gd name="T62" fmla="*/ 2147483647 w 501"/>
              <a:gd name="T63" fmla="*/ 2147483647 h 411"/>
              <a:gd name="T64" fmla="*/ 2147483647 w 501"/>
              <a:gd name="T65" fmla="*/ 2147483647 h 411"/>
              <a:gd name="T66" fmla="*/ 2147483647 w 501"/>
              <a:gd name="T67" fmla="*/ 2147483647 h 411"/>
              <a:gd name="T68" fmla="*/ 2147483647 w 501"/>
              <a:gd name="T69" fmla="*/ 2147483647 h 411"/>
              <a:gd name="T70" fmla="*/ 2147483647 w 501"/>
              <a:gd name="T71" fmla="*/ 2147483647 h 411"/>
              <a:gd name="T72" fmla="*/ 2147483647 w 501"/>
              <a:gd name="T73" fmla="*/ 0 h 411"/>
              <a:gd name="T74" fmla="*/ 2147483647 w 501"/>
              <a:gd name="T75" fmla="*/ 2147483647 h 411"/>
              <a:gd name="T76" fmla="*/ 2147483647 w 501"/>
              <a:gd name="T77" fmla="*/ 2147483647 h 411"/>
              <a:gd name="T78" fmla="*/ 2147483647 w 501"/>
              <a:gd name="T79" fmla="*/ 2147483647 h 411"/>
              <a:gd name="T80" fmla="*/ 2147483647 w 501"/>
              <a:gd name="T81" fmla="*/ 2147483647 h 411"/>
              <a:gd name="T82" fmla="*/ 2147483647 w 501"/>
              <a:gd name="T83" fmla="*/ 2147483647 h 411"/>
              <a:gd name="T84" fmla="*/ 2147483647 w 501"/>
              <a:gd name="T85" fmla="*/ 2147483647 h 411"/>
              <a:gd name="T86" fmla="*/ 2147483647 w 501"/>
              <a:gd name="T87" fmla="*/ 2147483647 h 411"/>
              <a:gd name="T88" fmla="*/ 2147483647 w 501"/>
              <a:gd name="T89" fmla="*/ 2147483647 h 411"/>
              <a:gd name="T90" fmla="*/ 2147483647 w 501"/>
              <a:gd name="T91" fmla="*/ 2147483647 h 411"/>
              <a:gd name="T92" fmla="*/ 2147483647 w 501"/>
              <a:gd name="T93" fmla="*/ 2147483647 h 4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1"/>
              <a:gd name="T142" fmla="*/ 0 h 411"/>
              <a:gd name="T143" fmla="*/ 501 w 501"/>
              <a:gd name="T144" fmla="*/ 411 h 4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1" h="411">
                <a:moveTo>
                  <a:pt x="0" y="158"/>
                </a:moveTo>
                <a:lnTo>
                  <a:pt x="33" y="165"/>
                </a:lnTo>
                <a:lnTo>
                  <a:pt x="22" y="167"/>
                </a:lnTo>
                <a:lnTo>
                  <a:pt x="33" y="182"/>
                </a:lnTo>
                <a:lnTo>
                  <a:pt x="85" y="182"/>
                </a:lnTo>
                <a:lnTo>
                  <a:pt x="91" y="190"/>
                </a:lnTo>
                <a:lnTo>
                  <a:pt x="124" y="179"/>
                </a:lnTo>
                <a:lnTo>
                  <a:pt x="113" y="186"/>
                </a:lnTo>
                <a:lnTo>
                  <a:pt x="119" y="209"/>
                </a:lnTo>
                <a:lnTo>
                  <a:pt x="49" y="235"/>
                </a:lnTo>
                <a:lnTo>
                  <a:pt x="31" y="260"/>
                </a:lnTo>
                <a:lnTo>
                  <a:pt x="48" y="256"/>
                </a:lnTo>
                <a:lnTo>
                  <a:pt x="37" y="261"/>
                </a:lnTo>
                <a:lnTo>
                  <a:pt x="48" y="272"/>
                </a:lnTo>
                <a:lnTo>
                  <a:pt x="74" y="275"/>
                </a:lnTo>
                <a:lnTo>
                  <a:pt x="60" y="289"/>
                </a:lnTo>
                <a:lnTo>
                  <a:pt x="71" y="302"/>
                </a:lnTo>
                <a:lnTo>
                  <a:pt x="86" y="303"/>
                </a:lnTo>
                <a:lnTo>
                  <a:pt x="111" y="275"/>
                </a:lnTo>
                <a:lnTo>
                  <a:pt x="95" y="288"/>
                </a:lnTo>
                <a:lnTo>
                  <a:pt x="110" y="316"/>
                </a:lnTo>
                <a:lnTo>
                  <a:pt x="101" y="326"/>
                </a:lnTo>
                <a:lnTo>
                  <a:pt x="132" y="311"/>
                </a:lnTo>
                <a:lnTo>
                  <a:pt x="151" y="331"/>
                </a:lnTo>
                <a:lnTo>
                  <a:pt x="159" y="318"/>
                </a:lnTo>
                <a:lnTo>
                  <a:pt x="167" y="326"/>
                </a:lnTo>
                <a:lnTo>
                  <a:pt x="191" y="317"/>
                </a:lnTo>
                <a:lnTo>
                  <a:pt x="158" y="367"/>
                </a:lnTo>
                <a:lnTo>
                  <a:pt x="133" y="377"/>
                </a:lnTo>
                <a:lnTo>
                  <a:pt x="132" y="389"/>
                </a:lnTo>
                <a:lnTo>
                  <a:pt x="101" y="390"/>
                </a:lnTo>
                <a:lnTo>
                  <a:pt x="79" y="410"/>
                </a:lnTo>
                <a:lnTo>
                  <a:pt x="110" y="394"/>
                </a:lnTo>
                <a:lnTo>
                  <a:pt x="142" y="394"/>
                </a:lnTo>
                <a:lnTo>
                  <a:pt x="159" y="384"/>
                </a:lnTo>
                <a:lnTo>
                  <a:pt x="149" y="374"/>
                </a:lnTo>
                <a:lnTo>
                  <a:pt x="171" y="375"/>
                </a:lnTo>
                <a:lnTo>
                  <a:pt x="234" y="336"/>
                </a:lnTo>
                <a:lnTo>
                  <a:pt x="246" y="322"/>
                </a:lnTo>
                <a:lnTo>
                  <a:pt x="235" y="309"/>
                </a:lnTo>
                <a:lnTo>
                  <a:pt x="291" y="264"/>
                </a:lnTo>
                <a:lnTo>
                  <a:pt x="299" y="239"/>
                </a:lnTo>
                <a:lnTo>
                  <a:pt x="293" y="264"/>
                </a:lnTo>
                <a:lnTo>
                  <a:pt x="314" y="259"/>
                </a:lnTo>
                <a:lnTo>
                  <a:pt x="302" y="268"/>
                </a:lnTo>
                <a:lnTo>
                  <a:pt x="319" y="274"/>
                </a:lnTo>
                <a:lnTo>
                  <a:pt x="281" y="276"/>
                </a:lnTo>
                <a:lnTo>
                  <a:pt x="272" y="300"/>
                </a:lnTo>
                <a:lnTo>
                  <a:pt x="287" y="300"/>
                </a:lnTo>
                <a:lnTo>
                  <a:pt x="275" y="314"/>
                </a:lnTo>
                <a:lnTo>
                  <a:pt x="326" y="294"/>
                </a:lnTo>
                <a:lnTo>
                  <a:pt x="335" y="282"/>
                </a:lnTo>
                <a:lnTo>
                  <a:pt x="325" y="275"/>
                </a:lnTo>
                <a:lnTo>
                  <a:pt x="340" y="265"/>
                </a:lnTo>
                <a:lnTo>
                  <a:pt x="337" y="274"/>
                </a:lnTo>
                <a:lnTo>
                  <a:pt x="363" y="268"/>
                </a:lnTo>
                <a:lnTo>
                  <a:pt x="357" y="278"/>
                </a:lnTo>
                <a:lnTo>
                  <a:pt x="403" y="295"/>
                </a:lnTo>
                <a:lnTo>
                  <a:pt x="466" y="302"/>
                </a:lnTo>
                <a:lnTo>
                  <a:pt x="478" y="293"/>
                </a:lnTo>
                <a:lnTo>
                  <a:pt x="486" y="298"/>
                </a:lnTo>
                <a:lnTo>
                  <a:pt x="474" y="307"/>
                </a:lnTo>
                <a:lnTo>
                  <a:pt x="493" y="315"/>
                </a:lnTo>
                <a:lnTo>
                  <a:pt x="500" y="308"/>
                </a:lnTo>
                <a:lnTo>
                  <a:pt x="485" y="289"/>
                </a:lnTo>
                <a:lnTo>
                  <a:pt x="456" y="289"/>
                </a:lnTo>
                <a:lnTo>
                  <a:pt x="456" y="46"/>
                </a:lnTo>
                <a:lnTo>
                  <a:pt x="276" y="26"/>
                </a:lnTo>
                <a:lnTo>
                  <a:pt x="268" y="15"/>
                </a:lnTo>
                <a:lnTo>
                  <a:pt x="219" y="8"/>
                </a:lnTo>
                <a:lnTo>
                  <a:pt x="213" y="19"/>
                </a:lnTo>
                <a:lnTo>
                  <a:pt x="197" y="15"/>
                </a:lnTo>
                <a:lnTo>
                  <a:pt x="211" y="7"/>
                </a:lnTo>
                <a:lnTo>
                  <a:pt x="191" y="0"/>
                </a:lnTo>
                <a:lnTo>
                  <a:pt x="171" y="15"/>
                </a:lnTo>
                <a:lnTo>
                  <a:pt x="139" y="19"/>
                </a:lnTo>
                <a:lnTo>
                  <a:pt x="137" y="31"/>
                </a:lnTo>
                <a:lnTo>
                  <a:pt x="133" y="22"/>
                </a:lnTo>
                <a:lnTo>
                  <a:pt x="103" y="31"/>
                </a:lnTo>
                <a:lnTo>
                  <a:pt x="110" y="41"/>
                </a:lnTo>
                <a:lnTo>
                  <a:pt x="95" y="37"/>
                </a:lnTo>
                <a:lnTo>
                  <a:pt x="78" y="62"/>
                </a:lnTo>
                <a:lnTo>
                  <a:pt x="31" y="70"/>
                </a:lnTo>
                <a:lnTo>
                  <a:pt x="33" y="80"/>
                </a:lnTo>
                <a:lnTo>
                  <a:pt x="22" y="82"/>
                </a:lnTo>
                <a:lnTo>
                  <a:pt x="75" y="118"/>
                </a:lnTo>
                <a:lnTo>
                  <a:pt x="145" y="134"/>
                </a:lnTo>
                <a:lnTo>
                  <a:pt x="101" y="129"/>
                </a:lnTo>
                <a:lnTo>
                  <a:pt x="103" y="139"/>
                </a:lnTo>
                <a:lnTo>
                  <a:pt x="121" y="139"/>
                </a:lnTo>
                <a:lnTo>
                  <a:pt x="106" y="148"/>
                </a:lnTo>
                <a:lnTo>
                  <a:pt x="75" y="145"/>
                </a:lnTo>
                <a:lnTo>
                  <a:pt x="75" y="131"/>
                </a:lnTo>
                <a:lnTo>
                  <a:pt x="59" y="132"/>
                </a:lnTo>
                <a:lnTo>
                  <a:pt x="0" y="15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3" name="Freeform 215"/>
          <p:cNvSpPr>
            <a:spLocks/>
          </p:cNvSpPr>
          <p:nvPr/>
        </p:nvSpPr>
        <p:spPr bwMode="auto">
          <a:xfrm>
            <a:off x="631825" y="3978275"/>
            <a:ext cx="26988" cy="31750"/>
          </a:xfrm>
          <a:custGeom>
            <a:avLst/>
            <a:gdLst>
              <a:gd name="T0" fmla="*/ 0 w 20"/>
              <a:gd name="T1" fmla="*/ 2147483647 h 21"/>
              <a:gd name="T2" fmla="*/ 2147483647 w 20"/>
              <a:gd name="T3" fmla="*/ 0 h 21"/>
              <a:gd name="T4" fmla="*/ 2147483647 w 20"/>
              <a:gd name="T5" fmla="*/ 2147483647 h 21"/>
              <a:gd name="T6" fmla="*/ 2147483647 w 20"/>
              <a:gd name="T7" fmla="*/ 2147483647 h 21"/>
              <a:gd name="T8" fmla="*/ 0 w 20"/>
              <a:gd name="T9" fmla="*/ 2147483647 h 21"/>
              <a:gd name="T10" fmla="*/ 0 60000 65536"/>
              <a:gd name="T11" fmla="*/ 0 60000 65536"/>
              <a:gd name="T12" fmla="*/ 0 60000 65536"/>
              <a:gd name="T13" fmla="*/ 0 60000 65536"/>
              <a:gd name="T14" fmla="*/ 0 60000 65536"/>
              <a:gd name="T15" fmla="*/ 0 w 20"/>
              <a:gd name="T16" fmla="*/ 0 h 21"/>
              <a:gd name="T17" fmla="*/ 20 w 20"/>
              <a:gd name="T18" fmla="*/ 21 h 21"/>
            </a:gdLst>
            <a:ahLst/>
            <a:cxnLst>
              <a:cxn ang="T10">
                <a:pos x="T0" y="T1"/>
              </a:cxn>
              <a:cxn ang="T11">
                <a:pos x="T2" y="T3"/>
              </a:cxn>
              <a:cxn ang="T12">
                <a:pos x="T4" y="T5"/>
              </a:cxn>
              <a:cxn ang="T13">
                <a:pos x="T6" y="T7"/>
              </a:cxn>
              <a:cxn ang="T14">
                <a:pos x="T8" y="T9"/>
              </a:cxn>
            </a:cxnLst>
            <a:rect l="T15" t="T16" r="T17" b="T18"/>
            <a:pathLst>
              <a:path w="20" h="21">
                <a:moveTo>
                  <a:pt x="0" y="7"/>
                </a:moveTo>
                <a:lnTo>
                  <a:pt x="3" y="0"/>
                </a:lnTo>
                <a:lnTo>
                  <a:pt x="19" y="10"/>
                </a:lnTo>
                <a:lnTo>
                  <a:pt x="6" y="20"/>
                </a:lnTo>
                <a:lnTo>
                  <a:pt x="0" y="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4" name="Freeform 216"/>
          <p:cNvSpPr>
            <a:spLocks/>
          </p:cNvSpPr>
          <p:nvPr/>
        </p:nvSpPr>
        <p:spPr bwMode="auto">
          <a:xfrm>
            <a:off x="658813" y="2941638"/>
            <a:ext cx="61912" cy="38100"/>
          </a:xfrm>
          <a:custGeom>
            <a:avLst/>
            <a:gdLst>
              <a:gd name="T0" fmla="*/ 0 w 46"/>
              <a:gd name="T1" fmla="*/ 2147483647 h 26"/>
              <a:gd name="T2" fmla="*/ 2147483647 w 46"/>
              <a:gd name="T3" fmla="*/ 2147483647 h 26"/>
              <a:gd name="T4" fmla="*/ 2147483647 w 46"/>
              <a:gd name="T5" fmla="*/ 2147483647 h 26"/>
              <a:gd name="T6" fmla="*/ 2147483647 w 46"/>
              <a:gd name="T7" fmla="*/ 0 h 26"/>
              <a:gd name="T8" fmla="*/ 2147483647 w 46"/>
              <a:gd name="T9" fmla="*/ 2147483647 h 26"/>
              <a:gd name="T10" fmla="*/ 0 w 46"/>
              <a:gd name="T11" fmla="*/ 2147483647 h 26"/>
              <a:gd name="T12" fmla="*/ 0 60000 65536"/>
              <a:gd name="T13" fmla="*/ 0 60000 65536"/>
              <a:gd name="T14" fmla="*/ 0 60000 65536"/>
              <a:gd name="T15" fmla="*/ 0 60000 65536"/>
              <a:gd name="T16" fmla="*/ 0 60000 65536"/>
              <a:gd name="T17" fmla="*/ 0 60000 65536"/>
              <a:gd name="T18" fmla="*/ 0 w 46"/>
              <a:gd name="T19" fmla="*/ 0 h 26"/>
              <a:gd name="T20" fmla="*/ 46 w 46"/>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46" h="26">
                <a:moveTo>
                  <a:pt x="0" y="11"/>
                </a:moveTo>
                <a:lnTo>
                  <a:pt x="13" y="25"/>
                </a:lnTo>
                <a:lnTo>
                  <a:pt x="45" y="6"/>
                </a:lnTo>
                <a:lnTo>
                  <a:pt x="15" y="0"/>
                </a:lnTo>
                <a:lnTo>
                  <a:pt x="16" y="10"/>
                </a:lnTo>
                <a:lnTo>
                  <a:pt x="0" y="11"/>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5" name="Freeform 217"/>
          <p:cNvSpPr>
            <a:spLocks/>
          </p:cNvSpPr>
          <p:nvPr/>
        </p:nvSpPr>
        <p:spPr bwMode="auto">
          <a:xfrm>
            <a:off x="1046163" y="2876550"/>
            <a:ext cx="188912" cy="165100"/>
          </a:xfrm>
          <a:custGeom>
            <a:avLst/>
            <a:gdLst>
              <a:gd name="T0" fmla="*/ 0 w 137"/>
              <a:gd name="T1" fmla="*/ 2147483647 h 113"/>
              <a:gd name="T2" fmla="*/ 2147483647 w 137"/>
              <a:gd name="T3" fmla="*/ 2147483647 h 113"/>
              <a:gd name="T4" fmla="*/ 2147483647 w 137"/>
              <a:gd name="T5" fmla="*/ 2147483647 h 113"/>
              <a:gd name="T6" fmla="*/ 2147483647 w 137"/>
              <a:gd name="T7" fmla="*/ 2147483647 h 113"/>
              <a:gd name="T8" fmla="*/ 2147483647 w 137"/>
              <a:gd name="T9" fmla="*/ 2147483647 h 113"/>
              <a:gd name="T10" fmla="*/ 2147483647 w 137"/>
              <a:gd name="T11" fmla="*/ 2147483647 h 113"/>
              <a:gd name="T12" fmla="*/ 2147483647 w 137"/>
              <a:gd name="T13" fmla="*/ 2147483647 h 113"/>
              <a:gd name="T14" fmla="*/ 2147483647 w 137"/>
              <a:gd name="T15" fmla="*/ 2147483647 h 113"/>
              <a:gd name="T16" fmla="*/ 2147483647 w 137"/>
              <a:gd name="T17" fmla="*/ 2147483647 h 113"/>
              <a:gd name="T18" fmla="*/ 2147483647 w 137"/>
              <a:gd name="T19" fmla="*/ 2147483647 h 113"/>
              <a:gd name="T20" fmla="*/ 2147483647 w 137"/>
              <a:gd name="T21" fmla="*/ 2147483647 h 113"/>
              <a:gd name="T22" fmla="*/ 2147483647 w 137"/>
              <a:gd name="T23" fmla="*/ 2147483647 h 113"/>
              <a:gd name="T24" fmla="*/ 2147483647 w 137"/>
              <a:gd name="T25" fmla="*/ 2147483647 h 113"/>
              <a:gd name="T26" fmla="*/ 2147483647 w 137"/>
              <a:gd name="T27" fmla="*/ 2147483647 h 113"/>
              <a:gd name="T28" fmla="*/ 2147483647 w 137"/>
              <a:gd name="T29" fmla="*/ 2147483647 h 113"/>
              <a:gd name="T30" fmla="*/ 2147483647 w 137"/>
              <a:gd name="T31" fmla="*/ 2147483647 h 113"/>
              <a:gd name="T32" fmla="*/ 2147483647 w 137"/>
              <a:gd name="T33" fmla="*/ 2147483647 h 113"/>
              <a:gd name="T34" fmla="*/ 2147483647 w 137"/>
              <a:gd name="T35" fmla="*/ 2147483647 h 113"/>
              <a:gd name="T36" fmla="*/ 2147483647 w 137"/>
              <a:gd name="T37" fmla="*/ 0 h 113"/>
              <a:gd name="T38" fmla="*/ 2147483647 w 137"/>
              <a:gd name="T39" fmla="*/ 2147483647 h 113"/>
              <a:gd name="T40" fmla="*/ 0 w 137"/>
              <a:gd name="T41" fmla="*/ 2147483647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7"/>
              <a:gd name="T64" fmla="*/ 0 h 113"/>
              <a:gd name="T65" fmla="*/ 137 w 137"/>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7" h="113">
                <a:moveTo>
                  <a:pt x="0" y="9"/>
                </a:moveTo>
                <a:lnTo>
                  <a:pt x="9" y="28"/>
                </a:lnTo>
                <a:lnTo>
                  <a:pt x="25" y="36"/>
                </a:lnTo>
                <a:lnTo>
                  <a:pt x="33" y="30"/>
                </a:lnTo>
                <a:lnTo>
                  <a:pt x="18" y="21"/>
                </a:lnTo>
                <a:lnTo>
                  <a:pt x="33" y="21"/>
                </a:lnTo>
                <a:lnTo>
                  <a:pt x="48" y="36"/>
                </a:lnTo>
                <a:lnTo>
                  <a:pt x="44" y="9"/>
                </a:lnTo>
                <a:lnTo>
                  <a:pt x="54" y="32"/>
                </a:lnTo>
                <a:lnTo>
                  <a:pt x="82" y="43"/>
                </a:lnTo>
                <a:lnTo>
                  <a:pt x="77" y="59"/>
                </a:lnTo>
                <a:lnTo>
                  <a:pt x="109" y="80"/>
                </a:lnTo>
                <a:lnTo>
                  <a:pt x="99" y="94"/>
                </a:lnTo>
                <a:lnTo>
                  <a:pt x="118" y="83"/>
                </a:lnTo>
                <a:lnTo>
                  <a:pt x="121" y="112"/>
                </a:lnTo>
                <a:lnTo>
                  <a:pt x="134" y="106"/>
                </a:lnTo>
                <a:lnTo>
                  <a:pt x="136" y="85"/>
                </a:lnTo>
                <a:lnTo>
                  <a:pt x="103" y="73"/>
                </a:lnTo>
                <a:lnTo>
                  <a:pt x="45" y="0"/>
                </a:lnTo>
                <a:lnTo>
                  <a:pt x="10" y="21"/>
                </a:lnTo>
                <a:lnTo>
                  <a:pt x="0" y="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6" name="Freeform 218"/>
          <p:cNvSpPr>
            <a:spLocks/>
          </p:cNvSpPr>
          <p:nvPr/>
        </p:nvSpPr>
        <p:spPr bwMode="auto">
          <a:xfrm>
            <a:off x="1085850" y="2928938"/>
            <a:ext cx="30163" cy="28575"/>
          </a:xfrm>
          <a:custGeom>
            <a:avLst/>
            <a:gdLst>
              <a:gd name="T0" fmla="*/ 0 w 22"/>
              <a:gd name="T1" fmla="*/ 0 h 19"/>
              <a:gd name="T2" fmla="*/ 2147483647 w 22"/>
              <a:gd name="T3" fmla="*/ 2147483647 h 19"/>
              <a:gd name="T4" fmla="*/ 2147483647 w 22"/>
              <a:gd name="T5" fmla="*/ 2147483647 h 19"/>
              <a:gd name="T6" fmla="*/ 2147483647 w 22"/>
              <a:gd name="T7" fmla="*/ 2147483647 h 19"/>
              <a:gd name="T8" fmla="*/ 2147483647 w 22"/>
              <a:gd name="T9" fmla="*/ 2147483647 h 19"/>
              <a:gd name="T10" fmla="*/ 2147483647 w 22"/>
              <a:gd name="T11" fmla="*/ 2147483647 h 19"/>
              <a:gd name="T12" fmla="*/ 0 w 22"/>
              <a:gd name="T13" fmla="*/ 0 h 19"/>
              <a:gd name="T14" fmla="*/ 0 60000 65536"/>
              <a:gd name="T15" fmla="*/ 0 60000 65536"/>
              <a:gd name="T16" fmla="*/ 0 60000 65536"/>
              <a:gd name="T17" fmla="*/ 0 60000 65536"/>
              <a:gd name="T18" fmla="*/ 0 60000 65536"/>
              <a:gd name="T19" fmla="*/ 0 60000 65536"/>
              <a:gd name="T20" fmla="*/ 0 60000 65536"/>
              <a:gd name="T21" fmla="*/ 0 w 22"/>
              <a:gd name="T22" fmla="*/ 0 h 19"/>
              <a:gd name="T23" fmla="*/ 22 w 2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9">
                <a:moveTo>
                  <a:pt x="0" y="0"/>
                </a:moveTo>
                <a:lnTo>
                  <a:pt x="7" y="18"/>
                </a:lnTo>
                <a:lnTo>
                  <a:pt x="9" y="9"/>
                </a:lnTo>
                <a:lnTo>
                  <a:pt x="21" y="16"/>
                </a:lnTo>
                <a:lnTo>
                  <a:pt x="12" y="8"/>
                </a:lnTo>
                <a:lnTo>
                  <a:pt x="20" y="3"/>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7" name="Freeform 219"/>
          <p:cNvSpPr>
            <a:spLocks/>
          </p:cNvSpPr>
          <p:nvPr/>
        </p:nvSpPr>
        <p:spPr bwMode="auto">
          <a:xfrm>
            <a:off x="1108075" y="2952750"/>
            <a:ext cx="14288" cy="42863"/>
          </a:xfrm>
          <a:custGeom>
            <a:avLst/>
            <a:gdLst>
              <a:gd name="T0" fmla="*/ 0 w 10"/>
              <a:gd name="T1" fmla="*/ 0 h 30"/>
              <a:gd name="T2" fmla="*/ 2147483647 w 10"/>
              <a:gd name="T3" fmla="*/ 2147483647 h 30"/>
              <a:gd name="T4" fmla="*/ 2147483647 w 10"/>
              <a:gd name="T5" fmla="*/ 2147483647 h 30"/>
              <a:gd name="T6" fmla="*/ 0 w 10"/>
              <a:gd name="T7" fmla="*/ 0 h 30"/>
              <a:gd name="T8" fmla="*/ 0 60000 65536"/>
              <a:gd name="T9" fmla="*/ 0 60000 65536"/>
              <a:gd name="T10" fmla="*/ 0 60000 65536"/>
              <a:gd name="T11" fmla="*/ 0 60000 65536"/>
              <a:gd name="T12" fmla="*/ 0 w 10"/>
              <a:gd name="T13" fmla="*/ 0 h 30"/>
              <a:gd name="T14" fmla="*/ 10 w 10"/>
              <a:gd name="T15" fmla="*/ 30 h 30"/>
            </a:gdLst>
            <a:ahLst/>
            <a:cxnLst>
              <a:cxn ang="T8">
                <a:pos x="T0" y="T1"/>
              </a:cxn>
              <a:cxn ang="T9">
                <a:pos x="T2" y="T3"/>
              </a:cxn>
              <a:cxn ang="T10">
                <a:pos x="T4" y="T5"/>
              </a:cxn>
              <a:cxn ang="T11">
                <a:pos x="T6" y="T7"/>
              </a:cxn>
            </a:cxnLst>
            <a:rect l="T12" t="T13" r="T14" b="T15"/>
            <a:pathLst>
              <a:path w="10" h="30">
                <a:moveTo>
                  <a:pt x="0" y="0"/>
                </a:moveTo>
                <a:lnTo>
                  <a:pt x="8" y="6"/>
                </a:lnTo>
                <a:lnTo>
                  <a:pt x="9" y="29"/>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8" name="Freeform 220"/>
          <p:cNvSpPr>
            <a:spLocks/>
          </p:cNvSpPr>
          <p:nvPr/>
        </p:nvSpPr>
        <p:spPr bwMode="auto">
          <a:xfrm>
            <a:off x="1122363" y="2930525"/>
            <a:ext cx="23812" cy="28575"/>
          </a:xfrm>
          <a:custGeom>
            <a:avLst/>
            <a:gdLst>
              <a:gd name="T0" fmla="*/ 0 w 18"/>
              <a:gd name="T1" fmla="*/ 0 h 19"/>
              <a:gd name="T2" fmla="*/ 2147483647 w 18"/>
              <a:gd name="T3" fmla="*/ 2147483647 h 19"/>
              <a:gd name="T4" fmla="*/ 2147483647 w 18"/>
              <a:gd name="T5" fmla="*/ 2147483647 h 19"/>
              <a:gd name="T6" fmla="*/ 2147483647 w 18"/>
              <a:gd name="T7" fmla="*/ 2147483647 h 19"/>
              <a:gd name="T8" fmla="*/ 2147483647 w 18"/>
              <a:gd name="T9" fmla="*/ 2147483647 h 19"/>
              <a:gd name="T10" fmla="*/ 2147483647 w 18"/>
              <a:gd name="T11" fmla="*/ 0 h 19"/>
              <a:gd name="T12" fmla="*/ 0 w 18"/>
              <a:gd name="T13" fmla="*/ 0 h 19"/>
              <a:gd name="T14" fmla="*/ 0 60000 65536"/>
              <a:gd name="T15" fmla="*/ 0 60000 65536"/>
              <a:gd name="T16" fmla="*/ 0 60000 65536"/>
              <a:gd name="T17" fmla="*/ 0 60000 65536"/>
              <a:gd name="T18" fmla="*/ 0 60000 65536"/>
              <a:gd name="T19" fmla="*/ 0 60000 65536"/>
              <a:gd name="T20" fmla="*/ 0 60000 65536"/>
              <a:gd name="T21" fmla="*/ 0 w 18"/>
              <a:gd name="T22" fmla="*/ 0 h 19"/>
              <a:gd name="T23" fmla="*/ 18 w 18"/>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9">
                <a:moveTo>
                  <a:pt x="0" y="0"/>
                </a:moveTo>
                <a:lnTo>
                  <a:pt x="4" y="18"/>
                </a:lnTo>
                <a:lnTo>
                  <a:pt x="13" y="18"/>
                </a:lnTo>
                <a:lnTo>
                  <a:pt x="8" y="3"/>
                </a:lnTo>
                <a:lnTo>
                  <a:pt x="17" y="14"/>
                </a:lnTo>
                <a:lnTo>
                  <a:pt x="9" y="0"/>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29" name="Freeform 221"/>
          <p:cNvSpPr>
            <a:spLocks/>
          </p:cNvSpPr>
          <p:nvPr/>
        </p:nvSpPr>
        <p:spPr bwMode="auto">
          <a:xfrm>
            <a:off x="1139825" y="2965450"/>
            <a:ext cx="23813" cy="22225"/>
          </a:xfrm>
          <a:custGeom>
            <a:avLst/>
            <a:gdLst>
              <a:gd name="T0" fmla="*/ 0 w 17"/>
              <a:gd name="T1" fmla="*/ 0 h 15"/>
              <a:gd name="T2" fmla="*/ 2147483647 w 17"/>
              <a:gd name="T3" fmla="*/ 2147483647 h 15"/>
              <a:gd name="T4" fmla="*/ 2147483647 w 17"/>
              <a:gd name="T5" fmla="*/ 2147483647 h 15"/>
              <a:gd name="T6" fmla="*/ 0 w 17"/>
              <a:gd name="T7" fmla="*/ 0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0" y="0"/>
                </a:moveTo>
                <a:lnTo>
                  <a:pt x="15" y="14"/>
                </a:lnTo>
                <a:lnTo>
                  <a:pt x="16" y="2"/>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0" name="Freeform 222"/>
          <p:cNvSpPr>
            <a:spLocks/>
          </p:cNvSpPr>
          <p:nvPr/>
        </p:nvSpPr>
        <p:spPr bwMode="auto">
          <a:xfrm>
            <a:off x="1147763" y="2992438"/>
            <a:ext cx="30162" cy="42862"/>
          </a:xfrm>
          <a:custGeom>
            <a:avLst/>
            <a:gdLst>
              <a:gd name="T0" fmla="*/ 0 w 21"/>
              <a:gd name="T1" fmla="*/ 0 h 30"/>
              <a:gd name="T2" fmla="*/ 2147483647 w 21"/>
              <a:gd name="T3" fmla="*/ 2147483647 h 30"/>
              <a:gd name="T4" fmla="*/ 2147483647 w 21"/>
              <a:gd name="T5" fmla="*/ 2147483647 h 30"/>
              <a:gd name="T6" fmla="*/ 0 w 21"/>
              <a:gd name="T7" fmla="*/ 0 h 30"/>
              <a:gd name="T8" fmla="*/ 0 60000 65536"/>
              <a:gd name="T9" fmla="*/ 0 60000 65536"/>
              <a:gd name="T10" fmla="*/ 0 60000 65536"/>
              <a:gd name="T11" fmla="*/ 0 60000 65536"/>
              <a:gd name="T12" fmla="*/ 0 w 21"/>
              <a:gd name="T13" fmla="*/ 0 h 30"/>
              <a:gd name="T14" fmla="*/ 21 w 21"/>
              <a:gd name="T15" fmla="*/ 30 h 30"/>
            </a:gdLst>
            <a:ahLst/>
            <a:cxnLst>
              <a:cxn ang="T8">
                <a:pos x="T0" y="T1"/>
              </a:cxn>
              <a:cxn ang="T9">
                <a:pos x="T2" y="T3"/>
              </a:cxn>
              <a:cxn ang="T10">
                <a:pos x="T4" y="T5"/>
              </a:cxn>
              <a:cxn ang="T11">
                <a:pos x="T6" y="T7"/>
              </a:cxn>
            </a:cxnLst>
            <a:rect l="T12" t="T13" r="T14" b="T15"/>
            <a:pathLst>
              <a:path w="21" h="30">
                <a:moveTo>
                  <a:pt x="0" y="0"/>
                </a:moveTo>
                <a:lnTo>
                  <a:pt x="18" y="10"/>
                </a:lnTo>
                <a:lnTo>
                  <a:pt x="20" y="29"/>
                </a:lnTo>
                <a:lnTo>
                  <a:pt x="0" y="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1" name="Freeform 223"/>
          <p:cNvSpPr>
            <a:spLocks/>
          </p:cNvSpPr>
          <p:nvPr/>
        </p:nvSpPr>
        <p:spPr bwMode="auto">
          <a:xfrm>
            <a:off x="1196975" y="3005138"/>
            <a:ext cx="15875" cy="25400"/>
          </a:xfrm>
          <a:custGeom>
            <a:avLst/>
            <a:gdLst>
              <a:gd name="T0" fmla="*/ 0 w 12"/>
              <a:gd name="T1" fmla="*/ 2147483647 h 17"/>
              <a:gd name="T2" fmla="*/ 2147483647 w 12"/>
              <a:gd name="T3" fmla="*/ 0 h 17"/>
              <a:gd name="T4" fmla="*/ 2147483647 w 12"/>
              <a:gd name="T5" fmla="*/ 2147483647 h 17"/>
              <a:gd name="T6" fmla="*/ 0 w 12"/>
              <a:gd name="T7" fmla="*/ 2147483647 h 17"/>
              <a:gd name="T8" fmla="*/ 0 60000 65536"/>
              <a:gd name="T9" fmla="*/ 0 60000 65536"/>
              <a:gd name="T10" fmla="*/ 0 60000 65536"/>
              <a:gd name="T11" fmla="*/ 0 60000 65536"/>
              <a:gd name="T12" fmla="*/ 0 w 12"/>
              <a:gd name="T13" fmla="*/ 0 h 17"/>
              <a:gd name="T14" fmla="*/ 12 w 12"/>
              <a:gd name="T15" fmla="*/ 17 h 17"/>
            </a:gdLst>
            <a:ahLst/>
            <a:cxnLst>
              <a:cxn ang="T8">
                <a:pos x="T0" y="T1"/>
              </a:cxn>
              <a:cxn ang="T9">
                <a:pos x="T2" y="T3"/>
              </a:cxn>
              <a:cxn ang="T10">
                <a:pos x="T4" y="T5"/>
              </a:cxn>
              <a:cxn ang="T11">
                <a:pos x="T6" y="T7"/>
              </a:cxn>
            </a:cxnLst>
            <a:rect l="T12" t="T13" r="T14" b="T15"/>
            <a:pathLst>
              <a:path w="12" h="17">
                <a:moveTo>
                  <a:pt x="0" y="9"/>
                </a:moveTo>
                <a:lnTo>
                  <a:pt x="4" y="0"/>
                </a:lnTo>
                <a:lnTo>
                  <a:pt x="11" y="16"/>
                </a:lnTo>
                <a:lnTo>
                  <a:pt x="0" y="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2" name="Freeform 224"/>
          <p:cNvSpPr>
            <a:spLocks/>
          </p:cNvSpPr>
          <p:nvPr/>
        </p:nvSpPr>
        <p:spPr bwMode="auto">
          <a:xfrm>
            <a:off x="1355725" y="3206750"/>
            <a:ext cx="1333500" cy="647700"/>
          </a:xfrm>
          <a:custGeom>
            <a:avLst/>
            <a:gdLst>
              <a:gd name="T0" fmla="*/ 2147483647 w 968"/>
              <a:gd name="T1" fmla="*/ 2147483647 h 443"/>
              <a:gd name="T2" fmla="*/ 2147483647 w 968"/>
              <a:gd name="T3" fmla="*/ 2147483647 h 443"/>
              <a:gd name="T4" fmla="*/ 2147483647 w 968"/>
              <a:gd name="T5" fmla="*/ 2147483647 h 443"/>
              <a:gd name="T6" fmla="*/ 2147483647 w 968"/>
              <a:gd name="T7" fmla="*/ 2147483647 h 443"/>
              <a:gd name="T8" fmla="*/ 2147483647 w 968"/>
              <a:gd name="T9" fmla="*/ 2147483647 h 443"/>
              <a:gd name="T10" fmla="*/ 2147483647 w 968"/>
              <a:gd name="T11" fmla="*/ 2147483647 h 443"/>
              <a:gd name="T12" fmla="*/ 2147483647 w 968"/>
              <a:gd name="T13" fmla="*/ 2147483647 h 443"/>
              <a:gd name="T14" fmla="*/ 2147483647 w 968"/>
              <a:gd name="T15" fmla="*/ 2147483647 h 443"/>
              <a:gd name="T16" fmla="*/ 2147483647 w 968"/>
              <a:gd name="T17" fmla="*/ 2147483647 h 443"/>
              <a:gd name="T18" fmla="*/ 2147483647 w 968"/>
              <a:gd name="T19" fmla="*/ 2147483647 h 443"/>
              <a:gd name="T20" fmla="*/ 2147483647 w 968"/>
              <a:gd name="T21" fmla="*/ 2147483647 h 443"/>
              <a:gd name="T22" fmla="*/ 2147483647 w 968"/>
              <a:gd name="T23" fmla="*/ 2147483647 h 443"/>
              <a:gd name="T24" fmla="*/ 2147483647 w 968"/>
              <a:gd name="T25" fmla="*/ 2147483647 h 443"/>
              <a:gd name="T26" fmla="*/ 2147483647 w 968"/>
              <a:gd name="T27" fmla="*/ 2147483647 h 443"/>
              <a:gd name="T28" fmla="*/ 2147483647 w 968"/>
              <a:gd name="T29" fmla="*/ 2147483647 h 443"/>
              <a:gd name="T30" fmla="*/ 2147483647 w 968"/>
              <a:gd name="T31" fmla="*/ 2147483647 h 443"/>
              <a:gd name="T32" fmla="*/ 2147483647 w 968"/>
              <a:gd name="T33" fmla="*/ 2147483647 h 443"/>
              <a:gd name="T34" fmla="*/ 2147483647 w 968"/>
              <a:gd name="T35" fmla="*/ 2147483647 h 443"/>
              <a:gd name="T36" fmla="*/ 2147483647 w 968"/>
              <a:gd name="T37" fmla="*/ 2147483647 h 443"/>
              <a:gd name="T38" fmla="*/ 2147483647 w 968"/>
              <a:gd name="T39" fmla="*/ 2147483647 h 443"/>
              <a:gd name="T40" fmla="*/ 2147483647 w 968"/>
              <a:gd name="T41" fmla="*/ 2147483647 h 443"/>
              <a:gd name="T42" fmla="*/ 2147483647 w 968"/>
              <a:gd name="T43" fmla="*/ 2147483647 h 443"/>
              <a:gd name="T44" fmla="*/ 2147483647 w 968"/>
              <a:gd name="T45" fmla="*/ 2147483647 h 443"/>
              <a:gd name="T46" fmla="*/ 2147483647 w 968"/>
              <a:gd name="T47" fmla="*/ 2147483647 h 443"/>
              <a:gd name="T48" fmla="*/ 2147483647 w 968"/>
              <a:gd name="T49" fmla="*/ 2147483647 h 443"/>
              <a:gd name="T50" fmla="*/ 2147483647 w 968"/>
              <a:gd name="T51" fmla="*/ 2147483647 h 443"/>
              <a:gd name="T52" fmla="*/ 2147483647 w 968"/>
              <a:gd name="T53" fmla="*/ 2147483647 h 443"/>
              <a:gd name="T54" fmla="*/ 2147483647 w 968"/>
              <a:gd name="T55" fmla="*/ 2147483647 h 443"/>
              <a:gd name="T56" fmla="*/ 2147483647 w 968"/>
              <a:gd name="T57" fmla="*/ 2147483647 h 443"/>
              <a:gd name="T58" fmla="*/ 2147483647 w 968"/>
              <a:gd name="T59" fmla="*/ 2147483647 h 443"/>
              <a:gd name="T60" fmla="*/ 2147483647 w 968"/>
              <a:gd name="T61" fmla="*/ 2147483647 h 443"/>
              <a:gd name="T62" fmla="*/ 2147483647 w 968"/>
              <a:gd name="T63" fmla="*/ 2147483647 h 443"/>
              <a:gd name="T64" fmla="*/ 2147483647 w 968"/>
              <a:gd name="T65" fmla="*/ 2147483647 h 443"/>
              <a:gd name="T66" fmla="*/ 2147483647 w 968"/>
              <a:gd name="T67" fmla="*/ 2147483647 h 443"/>
              <a:gd name="T68" fmla="*/ 2147483647 w 968"/>
              <a:gd name="T69" fmla="*/ 2147483647 h 443"/>
              <a:gd name="T70" fmla="*/ 2147483647 w 968"/>
              <a:gd name="T71" fmla="*/ 2147483647 h 443"/>
              <a:gd name="T72" fmla="*/ 2147483647 w 968"/>
              <a:gd name="T73" fmla="*/ 2147483647 h 443"/>
              <a:gd name="T74" fmla="*/ 2147483647 w 968"/>
              <a:gd name="T75" fmla="*/ 2147483647 h 443"/>
              <a:gd name="T76" fmla="*/ 2147483647 w 968"/>
              <a:gd name="T77" fmla="*/ 2147483647 h 443"/>
              <a:gd name="T78" fmla="*/ 2147483647 w 968"/>
              <a:gd name="T79" fmla="*/ 2147483647 h 443"/>
              <a:gd name="T80" fmla="*/ 2147483647 w 968"/>
              <a:gd name="T81" fmla="*/ 2147483647 h 443"/>
              <a:gd name="T82" fmla="*/ 2147483647 w 968"/>
              <a:gd name="T83" fmla="*/ 2147483647 h 443"/>
              <a:gd name="T84" fmla="*/ 2147483647 w 968"/>
              <a:gd name="T85" fmla="*/ 2147483647 h 443"/>
              <a:gd name="T86" fmla="*/ 2147483647 w 968"/>
              <a:gd name="T87" fmla="*/ 2147483647 h 443"/>
              <a:gd name="T88" fmla="*/ 2147483647 w 968"/>
              <a:gd name="T89" fmla="*/ 0 h 443"/>
              <a:gd name="T90" fmla="*/ 2147483647 w 968"/>
              <a:gd name="T91" fmla="*/ 2147483647 h 443"/>
              <a:gd name="T92" fmla="*/ 2147483647 w 968"/>
              <a:gd name="T93" fmla="*/ 2147483647 h 443"/>
              <a:gd name="T94" fmla="*/ 0 w 968"/>
              <a:gd name="T95" fmla="*/ 2147483647 h 44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68"/>
              <a:gd name="T145" fmla="*/ 0 h 443"/>
              <a:gd name="T146" fmla="*/ 968 w 968"/>
              <a:gd name="T147" fmla="*/ 443 h 44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68" h="443">
                <a:moveTo>
                  <a:pt x="0" y="26"/>
                </a:moveTo>
                <a:lnTo>
                  <a:pt x="14" y="60"/>
                </a:lnTo>
                <a:lnTo>
                  <a:pt x="25" y="63"/>
                </a:lnTo>
                <a:lnTo>
                  <a:pt x="15" y="66"/>
                </a:lnTo>
                <a:lnTo>
                  <a:pt x="7" y="174"/>
                </a:lnTo>
                <a:lnTo>
                  <a:pt x="32" y="218"/>
                </a:lnTo>
                <a:lnTo>
                  <a:pt x="47" y="218"/>
                </a:lnTo>
                <a:lnTo>
                  <a:pt x="41" y="235"/>
                </a:lnTo>
                <a:lnTo>
                  <a:pt x="70" y="281"/>
                </a:lnTo>
                <a:lnTo>
                  <a:pt x="104" y="291"/>
                </a:lnTo>
                <a:lnTo>
                  <a:pt x="127" y="318"/>
                </a:lnTo>
                <a:lnTo>
                  <a:pt x="167" y="315"/>
                </a:lnTo>
                <a:lnTo>
                  <a:pt x="231" y="338"/>
                </a:lnTo>
                <a:lnTo>
                  <a:pt x="306" y="330"/>
                </a:lnTo>
                <a:lnTo>
                  <a:pt x="353" y="377"/>
                </a:lnTo>
                <a:lnTo>
                  <a:pt x="389" y="364"/>
                </a:lnTo>
                <a:lnTo>
                  <a:pt x="430" y="421"/>
                </a:lnTo>
                <a:lnTo>
                  <a:pt x="463" y="430"/>
                </a:lnTo>
                <a:lnTo>
                  <a:pt x="460" y="399"/>
                </a:lnTo>
                <a:lnTo>
                  <a:pt x="495" y="380"/>
                </a:lnTo>
                <a:lnTo>
                  <a:pt x="500" y="366"/>
                </a:lnTo>
                <a:lnTo>
                  <a:pt x="549" y="364"/>
                </a:lnTo>
                <a:lnTo>
                  <a:pt x="591" y="377"/>
                </a:lnTo>
                <a:lnTo>
                  <a:pt x="593" y="359"/>
                </a:lnTo>
                <a:lnTo>
                  <a:pt x="574" y="355"/>
                </a:lnTo>
                <a:lnTo>
                  <a:pt x="612" y="354"/>
                </a:lnTo>
                <a:lnTo>
                  <a:pt x="614" y="345"/>
                </a:lnTo>
                <a:lnTo>
                  <a:pt x="615" y="356"/>
                </a:lnTo>
                <a:lnTo>
                  <a:pt x="685" y="359"/>
                </a:lnTo>
                <a:lnTo>
                  <a:pt x="702" y="376"/>
                </a:lnTo>
                <a:lnTo>
                  <a:pt x="706" y="405"/>
                </a:lnTo>
                <a:lnTo>
                  <a:pt x="729" y="442"/>
                </a:lnTo>
                <a:lnTo>
                  <a:pt x="740" y="442"/>
                </a:lnTo>
                <a:lnTo>
                  <a:pt x="746" y="412"/>
                </a:lnTo>
                <a:lnTo>
                  <a:pt x="723" y="345"/>
                </a:lnTo>
                <a:lnTo>
                  <a:pt x="738" y="316"/>
                </a:lnTo>
                <a:lnTo>
                  <a:pt x="821" y="262"/>
                </a:lnTo>
                <a:lnTo>
                  <a:pt x="807" y="257"/>
                </a:lnTo>
                <a:lnTo>
                  <a:pt x="820" y="255"/>
                </a:lnTo>
                <a:lnTo>
                  <a:pt x="809" y="238"/>
                </a:lnTo>
                <a:lnTo>
                  <a:pt x="812" y="221"/>
                </a:lnTo>
                <a:lnTo>
                  <a:pt x="796" y="209"/>
                </a:lnTo>
                <a:lnTo>
                  <a:pt x="812" y="216"/>
                </a:lnTo>
                <a:lnTo>
                  <a:pt x="808" y="197"/>
                </a:lnTo>
                <a:lnTo>
                  <a:pt x="819" y="191"/>
                </a:lnTo>
                <a:lnTo>
                  <a:pt x="820" y="235"/>
                </a:lnTo>
                <a:lnTo>
                  <a:pt x="834" y="211"/>
                </a:lnTo>
                <a:lnTo>
                  <a:pt x="826" y="188"/>
                </a:lnTo>
                <a:lnTo>
                  <a:pt x="836" y="201"/>
                </a:lnTo>
                <a:lnTo>
                  <a:pt x="852" y="166"/>
                </a:lnTo>
                <a:lnTo>
                  <a:pt x="919" y="151"/>
                </a:lnTo>
                <a:lnTo>
                  <a:pt x="903" y="140"/>
                </a:lnTo>
                <a:lnTo>
                  <a:pt x="914" y="113"/>
                </a:lnTo>
                <a:lnTo>
                  <a:pt x="967" y="94"/>
                </a:lnTo>
                <a:lnTo>
                  <a:pt x="967" y="84"/>
                </a:lnTo>
                <a:lnTo>
                  <a:pt x="955" y="74"/>
                </a:lnTo>
                <a:lnTo>
                  <a:pt x="955" y="48"/>
                </a:lnTo>
                <a:lnTo>
                  <a:pt x="929" y="41"/>
                </a:lnTo>
                <a:lnTo>
                  <a:pt x="907" y="81"/>
                </a:lnTo>
                <a:lnTo>
                  <a:pt x="820" y="98"/>
                </a:lnTo>
                <a:lnTo>
                  <a:pt x="814" y="115"/>
                </a:lnTo>
                <a:lnTo>
                  <a:pt x="765" y="121"/>
                </a:lnTo>
                <a:lnTo>
                  <a:pt x="768" y="128"/>
                </a:lnTo>
                <a:lnTo>
                  <a:pt x="719" y="155"/>
                </a:lnTo>
                <a:lnTo>
                  <a:pt x="699" y="154"/>
                </a:lnTo>
                <a:lnTo>
                  <a:pt x="698" y="145"/>
                </a:lnTo>
                <a:lnTo>
                  <a:pt x="701" y="137"/>
                </a:lnTo>
                <a:lnTo>
                  <a:pt x="707" y="133"/>
                </a:lnTo>
                <a:lnTo>
                  <a:pt x="709" y="124"/>
                </a:lnTo>
                <a:lnTo>
                  <a:pt x="701" y="105"/>
                </a:lnTo>
                <a:lnTo>
                  <a:pt x="683" y="112"/>
                </a:lnTo>
                <a:lnTo>
                  <a:pt x="691" y="84"/>
                </a:lnTo>
                <a:lnTo>
                  <a:pt x="665" y="74"/>
                </a:lnTo>
                <a:lnTo>
                  <a:pt x="645" y="94"/>
                </a:lnTo>
                <a:lnTo>
                  <a:pt x="636" y="147"/>
                </a:lnTo>
                <a:lnTo>
                  <a:pt x="622" y="149"/>
                </a:lnTo>
                <a:lnTo>
                  <a:pt x="617" y="121"/>
                </a:lnTo>
                <a:lnTo>
                  <a:pt x="630" y="85"/>
                </a:lnTo>
                <a:lnTo>
                  <a:pt x="618" y="92"/>
                </a:lnTo>
                <a:lnTo>
                  <a:pt x="639" y="70"/>
                </a:lnTo>
                <a:lnTo>
                  <a:pt x="683" y="70"/>
                </a:lnTo>
                <a:lnTo>
                  <a:pt x="676" y="59"/>
                </a:lnTo>
                <a:lnTo>
                  <a:pt x="675" y="59"/>
                </a:lnTo>
                <a:lnTo>
                  <a:pt x="607" y="54"/>
                </a:lnTo>
                <a:lnTo>
                  <a:pt x="618" y="38"/>
                </a:lnTo>
                <a:lnTo>
                  <a:pt x="578" y="56"/>
                </a:lnTo>
                <a:lnTo>
                  <a:pt x="549" y="55"/>
                </a:lnTo>
                <a:lnTo>
                  <a:pt x="586" y="29"/>
                </a:lnTo>
                <a:lnTo>
                  <a:pt x="506" y="13"/>
                </a:lnTo>
                <a:lnTo>
                  <a:pt x="497" y="0"/>
                </a:lnTo>
                <a:lnTo>
                  <a:pt x="495" y="9"/>
                </a:lnTo>
                <a:lnTo>
                  <a:pt x="32" y="9"/>
                </a:lnTo>
                <a:lnTo>
                  <a:pt x="42" y="27"/>
                </a:lnTo>
                <a:lnTo>
                  <a:pt x="32" y="41"/>
                </a:lnTo>
                <a:lnTo>
                  <a:pt x="35" y="26"/>
                </a:lnTo>
                <a:lnTo>
                  <a:pt x="0" y="26"/>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3" name="Freeform 225"/>
          <p:cNvSpPr>
            <a:spLocks/>
          </p:cNvSpPr>
          <p:nvPr/>
        </p:nvSpPr>
        <p:spPr bwMode="auto">
          <a:xfrm>
            <a:off x="8588375" y="2740025"/>
            <a:ext cx="69850" cy="23813"/>
          </a:xfrm>
          <a:custGeom>
            <a:avLst/>
            <a:gdLst>
              <a:gd name="T0" fmla="*/ 0 w 51"/>
              <a:gd name="T1" fmla="*/ 2147483647 h 16"/>
              <a:gd name="T2" fmla="*/ 2147483647 w 51"/>
              <a:gd name="T3" fmla="*/ 0 h 16"/>
              <a:gd name="T4" fmla="*/ 2147483647 w 51"/>
              <a:gd name="T5" fmla="*/ 2147483647 h 16"/>
              <a:gd name="T6" fmla="*/ 2147483647 w 51"/>
              <a:gd name="T7" fmla="*/ 2147483647 h 16"/>
              <a:gd name="T8" fmla="*/ 0 w 51"/>
              <a:gd name="T9" fmla="*/ 2147483647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3"/>
                </a:moveTo>
                <a:lnTo>
                  <a:pt x="30" y="0"/>
                </a:lnTo>
                <a:lnTo>
                  <a:pt x="50" y="8"/>
                </a:lnTo>
                <a:lnTo>
                  <a:pt x="39" y="15"/>
                </a:lnTo>
                <a:lnTo>
                  <a:pt x="0" y="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4" name="Freeform 226"/>
          <p:cNvSpPr>
            <a:spLocks/>
          </p:cNvSpPr>
          <p:nvPr/>
        </p:nvSpPr>
        <p:spPr bwMode="auto">
          <a:xfrm>
            <a:off x="4119563" y="4097338"/>
            <a:ext cx="174625" cy="127000"/>
          </a:xfrm>
          <a:custGeom>
            <a:avLst/>
            <a:gdLst>
              <a:gd name="T0" fmla="*/ 0 w 127"/>
              <a:gd name="T1" fmla="*/ 2147483647 h 87"/>
              <a:gd name="T2" fmla="*/ 2147483647 w 127"/>
              <a:gd name="T3" fmla="*/ 2147483647 h 87"/>
              <a:gd name="T4" fmla="*/ 2147483647 w 127"/>
              <a:gd name="T5" fmla="*/ 2147483647 h 87"/>
              <a:gd name="T6" fmla="*/ 2147483647 w 127"/>
              <a:gd name="T7" fmla="*/ 2147483647 h 87"/>
              <a:gd name="T8" fmla="*/ 2147483647 w 127"/>
              <a:gd name="T9" fmla="*/ 2147483647 h 87"/>
              <a:gd name="T10" fmla="*/ 2147483647 w 127"/>
              <a:gd name="T11" fmla="*/ 2147483647 h 87"/>
              <a:gd name="T12" fmla="*/ 2147483647 w 127"/>
              <a:gd name="T13" fmla="*/ 2147483647 h 87"/>
              <a:gd name="T14" fmla="*/ 2147483647 w 127"/>
              <a:gd name="T15" fmla="*/ 2147483647 h 87"/>
              <a:gd name="T16" fmla="*/ 2147483647 w 127"/>
              <a:gd name="T17" fmla="*/ 0 h 87"/>
              <a:gd name="T18" fmla="*/ 2147483647 w 127"/>
              <a:gd name="T19" fmla="*/ 2147483647 h 87"/>
              <a:gd name="T20" fmla="*/ 0 w 127"/>
              <a:gd name="T21" fmla="*/ 2147483647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7"/>
              <a:gd name="T34" fmla="*/ 0 h 87"/>
              <a:gd name="T35" fmla="*/ 127 w 127"/>
              <a:gd name="T36" fmla="*/ 87 h 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7" h="87">
                <a:moveTo>
                  <a:pt x="0" y="73"/>
                </a:moveTo>
                <a:lnTo>
                  <a:pt x="9" y="84"/>
                </a:lnTo>
                <a:lnTo>
                  <a:pt x="44" y="86"/>
                </a:lnTo>
                <a:lnTo>
                  <a:pt x="40" y="64"/>
                </a:lnTo>
                <a:lnTo>
                  <a:pt x="83" y="60"/>
                </a:lnTo>
                <a:lnTo>
                  <a:pt x="103" y="64"/>
                </a:lnTo>
                <a:lnTo>
                  <a:pt x="126" y="48"/>
                </a:lnTo>
                <a:lnTo>
                  <a:pt x="92" y="15"/>
                </a:lnTo>
                <a:lnTo>
                  <a:pt x="91" y="0"/>
                </a:lnTo>
                <a:lnTo>
                  <a:pt x="22" y="29"/>
                </a:lnTo>
                <a:lnTo>
                  <a:pt x="0" y="7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5" name="Freeform 227"/>
          <p:cNvSpPr>
            <a:spLocks/>
          </p:cNvSpPr>
          <p:nvPr/>
        </p:nvSpPr>
        <p:spPr bwMode="auto">
          <a:xfrm>
            <a:off x="2887663" y="5159375"/>
            <a:ext cx="122237" cy="122238"/>
          </a:xfrm>
          <a:custGeom>
            <a:avLst/>
            <a:gdLst>
              <a:gd name="T0" fmla="*/ 0 w 89"/>
              <a:gd name="T1" fmla="*/ 2147483647 h 84"/>
              <a:gd name="T2" fmla="*/ 2147483647 w 89"/>
              <a:gd name="T3" fmla="*/ 2147483647 h 84"/>
              <a:gd name="T4" fmla="*/ 2147483647 w 89"/>
              <a:gd name="T5" fmla="*/ 0 h 84"/>
              <a:gd name="T6" fmla="*/ 2147483647 w 89"/>
              <a:gd name="T7" fmla="*/ 2147483647 h 84"/>
              <a:gd name="T8" fmla="*/ 2147483647 w 89"/>
              <a:gd name="T9" fmla="*/ 2147483647 h 84"/>
              <a:gd name="T10" fmla="*/ 2147483647 w 89"/>
              <a:gd name="T11" fmla="*/ 2147483647 h 84"/>
              <a:gd name="T12" fmla="*/ 2147483647 w 89"/>
              <a:gd name="T13" fmla="*/ 2147483647 h 84"/>
              <a:gd name="T14" fmla="*/ 0 w 89"/>
              <a:gd name="T15" fmla="*/ 2147483647 h 84"/>
              <a:gd name="T16" fmla="*/ 0 60000 65536"/>
              <a:gd name="T17" fmla="*/ 0 60000 65536"/>
              <a:gd name="T18" fmla="*/ 0 60000 65536"/>
              <a:gd name="T19" fmla="*/ 0 60000 65536"/>
              <a:gd name="T20" fmla="*/ 0 60000 65536"/>
              <a:gd name="T21" fmla="*/ 0 60000 65536"/>
              <a:gd name="T22" fmla="*/ 0 60000 65536"/>
              <a:gd name="T23" fmla="*/ 0 60000 65536"/>
              <a:gd name="T24" fmla="*/ 0 w 89"/>
              <a:gd name="T25" fmla="*/ 0 h 84"/>
              <a:gd name="T26" fmla="*/ 89 w 89"/>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9" h="84">
                <a:moveTo>
                  <a:pt x="0" y="67"/>
                </a:moveTo>
                <a:lnTo>
                  <a:pt x="15" y="1"/>
                </a:lnTo>
                <a:lnTo>
                  <a:pt x="27" y="0"/>
                </a:lnTo>
                <a:lnTo>
                  <a:pt x="77" y="30"/>
                </a:lnTo>
                <a:lnTo>
                  <a:pt x="88" y="46"/>
                </a:lnTo>
                <a:lnTo>
                  <a:pt x="84" y="62"/>
                </a:lnTo>
                <a:lnTo>
                  <a:pt x="59" y="83"/>
                </a:lnTo>
                <a:lnTo>
                  <a:pt x="0" y="67"/>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6" name="Freeform 228"/>
          <p:cNvSpPr>
            <a:spLocks/>
          </p:cNvSpPr>
          <p:nvPr/>
        </p:nvSpPr>
        <p:spPr bwMode="auto">
          <a:xfrm>
            <a:off x="2543175" y="4164013"/>
            <a:ext cx="315913" cy="263525"/>
          </a:xfrm>
          <a:custGeom>
            <a:avLst/>
            <a:gdLst>
              <a:gd name="T0" fmla="*/ 0 w 229"/>
              <a:gd name="T1" fmla="*/ 2147483647 h 181"/>
              <a:gd name="T2" fmla="*/ 2147483647 w 229"/>
              <a:gd name="T3" fmla="*/ 2147483647 h 181"/>
              <a:gd name="T4" fmla="*/ 2147483647 w 229"/>
              <a:gd name="T5" fmla="*/ 2147483647 h 181"/>
              <a:gd name="T6" fmla="*/ 2147483647 w 229"/>
              <a:gd name="T7" fmla="*/ 2147483647 h 181"/>
              <a:gd name="T8" fmla="*/ 2147483647 w 229"/>
              <a:gd name="T9" fmla="*/ 2147483647 h 181"/>
              <a:gd name="T10" fmla="*/ 2147483647 w 229"/>
              <a:gd name="T11" fmla="*/ 2147483647 h 181"/>
              <a:gd name="T12" fmla="*/ 2147483647 w 229"/>
              <a:gd name="T13" fmla="*/ 2147483647 h 181"/>
              <a:gd name="T14" fmla="*/ 2147483647 w 229"/>
              <a:gd name="T15" fmla="*/ 2147483647 h 181"/>
              <a:gd name="T16" fmla="*/ 2147483647 w 229"/>
              <a:gd name="T17" fmla="*/ 2147483647 h 181"/>
              <a:gd name="T18" fmla="*/ 2147483647 w 229"/>
              <a:gd name="T19" fmla="*/ 2147483647 h 181"/>
              <a:gd name="T20" fmla="*/ 2147483647 w 229"/>
              <a:gd name="T21" fmla="*/ 2147483647 h 181"/>
              <a:gd name="T22" fmla="*/ 2147483647 w 229"/>
              <a:gd name="T23" fmla="*/ 2147483647 h 181"/>
              <a:gd name="T24" fmla="*/ 2147483647 w 229"/>
              <a:gd name="T25" fmla="*/ 2147483647 h 181"/>
              <a:gd name="T26" fmla="*/ 2147483647 w 229"/>
              <a:gd name="T27" fmla="*/ 2147483647 h 181"/>
              <a:gd name="T28" fmla="*/ 2147483647 w 229"/>
              <a:gd name="T29" fmla="*/ 2147483647 h 181"/>
              <a:gd name="T30" fmla="*/ 2147483647 w 229"/>
              <a:gd name="T31" fmla="*/ 2147483647 h 181"/>
              <a:gd name="T32" fmla="*/ 2147483647 w 229"/>
              <a:gd name="T33" fmla="*/ 2147483647 h 181"/>
              <a:gd name="T34" fmla="*/ 2147483647 w 229"/>
              <a:gd name="T35" fmla="*/ 2147483647 h 181"/>
              <a:gd name="T36" fmla="*/ 2147483647 w 229"/>
              <a:gd name="T37" fmla="*/ 2147483647 h 181"/>
              <a:gd name="T38" fmla="*/ 2147483647 w 229"/>
              <a:gd name="T39" fmla="*/ 2147483647 h 181"/>
              <a:gd name="T40" fmla="*/ 2147483647 w 229"/>
              <a:gd name="T41" fmla="*/ 2147483647 h 181"/>
              <a:gd name="T42" fmla="*/ 2147483647 w 229"/>
              <a:gd name="T43" fmla="*/ 2147483647 h 181"/>
              <a:gd name="T44" fmla="*/ 2147483647 w 229"/>
              <a:gd name="T45" fmla="*/ 0 h 181"/>
              <a:gd name="T46" fmla="*/ 2147483647 w 229"/>
              <a:gd name="T47" fmla="*/ 2147483647 h 181"/>
              <a:gd name="T48" fmla="*/ 2147483647 w 229"/>
              <a:gd name="T49" fmla="*/ 2147483647 h 181"/>
              <a:gd name="T50" fmla="*/ 2147483647 w 229"/>
              <a:gd name="T51" fmla="*/ 2147483647 h 181"/>
              <a:gd name="T52" fmla="*/ 2147483647 w 229"/>
              <a:gd name="T53" fmla="*/ 2147483647 h 181"/>
              <a:gd name="T54" fmla="*/ 2147483647 w 229"/>
              <a:gd name="T55" fmla="*/ 2147483647 h 181"/>
              <a:gd name="T56" fmla="*/ 2147483647 w 229"/>
              <a:gd name="T57" fmla="*/ 2147483647 h 181"/>
              <a:gd name="T58" fmla="*/ 0 w 229"/>
              <a:gd name="T59" fmla="*/ 2147483647 h 1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9"/>
              <a:gd name="T91" fmla="*/ 0 h 181"/>
              <a:gd name="T92" fmla="*/ 229 w 229"/>
              <a:gd name="T93" fmla="*/ 181 h 18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9" h="181">
                <a:moveTo>
                  <a:pt x="0" y="49"/>
                </a:moveTo>
                <a:lnTo>
                  <a:pt x="22" y="80"/>
                </a:lnTo>
                <a:lnTo>
                  <a:pt x="56" y="82"/>
                </a:lnTo>
                <a:lnTo>
                  <a:pt x="68" y="96"/>
                </a:lnTo>
                <a:lnTo>
                  <a:pt x="98" y="95"/>
                </a:lnTo>
                <a:lnTo>
                  <a:pt x="94" y="149"/>
                </a:lnTo>
                <a:lnTo>
                  <a:pt x="109" y="172"/>
                </a:lnTo>
                <a:lnTo>
                  <a:pt x="130" y="180"/>
                </a:lnTo>
                <a:lnTo>
                  <a:pt x="169" y="158"/>
                </a:lnTo>
                <a:lnTo>
                  <a:pt x="155" y="154"/>
                </a:lnTo>
                <a:lnTo>
                  <a:pt x="145" y="124"/>
                </a:lnTo>
                <a:lnTo>
                  <a:pt x="175" y="131"/>
                </a:lnTo>
                <a:lnTo>
                  <a:pt x="216" y="110"/>
                </a:lnTo>
                <a:lnTo>
                  <a:pt x="204" y="96"/>
                </a:lnTo>
                <a:lnTo>
                  <a:pt x="217" y="81"/>
                </a:lnTo>
                <a:lnTo>
                  <a:pt x="213" y="71"/>
                </a:lnTo>
                <a:lnTo>
                  <a:pt x="228" y="62"/>
                </a:lnTo>
                <a:lnTo>
                  <a:pt x="209" y="59"/>
                </a:lnTo>
                <a:lnTo>
                  <a:pt x="209" y="44"/>
                </a:lnTo>
                <a:lnTo>
                  <a:pt x="175" y="29"/>
                </a:lnTo>
                <a:lnTo>
                  <a:pt x="190" y="24"/>
                </a:lnTo>
                <a:lnTo>
                  <a:pt x="90" y="27"/>
                </a:lnTo>
                <a:lnTo>
                  <a:pt x="57" y="0"/>
                </a:lnTo>
                <a:lnTo>
                  <a:pt x="61" y="12"/>
                </a:lnTo>
                <a:lnTo>
                  <a:pt x="32" y="22"/>
                </a:lnTo>
                <a:lnTo>
                  <a:pt x="38" y="44"/>
                </a:lnTo>
                <a:lnTo>
                  <a:pt x="30" y="51"/>
                </a:lnTo>
                <a:lnTo>
                  <a:pt x="22" y="34"/>
                </a:lnTo>
                <a:lnTo>
                  <a:pt x="35" y="6"/>
                </a:lnTo>
                <a:lnTo>
                  <a:pt x="0" y="49"/>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7" name="Freeform 229"/>
          <p:cNvSpPr>
            <a:spLocks/>
          </p:cNvSpPr>
          <p:nvPr/>
        </p:nvSpPr>
        <p:spPr bwMode="auto">
          <a:xfrm>
            <a:off x="6600825" y="3900488"/>
            <a:ext cx="165100" cy="346075"/>
          </a:xfrm>
          <a:custGeom>
            <a:avLst/>
            <a:gdLst>
              <a:gd name="T0" fmla="*/ 0 w 120"/>
              <a:gd name="T1" fmla="*/ 2147483647 h 237"/>
              <a:gd name="T2" fmla="*/ 2147483647 w 120"/>
              <a:gd name="T3" fmla="*/ 2147483647 h 237"/>
              <a:gd name="T4" fmla="*/ 2147483647 w 120"/>
              <a:gd name="T5" fmla="*/ 2147483647 h 237"/>
              <a:gd name="T6" fmla="*/ 2147483647 w 120"/>
              <a:gd name="T7" fmla="*/ 2147483647 h 237"/>
              <a:gd name="T8" fmla="*/ 2147483647 w 120"/>
              <a:gd name="T9" fmla="*/ 2147483647 h 237"/>
              <a:gd name="T10" fmla="*/ 2147483647 w 120"/>
              <a:gd name="T11" fmla="*/ 2147483647 h 237"/>
              <a:gd name="T12" fmla="*/ 2147483647 w 120"/>
              <a:gd name="T13" fmla="*/ 2147483647 h 237"/>
              <a:gd name="T14" fmla="*/ 2147483647 w 120"/>
              <a:gd name="T15" fmla="*/ 2147483647 h 237"/>
              <a:gd name="T16" fmla="*/ 2147483647 w 120"/>
              <a:gd name="T17" fmla="*/ 2147483647 h 237"/>
              <a:gd name="T18" fmla="*/ 2147483647 w 120"/>
              <a:gd name="T19" fmla="*/ 2147483647 h 237"/>
              <a:gd name="T20" fmla="*/ 2147483647 w 120"/>
              <a:gd name="T21" fmla="*/ 2147483647 h 237"/>
              <a:gd name="T22" fmla="*/ 2147483647 w 120"/>
              <a:gd name="T23" fmla="*/ 2147483647 h 237"/>
              <a:gd name="T24" fmla="*/ 2147483647 w 120"/>
              <a:gd name="T25" fmla="*/ 2147483647 h 237"/>
              <a:gd name="T26" fmla="*/ 2147483647 w 120"/>
              <a:gd name="T27" fmla="*/ 2147483647 h 237"/>
              <a:gd name="T28" fmla="*/ 2147483647 w 120"/>
              <a:gd name="T29" fmla="*/ 2147483647 h 237"/>
              <a:gd name="T30" fmla="*/ 2147483647 w 120"/>
              <a:gd name="T31" fmla="*/ 2147483647 h 237"/>
              <a:gd name="T32" fmla="*/ 2147483647 w 120"/>
              <a:gd name="T33" fmla="*/ 2147483647 h 237"/>
              <a:gd name="T34" fmla="*/ 2147483647 w 120"/>
              <a:gd name="T35" fmla="*/ 0 h 237"/>
              <a:gd name="T36" fmla="*/ 0 w 120"/>
              <a:gd name="T37" fmla="*/ 2147483647 h 2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0"/>
              <a:gd name="T58" fmla="*/ 0 h 237"/>
              <a:gd name="T59" fmla="*/ 120 w 120"/>
              <a:gd name="T60" fmla="*/ 237 h 2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0" h="237">
                <a:moveTo>
                  <a:pt x="0" y="13"/>
                </a:moveTo>
                <a:lnTo>
                  <a:pt x="18" y="38"/>
                </a:lnTo>
                <a:lnTo>
                  <a:pt x="42" y="49"/>
                </a:lnTo>
                <a:lnTo>
                  <a:pt x="31" y="64"/>
                </a:lnTo>
                <a:lnTo>
                  <a:pt x="71" y="96"/>
                </a:lnTo>
                <a:lnTo>
                  <a:pt x="90" y="140"/>
                </a:lnTo>
                <a:lnTo>
                  <a:pt x="91" y="176"/>
                </a:lnTo>
                <a:lnTo>
                  <a:pt x="40" y="207"/>
                </a:lnTo>
                <a:lnTo>
                  <a:pt x="49" y="236"/>
                </a:lnTo>
                <a:lnTo>
                  <a:pt x="65" y="215"/>
                </a:lnTo>
                <a:lnTo>
                  <a:pt x="72" y="221"/>
                </a:lnTo>
                <a:lnTo>
                  <a:pt x="79" y="208"/>
                </a:lnTo>
                <a:lnTo>
                  <a:pt x="119" y="189"/>
                </a:lnTo>
                <a:lnTo>
                  <a:pt x="112" y="130"/>
                </a:lnTo>
                <a:lnTo>
                  <a:pt x="59" y="73"/>
                </a:lnTo>
                <a:lnTo>
                  <a:pt x="65" y="56"/>
                </a:lnTo>
                <a:lnTo>
                  <a:pt x="97" y="28"/>
                </a:lnTo>
                <a:lnTo>
                  <a:pt x="53" y="0"/>
                </a:lnTo>
                <a:lnTo>
                  <a:pt x="0" y="1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8" name="Freeform 230"/>
          <p:cNvSpPr>
            <a:spLocks/>
          </p:cNvSpPr>
          <p:nvPr/>
        </p:nvSpPr>
        <p:spPr bwMode="auto">
          <a:xfrm>
            <a:off x="4554538" y="3279775"/>
            <a:ext cx="215900" cy="173038"/>
          </a:xfrm>
          <a:custGeom>
            <a:avLst/>
            <a:gdLst>
              <a:gd name="T0" fmla="*/ 0 w 156"/>
              <a:gd name="T1" fmla="*/ 2147483647 h 118"/>
              <a:gd name="T2" fmla="*/ 0 w 156"/>
              <a:gd name="T3" fmla="*/ 2147483647 h 118"/>
              <a:gd name="T4" fmla="*/ 2147483647 w 156"/>
              <a:gd name="T5" fmla="*/ 0 h 118"/>
              <a:gd name="T6" fmla="*/ 2147483647 w 156"/>
              <a:gd name="T7" fmla="*/ 2147483647 h 118"/>
              <a:gd name="T8" fmla="*/ 2147483647 w 156"/>
              <a:gd name="T9" fmla="*/ 2147483647 h 118"/>
              <a:gd name="T10" fmla="*/ 2147483647 w 156"/>
              <a:gd name="T11" fmla="*/ 2147483647 h 118"/>
              <a:gd name="T12" fmla="*/ 2147483647 w 156"/>
              <a:gd name="T13" fmla="*/ 2147483647 h 118"/>
              <a:gd name="T14" fmla="*/ 2147483647 w 156"/>
              <a:gd name="T15" fmla="*/ 2147483647 h 118"/>
              <a:gd name="T16" fmla="*/ 2147483647 w 156"/>
              <a:gd name="T17" fmla="*/ 2147483647 h 118"/>
              <a:gd name="T18" fmla="*/ 2147483647 w 156"/>
              <a:gd name="T19" fmla="*/ 2147483647 h 118"/>
              <a:gd name="T20" fmla="*/ 2147483647 w 156"/>
              <a:gd name="T21" fmla="*/ 2147483647 h 118"/>
              <a:gd name="T22" fmla="*/ 2147483647 w 156"/>
              <a:gd name="T23" fmla="*/ 2147483647 h 118"/>
              <a:gd name="T24" fmla="*/ 2147483647 w 156"/>
              <a:gd name="T25" fmla="*/ 2147483647 h 118"/>
              <a:gd name="T26" fmla="*/ 2147483647 w 156"/>
              <a:gd name="T27" fmla="*/ 2147483647 h 118"/>
              <a:gd name="T28" fmla="*/ 0 w 156"/>
              <a:gd name="T29" fmla="*/ 2147483647 h 1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6"/>
              <a:gd name="T46" fmla="*/ 0 h 118"/>
              <a:gd name="T47" fmla="*/ 156 w 156"/>
              <a:gd name="T48" fmla="*/ 118 h 1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6" h="118">
                <a:moveTo>
                  <a:pt x="0" y="28"/>
                </a:moveTo>
                <a:lnTo>
                  <a:pt x="0" y="9"/>
                </a:lnTo>
                <a:lnTo>
                  <a:pt x="40" y="0"/>
                </a:lnTo>
                <a:lnTo>
                  <a:pt x="72" y="22"/>
                </a:lnTo>
                <a:lnTo>
                  <a:pt x="109" y="15"/>
                </a:lnTo>
                <a:lnTo>
                  <a:pt x="153" y="54"/>
                </a:lnTo>
                <a:lnTo>
                  <a:pt x="146" y="90"/>
                </a:lnTo>
                <a:lnTo>
                  <a:pt x="155" y="108"/>
                </a:lnTo>
                <a:lnTo>
                  <a:pt x="123" y="117"/>
                </a:lnTo>
                <a:lnTo>
                  <a:pt x="109" y="85"/>
                </a:lnTo>
                <a:lnTo>
                  <a:pt x="94" y="97"/>
                </a:lnTo>
                <a:lnTo>
                  <a:pt x="40" y="66"/>
                </a:lnTo>
                <a:lnTo>
                  <a:pt x="15" y="33"/>
                </a:lnTo>
                <a:lnTo>
                  <a:pt x="4" y="40"/>
                </a:lnTo>
                <a:lnTo>
                  <a:pt x="0" y="2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39" name="Freeform 231"/>
          <p:cNvSpPr>
            <a:spLocks/>
          </p:cNvSpPr>
          <p:nvPr/>
        </p:nvSpPr>
        <p:spPr bwMode="auto">
          <a:xfrm>
            <a:off x="4749800" y="4632325"/>
            <a:ext cx="269875" cy="227013"/>
          </a:xfrm>
          <a:custGeom>
            <a:avLst/>
            <a:gdLst>
              <a:gd name="T0" fmla="*/ 0 w 197"/>
              <a:gd name="T1" fmla="*/ 2147483647 h 155"/>
              <a:gd name="T2" fmla="*/ 0 w 197"/>
              <a:gd name="T3" fmla="*/ 2147483647 h 155"/>
              <a:gd name="T4" fmla="*/ 2147483647 w 197"/>
              <a:gd name="T5" fmla="*/ 2147483647 h 155"/>
              <a:gd name="T6" fmla="*/ 2147483647 w 197"/>
              <a:gd name="T7" fmla="*/ 2147483647 h 155"/>
              <a:gd name="T8" fmla="*/ 2147483647 w 197"/>
              <a:gd name="T9" fmla="*/ 2147483647 h 155"/>
              <a:gd name="T10" fmla="*/ 2147483647 w 197"/>
              <a:gd name="T11" fmla="*/ 2147483647 h 155"/>
              <a:gd name="T12" fmla="*/ 2147483647 w 197"/>
              <a:gd name="T13" fmla="*/ 2147483647 h 155"/>
              <a:gd name="T14" fmla="*/ 2147483647 w 197"/>
              <a:gd name="T15" fmla="*/ 2147483647 h 155"/>
              <a:gd name="T16" fmla="*/ 2147483647 w 197"/>
              <a:gd name="T17" fmla="*/ 2147483647 h 155"/>
              <a:gd name="T18" fmla="*/ 2147483647 w 197"/>
              <a:gd name="T19" fmla="*/ 2147483647 h 155"/>
              <a:gd name="T20" fmla="*/ 2147483647 w 197"/>
              <a:gd name="T21" fmla="*/ 2147483647 h 155"/>
              <a:gd name="T22" fmla="*/ 2147483647 w 197"/>
              <a:gd name="T23" fmla="*/ 2147483647 h 155"/>
              <a:gd name="T24" fmla="*/ 2147483647 w 197"/>
              <a:gd name="T25" fmla="*/ 2147483647 h 155"/>
              <a:gd name="T26" fmla="*/ 2147483647 w 197"/>
              <a:gd name="T27" fmla="*/ 2147483647 h 155"/>
              <a:gd name="T28" fmla="*/ 2147483647 w 197"/>
              <a:gd name="T29" fmla="*/ 0 h 155"/>
              <a:gd name="T30" fmla="*/ 2147483647 w 197"/>
              <a:gd name="T31" fmla="*/ 2147483647 h 155"/>
              <a:gd name="T32" fmla="*/ 2147483647 w 197"/>
              <a:gd name="T33" fmla="*/ 2147483647 h 155"/>
              <a:gd name="T34" fmla="*/ 2147483647 w 197"/>
              <a:gd name="T35" fmla="*/ 2147483647 h 155"/>
              <a:gd name="T36" fmla="*/ 2147483647 w 197"/>
              <a:gd name="T37" fmla="*/ 2147483647 h 155"/>
              <a:gd name="T38" fmla="*/ 2147483647 w 197"/>
              <a:gd name="T39" fmla="*/ 2147483647 h 155"/>
              <a:gd name="T40" fmla="*/ 2147483647 w 197"/>
              <a:gd name="T41" fmla="*/ 2147483647 h 155"/>
              <a:gd name="T42" fmla="*/ 0 w 197"/>
              <a:gd name="T43" fmla="*/ 2147483647 h 1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7"/>
              <a:gd name="T67" fmla="*/ 0 h 155"/>
              <a:gd name="T68" fmla="*/ 197 w 197"/>
              <a:gd name="T69" fmla="*/ 155 h 1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7" h="155">
                <a:moveTo>
                  <a:pt x="0" y="75"/>
                </a:moveTo>
                <a:lnTo>
                  <a:pt x="0" y="134"/>
                </a:lnTo>
                <a:lnTo>
                  <a:pt x="20" y="151"/>
                </a:lnTo>
                <a:lnTo>
                  <a:pt x="51" y="153"/>
                </a:lnTo>
                <a:lnTo>
                  <a:pt x="81" y="154"/>
                </a:lnTo>
                <a:lnTo>
                  <a:pt x="111" y="133"/>
                </a:lnTo>
                <a:lnTo>
                  <a:pt x="111" y="123"/>
                </a:lnTo>
                <a:lnTo>
                  <a:pt x="138" y="117"/>
                </a:lnTo>
                <a:lnTo>
                  <a:pt x="133" y="110"/>
                </a:lnTo>
                <a:lnTo>
                  <a:pt x="186" y="93"/>
                </a:lnTo>
                <a:lnTo>
                  <a:pt x="179" y="87"/>
                </a:lnTo>
                <a:lnTo>
                  <a:pt x="196" y="39"/>
                </a:lnTo>
                <a:lnTo>
                  <a:pt x="184" y="19"/>
                </a:lnTo>
                <a:lnTo>
                  <a:pt x="153" y="6"/>
                </a:lnTo>
                <a:lnTo>
                  <a:pt x="143" y="0"/>
                </a:lnTo>
                <a:lnTo>
                  <a:pt x="112" y="16"/>
                </a:lnTo>
                <a:lnTo>
                  <a:pt x="110" y="56"/>
                </a:lnTo>
                <a:lnTo>
                  <a:pt x="127" y="64"/>
                </a:lnTo>
                <a:lnTo>
                  <a:pt x="128" y="81"/>
                </a:lnTo>
                <a:lnTo>
                  <a:pt x="33" y="42"/>
                </a:lnTo>
                <a:lnTo>
                  <a:pt x="36" y="75"/>
                </a:lnTo>
                <a:lnTo>
                  <a:pt x="0" y="75"/>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40" name="Freeform 232"/>
          <p:cNvSpPr>
            <a:spLocks/>
          </p:cNvSpPr>
          <p:nvPr/>
        </p:nvSpPr>
        <p:spPr bwMode="auto">
          <a:xfrm>
            <a:off x="4621213" y="4959350"/>
            <a:ext cx="379412" cy="309563"/>
          </a:xfrm>
          <a:custGeom>
            <a:avLst/>
            <a:gdLst>
              <a:gd name="T0" fmla="*/ 0 w 276"/>
              <a:gd name="T1" fmla="*/ 2147483647 h 211"/>
              <a:gd name="T2" fmla="*/ 2147483647 w 276"/>
              <a:gd name="T3" fmla="*/ 2147483647 h 211"/>
              <a:gd name="T4" fmla="*/ 2147483647 w 276"/>
              <a:gd name="T5" fmla="*/ 2147483647 h 211"/>
              <a:gd name="T6" fmla="*/ 2147483647 w 276"/>
              <a:gd name="T7" fmla="*/ 2147483647 h 211"/>
              <a:gd name="T8" fmla="*/ 2147483647 w 276"/>
              <a:gd name="T9" fmla="*/ 2147483647 h 211"/>
              <a:gd name="T10" fmla="*/ 2147483647 w 276"/>
              <a:gd name="T11" fmla="*/ 2147483647 h 211"/>
              <a:gd name="T12" fmla="*/ 2147483647 w 276"/>
              <a:gd name="T13" fmla="*/ 2147483647 h 211"/>
              <a:gd name="T14" fmla="*/ 2147483647 w 276"/>
              <a:gd name="T15" fmla="*/ 2147483647 h 211"/>
              <a:gd name="T16" fmla="*/ 2147483647 w 276"/>
              <a:gd name="T17" fmla="*/ 2147483647 h 211"/>
              <a:gd name="T18" fmla="*/ 2147483647 w 276"/>
              <a:gd name="T19" fmla="*/ 2147483647 h 211"/>
              <a:gd name="T20" fmla="*/ 2147483647 w 276"/>
              <a:gd name="T21" fmla="*/ 2147483647 h 211"/>
              <a:gd name="T22" fmla="*/ 2147483647 w 276"/>
              <a:gd name="T23" fmla="*/ 0 h 211"/>
              <a:gd name="T24" fmla="*/ 2147483647 w 276"/>
              <a:gd name="T25" fmla="*/ 2147483647 h 211"/>
              <a:gd name="T26" fmla="*/ 2147483647 w 276"/>
              <a:gd name="T27" fmla="*/ 2147483647 h 211"/>
              <a:gd name="T28" fmla="*/ 2147483647 w 276"/>
              <a:gd name="T29" fmla="*/ 2147483647 h 211"/>
              <a:gd name="T30" fmla="*/ 2147483647 w 276"/>
              <a:gd name="T31" fmla="*/ 2147483647 h 211"/>
              <a:gd name="T32" fmla="*/ 2147483647 w 276"/>
              <a:gd name="T33" fmla="*/ 2147483647 h 211"/>
              <a:gd name="T34" fmla="*/ 2147483647 w 276"/>
              <a:gd name="T35" fmla="*/ 2147483647 h 211"/>
              <a:gd name="T36" fmla="*/ 2147483647 w 276"/>
              <a:gd name="T37" fmla="*/ 2147483647 h 211"/>
              <a:gd name="T38" fmla="*/ 2147483647 w 276"/>
              <a:gd name="T39" fmla="*/ 2147483647 h 211"/>
              <a:gd name="T40" fmla="*/ 2147483647 w 276"/>
              <a:gd name="T41" fmla="*/ 2147483647 h 211"/>
              <a:gd name="T42" fmla="*/ 2147483647 w 276"/>
              <a:gd name="T43" fmla="*/ 2147483647 h 211"/>
              <a:gd name="T44" fmla="*/ 2147483647 w 276"/>
              <a:gd name="T45" fmla="*/ 2147483647 h 211"/>
              <a:gd name="T46" fmla="*/ 2147483647 w 276"/>
              <a:gd name="T47" fmla="*/ 2147483647 h 211"/>
              <a:gd name="T48" fmla="*/ 2147483647 w 276"/>
              <a:gd name="T49" fmla="*/ 2147483647 h 211"/>
              <a:gd name="T50" fmla="*/ 0 w 276"/>
              <a:gd name="T51" fmla="*/ 2147483647 h 2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76"/>
              <a:gd name="T79" fmla="*/ 0 h 211"/>
              <a:gd name="T80" fmla="*/ 276 w 276"/>
              <a:gd name="T81" fmla="*/ 211 h 2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76" h="211">
                <a:moveTo>
                  <a:pt x="0" y="110"/>
                </a:moveTo>
                <a:lnTo>
                  <a:pt x="10" y="103"/>
                </a:lnTo>
                <a:lnTo>
                  <a:pt x="21" y="116"/>
                </a:lnTo>
                <a:lnTo>
                  <a:pt x="42" y="116"/>
                </a:lnTo>
                <a:lnTo>
                  <a:pt x="57" y="108"/>
                </a:lnTo>
                <a:lnTo>
                  <a:pt x="57" y="44"/>
                </a:lnTo>
                <a:lnTo>
                  <a:pt x="72" y="59"/>
                </a:lnTo>
                <a:lnTo>
                  <a:pt x="71" y="77"/>
                </a:lnTo>
                <a:lnTo>
                  <a:pt x="94" y="75"/>
                </a:lnTo>
                <a:lnTo>
                  <a:pt x="115" y="56"/>
                </a:lnTo>
                <a:lnTo>
                  <a:pt x="151" y="56"/>
                </a:lnTo>
                <a:lnTo>
                  <a:pt x="217" y="0"/>
                </a:lnTo>
                <a:lnTo>
                  <a:pt x="254" y="9"/>
                </a:lnTo>
                <a:lnTo>
                  <a:pt x="261" y="60"/>
                </a:lnTo>
                <a:lnTo>
                  <a:pt x="242" y="74"/>
                </a:lnTo>
                <a:lnTo>
                  <a:pt x="254" y="85"/>
                </a:lnTo>
                <a:lnTo>
                  <a:pt x="261" y="78"/>
                </a:lnTo>
                <a:lnTo>
                  <a:pt x="275" y="78"/>
                </a:lnTo>
                <a:lnTo>
                  <a:pt x="269" y="106"/>
                </a:lnTo>
                <a:lnTo>
                  <a:pt x="229" y="153"/>
                </a:lnTo>
                <a:lnTo>
                  <a:pt x="180" y="195"/>
                </a:lnTo>
                <a:lnTo>
                  <a:pt x="141" y="207"/>
                </a:lnTo>
                <a:lnTo>
                  <a:pt x="32" y="210"/>
                </a:lnTo>
                <a:lnTo>
                  <a:pt x="22" y="186"/>
                </a:lnTo>
                <a:lnTo>
                  <a:pt x="30" y="166"/>
                </a:lnTo>
                <a:lnTo>
                  <a:pt x="0" y="110"/>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41" name="Freeform 233"/>
          <p:cNvSpPr>
            <a:spLocks/>
          </p:cNvSpPr>
          <p:nvPr/>
        </p:nvSpPr>
        <p:spPr bwMode="auto">
          <a:xfrm>
            <a:off x="4867275" y="5124450"/>
            <a:ext cx="50800" cy="57150"/>
          </a:xfrm>
          <a:custGeom>
            <a:avLst/>
            <a:gdLst>
              <a:gd name="T0" fmla="*/ 0 w 37"/>
              <a:gd name="T1" fmla="*/ 2147483647 h 39"/>
              <a:gd name="T2" fmla="*/ 2147483647 w 37"/>
              <a:gd name="T3" fmla="*/ 2147483647 h 39"/>
              <a:gd name="T4" fmla="*/ 2147483647 w 37"/>
              <a:gd name="T5" fmla="*/ 2147483647 h 39"/>
              <a:gd name="T6" fmla="*/ 2147483647 w 37"/>
              <a:gd name="T7" fmla="*/ 0 h 39"/>
              <a:gd name="T8" fmla="*/ 0 w 37"/>
              <a:gd name="T9" fmla="*/ 2147483647 h 39"/>
              <a:gd name="T10" fmla="*/ 0 60000 65536"/>
              <a:gd name="T11" fmla="*/ 0 60000 65536"/>
              <a:gd name="T12" fmla="*/ 0 60000 65536"/>
              <a:gd name="T13" fmla="*/ 0 60000 65536"/>
              <a:gd name="T14" fmla="*/ 0 60000 65536"/>
              <a:gd name="T15" fmla="*/ 0 w 37"/>
              <a:gd name="T16" fmla="*/ 0 h 39"/>
              <a:gd name="T17" fmla="*/ 37 w 37"/>
              <a:gd name="T18" fmla="*/ 39 h 39"/>
            </a:gdLst>
            <a:ahLst/>
            <a:cxnLst>
              <a:cxn ang="T10">
                <a:pos x="T0" y="T1"/>
              </a:cxn>
              <a:cxn ang="T11">
                <a:pos x="T2" y="T3"/>
              </a:cxn>
              <a:cxn ang="T12">
                <a:pos x="T4" y="T5"/>
              </a:cxn>
              <a:cxn ang="T13">
                <a:pos x="T6" y="T7"/>
              </a:cxn>
              <a:cxn ang="T14">
                <a:pos x="T8" y="T9"/>
              </a:cxn>
            </a:cxnLst>
            <a:rect l="T15" t="T16" r="T17" b="T18"/>
            <a:pathLst>
              <a:path w="37" h="39">
                <a:moveTo>
                  <a:pt x="0" y="18"/>
                </a:moveTo>
                <a:lnTo>
                  <a:pt x="12" y="38"/>
                </a:lnTo>
                <a:lnTo>
                  <a:pt x="36" y="18"/>
                </a:lnTo>
                <a:lnTo>
                  <a:pt x="25" y="0"/>
                </a:lnTo>
                <a:lnTo>
                  <a:pt x="0" y="18"/>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42" name="Freeform 234"/>
          <p:cNvSpPr>
            <a:spLocks/>
          </p:cNvSpPr>
          <p:nvPr/>
        </p:nvSpPr>
        <p:spPr bwMode="auto">
          <a:xfrm>
            <a:off x="5227638" y="4002088"/>
            <a:ext cx="238125" cy="149225"/>
          </a:xfrm>
          <a:custGeom>
            <a:avLst/>
            <a:gdLst>
              <a:gd name="T0" fmla="*/ 2147483647 w 174"/>
              <a:gd name="T1" fmla="*/ 2147483647 h 102"/>
              <a:gd name="T2" fmla="*/ 2147483647 w 174"/>
              <a:gd name="T3" fmla="*/ 2147483647 h 102"/>
              <a:gd name="T4" fmla="*/ 2147483647 w 174"/>
              <a:gd name="T5" fmla="*/ 2147483647 h 102"/>
              <a:gd name="T6" fmla="*/ 0 w 174"/>
              <a:gd name="T7" fmla="*/ 2147483647 h 102"/>
              <a:gd name="T8" fmla="*/ 2147483647 w 174"/>
              <a:gd name="T9" fmla="*/ 2147483647 h 102"/>
              <a:gd name="T10" fmla="*/ 2147483647 w 174"/>
              <a:gd name="T11" fmla="*/ 2147483647 h 102"/>
              <a:gd name="T12" fmla="*/ 2147483647 w 174"/>
              <a:gd name="T13" fmla="*/ 2147483647 h 102"/>
              <a:gd name="T14" fmla="*/ 2147483647 w 174"/>
              <a:gd name="T15" fmla="*/ 2147483647 h 102"/>
              <a:gd name="T16" fmla="*/ 2147483647 w 174"/>
              <a:gd name="T17" fmla="*/ 0 h 102"/>
              <a:gd name="T18" fmla="*/ 2147483647 w 174"/>
              <a:gd name="T19" fmla="*/ 2147483647 h 102"/>
              <a:gd name="T20" fmla="*/ 2147483647 w 174"/>
              <a:gd name="T21" fmla="*/ 2147483647 h 102"/>
              <a:gd name="T22" fmla="*/ 2147483647 w 174"/>
              <a:gd name="T23" fmla="*/ 2147483647 h 102"/>
              <a:gd name="T24" fmla="*/ 2147483647 w 174"/>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4"/>
              <a:gd name="T40" fmla="*/ 0 h 102"/>
              <a:gd name="T41" fmla="*/ 174 w 174"/>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4" h="102">
                <a:moveTo>
                  <a:pt x="59" y="55"/>
                </a:moveTo>
                <a:lnTo>
                  <a:pt x="59" y="37"/>
                </a:lnTo>
                <a:lnTo>
                  <a:pt x="30" y="27"/>
                </a:lnTo>
                <a:lnTo>
                  <a:pt x="0" y="42"/>
                </a:lnTo>
                <a:lnTo>
                  <a:pt x="12" y="101"/>
                </a:lnTo>
                <a:lnTo>
                  <a:pt x="99" y="82"/>
                </a:lnTo>
                <a:lnTo>
                  <a:pt x="159" y="55"/>
                </a:lnTo>
                <a:lnTo>
                  <a:pt x="173" y="38"/>
                </a:lnTo>
                <a:lnTo>
                  <a:pt x="156" y="0"/>
                </a:lnTo>
                <a:lnTo>
                  <a:pt x="101" y="12"/>
                </a:lnTo>
                <a:lnTo>
                  <a:pt x="59" y="55"/>
                </a:lnTo>
                <a:lnTo>
                  <a:pt x="59" y="37"/>
                </a:lnTo>
                <a:lnTo>
                  <a:pt x="59" y="55"/>
                </a:lnTo>
              </a:path>
            </a:pathLst>
          </a:custGeom>
          <a:solidFill>
            <a:schemeClr val="bg1">
              <a:lumMod val="65000"/>
            </a:schemeClr>
          </a:solidFill>
          <a:ln w="12700" cap="rnd">
            <a:solidFill>
              <a:schemeClr val="bg2"/>
            </a:solidFill>
            <a:round/>
            <a:headEnd/>
            <a:tailEnd/>
          </a:ln>
        </p:spPr>
        <p:txBody>
          <a:bodyPr/>
          <a:lstStyle/>
          <a:p>
            <a:pPr>
              <a:defRPr/>
            </a:pPr>
            <a:endParaRPr lang="fr-FR"/>
          </a:p>
        </p:txBody>
      </p:sp>
      <p:pic>
        <p:nvPicPr>
          <p:cNvPr id="243" name="Picture 2" descr="Drapeau des États-Unis"/>
          <p:cNvPicPr>
            <a:picLocks noChangeAspect="1" noChangeArrowheads="1"/>
          </p:cNvPicPr>
          <p:nvPr/>
        </p:nvPicPr>
        <p:blipFill>
          <a:blip r:embed="rId5" cstate="print"/>
          <a:srcRect/>
          <a:stretch>
            <a:fillRect/>
          </a:stretch>
        </p:blipFill>
        <p:spPr bwMode="auto">
          <a:xfrm>
            <a:off x="1447800" y="3267075"/>
            <a:ext cx="438150" cy="230188"/>
          </a:xfrm>
          <a:prstGeom prst="rect">
            <a:avLst/>
          </a:prstGeom>
          <a:noFill/>
          <a:ln w="9525">
            <a:noFill/>
            <a:miter lim="800000"/>
            <a:headEnd/>
            <a:tailEnd/>
          </a:ln>
        </p:spPr>
      </p:pic>
      <p:sp>
        <p:nvSpPr>
          <p:cNvPr id="244" name="Rectangle 236"/>
          <p:cNvSpPr>
            <a:spLocks noChangeArrowheads="1"/>
          </p:cNvSpPr>
          <p:nvPr/>
        </p:nvSpPr>
        <p:spPr bwMode="auto">
          <a:xfrm>
            <a:off x="1622425" y="3424238"/>
            <a:ext cx="635000" cy="307975"/>
          </a:xfrm>
          <a:prstGeom prst="rect">
            <a:avLst/>
          </a:prstGeom>
          <a:noFill/>
          <a:ln w="9525">
            <a:noFill/>
            <a:miter lim="800000"/>
            <a:headEnd/>
            <a:tailEnd/>
          </a:ln>
        </p:spPr>
        <p:txBody>
          <a:bodyPr wrap="none">
            <a:spAutoFit/>
          </a:bodyPr>
          <a:lstStyle/>
          <a:p>
            <a:r>
              <a:rPr lang="fr-FR" sz="1400" b="1">
                <a:solidFill>
                  <a:srgbClr val="000099"/>
                </a:solidFill>
              </a:rPr>
              <a:t>AGOA</a:t>
            </a:r>
            <a:endParaRPr lang="fr-FR" sz="1400">
              <a:solidFill>
                <a:srgbClr val="000099"/>
              </a:solidFill>
            </a:endParaRPr>
          </a:p>
        </p:txBody>
      </p:sp>
      <p:sp>
        <p:nvSpPr>
          <p:cNvPr id="245" name="Rectangle 238"/>
          <p:cNvSpPr>
            <a:spLocks noChangeArrowheads="1"/>
          </p:cNvSpPr>
          <p:nvPr/>
        </p:nvSpPr>
        <p:spPr bwMode="auto">
          <a:xfrm>
            <a:off x="3679825" y="4144963"/>
            <a:ext cx="1655763" cy="276999"/>
          </a:xfrm>
          <a:prstGeom prst="rect">
            <a:avLst/>
          </a:prstGeom>
          <a:noFill/>
          <a:ln w="9525">
            <a:noFill/>
            <a:miter lim="800000"/>
            <a:headEnd/>
            <a:tailEnd/>
          </a:ln>
        </p:spPr>
        <p:txBody>
          <a:bodyPr wrap="square">
            <a:spAutoFit/>
          </a:bodyPr>
          <a:lstStyle/>
          <a:p>
            <a:pPr algn="ctr"/>
            <a:r>
              <a:rPr lang="fr-FR" sz="1200" b="1" dirty="0" smtClean="0">
                <a:solidFill>
                  <a:srgbClr val="000099"/>
                </a:solidFill>
              </a:rPr>
              <a:t>WAEMU - ECOWAS</a:t>
            </a:r>
            <a:endParaRPr lang="fr-FR" sz="1200" dirty="0">
              <a:solidFill>
                <a:srgbClr val="000099"/>
              </a:solidFill>
            </a:endParaRPr>
          </a:p>
        </p:txBody>
      </p:sp>
      <p:sp>
        <p:nvSpPr>
          <p:cNvPr id="246" name="Rectangle 240"/>
          <p:cNvSpPr>
            <a:spLocks noChangeArrowheads="1"/>
          </p:cNvSpPr>
          <p:nvPr/>
        </p:nvSpPr>
        <p:spPr bwMode="auto">
          <a:xfrm>
            <a:off x="7424738" y="3713163"/>
            <a:ext cx="847725" cy="276225"/>
          </a:xfrm>
          <a:prstGeom prst="rect">
            <a:avLst/>
          </a:prstGeom>
          <a:noFill/>
          <a:ln w="9525">
            <a:noFill/>
            <a:miter lim="800000"/>
            <a:headEnd/>
            <a:tailEnd/>
          </a:ln>
        </p:spPr>
        <p:txBody>
          <a:bodyPr wrap="none">
            <a:spAutoFit/>
          </a:bodyPr>
          <a:lstStyle/>
          <a:p>
            <a:r>
              <a:rPr lang="fr-FR" sz="1200" b="1">
                <a:solidFill>
                  <a:srgbClr val="000099"/>
                </a:solidFill>
              </a:rPr>
              <a:t>SGP Japon</a:t>
            </a:r>
            <a:endParaRPr lang="fr-FR" sz="1200">
              <a:solidFill>
                <a:srgbClr val="000099"/>
              </a:solidFill>
            </a:endParaRPr>
          </a:p>
        </p:txBody>
      </p:sp>
      <p:sp>
        <p:nvSpPr>
          <p:cNvPr id="247" name="AutoShape 6" descr="https://encrypted-tbn3.gstatic.com/images?q=tbn:ANd9GcTZjtyUL1-UfPPUIVutyLt9cK991f9r0za5JRn5PvB0Ln3TkGGpaQ"/>
          <p:cNvSpPr>
            <a:spLocks noChangeAspect="1" noChangeArrowheads="1"/>
          </p:cNvSpPr>
          <p:nvPr/>
        </p:nvSpPr>
        <p:spPr bwMode="auto">
          <a:xfrm>
            <a:off x="34925" y="74613"/>
            <a:ext cx="304800" cy="304800"/>
          </a:xfrm>
          <a:prstGeom prst="rect">
            <a:avLst/>
          </a:prstGeom>
          <a:noFill/>
          <a:ln w="9525">
            <a:noFill/>
            <a:miter lim="800000"/>
            <a:headEnd/>
            <a:tailEnd/>
          </a:ln>
        </p:spPr>
        <p:txBody>
          <a:bodyPr/>
          <a:lstStyle/>
          <a:p>
            <a:endParaRPr lang="fr-FR"/>
          </a:p>
        </p:txBody>
      </p:sp>
      <p:pic>
        <p:nvPicPr>
          <p:cNvPr id="248" name="Picture 8" descr="https://encrypted-tbn3.gstatic.com/images?q=tbn:ANd9GcRECEBOuiU16yYe0sh1NBqLzASbUYo5nIF4qhi12P_Y9A5hNjgjjg"/>
          <p:cNvPicPr>
            <a:picLocks noChangeAspect="1" noChangeArrowheads="1"/>
          </p:cNvPicPr>
          <p:nvPr/>
        </p:nvPicPr>
        <p:blipFill>
          <a:blip r:embed="rId6" cstate="print"/>
          <a:srcRect/>
          <a:stretch>
            <a:fillRect/>
          </a:stretch>
        </p:blipFill>
        <p:spPr bwMode="auto">
          <a:xfrm>
            <a:off x="6704013" y="3281363"/>
            <a:ext cx="581025" cy="288925"/>
          </a:xfrm>
          <a:prstGeom prst="rect">
            <a:avLst/>
          </a:prstGeom>
          <a:noFill/>
          <a:ln w="9525">
            <a:noFill/>
            <a:miter lim="800000"/>
            <a:headEnd/>
            <a:tailEnd/>
          </a:ln>
        </p:spPr>
      </p:pic>
      <p:sp>
        <p:nvSpPr>
          <p:cNvPr id="249" name="Rectangle 244"/>
          <p:cNvSpPr>
            <a:spLocks noChangeArrowheads="1"/>
          </p:cNvSpPr>
          <p:nvPr/>
        </p:nvSpPr>
        <p:spPr bwMode="auto">
          <a:xfrm>
            <a:off x="6632575" y="3568700"/>
            <a:ext cx="860425" cy="369888"/>
          </a:xfrm>
          <a:prstGeom prst="rect">
            <a:avLst/>
          </a:prstGeom>
          <a:noFill/>
          <a:ln w="9525">
            <a:noFill/>
            <a:miter lim="800000"/>
            <a:headEnd/>
            <a:tailEnd/>
          </a:ln>
        </p:spPr>
        <p:txBody>
          <a:bodyPr>
            <a:spAutoFit/>
          </a:bodyPr>
          <a:lstStyle/>
          <a:p>
            <a:r>
              <a:rPr lang="fr-FR" sz="1200" b="1" dirty="0">
                <a:solidFill>
                  <a:srgbClr val="000099"/>
                </a:solidFill>
              </a:rPr>
              <a:t>SGP</a:t>
            </a:r>
            <a:r>
              <a:rPr lang="fr-FR" b="1" dirty="0">
                <a:solidFill>
                  <a:srgbClr val="000099"/>
                </a:solidFill>
              </a:rPr>
              <a:t> </a:t>
            </a:r>
            <a:r>
              <a:rPr lang="fr-FR" sz="1200" b="1" dirty="0">
                <a:solidFill>
                  <a:srgbClr val="000099"/>
                </a:solidFill>
              </a:rPr>
              <a:t>Corée</a:t>
            </a:r>
            <a:endParaRPr lang="fr-FR" sz="1200" dirty="0">
              <a:solidFill>
                <a:srgbClr val="000099"/>
              </a:solidFill>
            </a:endParaRPr>
          </a:p>
        </p:txBody>
      </p:sp>
      <p:sp>
        <p:nvSpPr>
          <p:cNvPr id="250" name="Rectangle 245"/>
          <p:cNvSpPr>
            <a:spLocks noChangeArrowheads="1"/>
          </p:cNvSpPr>
          <p:nvPr/>
        </p:nvSpPr>
        <p:spPr bwMode="auto">
          <a:xfrm>
            <a:off x="3751263" y="2632075"/>
            <a:ext cx="1027112" cy="277813"/>
          </a:xfrm>
          <a:prstGeom prst="rect">
            <a:avLst/>
          </a:prstGeom>
          <a:noFill/>
          <a:ln w="9525">
            <a:noFill/>
            <a:miter lim="800000"/>
            <a:headEnd/>
            <a:tailEnd/>
          </a:ln>
        </p:spPr>
        <p:txBody>
          <a:bodyPr wrap="none">
            <a:spAutoFit/>
          </a:bodyPr>
          <a:lstStyle/>
          <a:p>
            <a:r>
              <a:rPr lang="fr-FR" sz="1200" b="1" dirty="0">
                <a:solidFill>
                  <a:srgbClr val="000099"/>
                </a:solidFill>
              </a:rPr>
              <a:t>Initiative TSA</a:t>
            </a:r>
            <a:endParaRPr lang="fr-FR" sz="1200" dirty="0">
              <a:solidFill>
                <a:srgbClr val="000099"/>
              </a:solidFill>
            </a:endParaRPr>
          </a:p>
        </p:txBody>
      </p:sp>
      <p:pic>
        <p:nvPicPr>
          <p:cNvPr id="251" name="Picture 12" descr="https://encrypted-tbn2.gstatic.com/images?q=tbn:ANd9GcQWBwyp8aWYIDhLmxUcCElVzgRhx6wPFFOknRxriuY9DxozVGji"/>
          <p:cNvPicPr>
            <a:picLocks noChangeAspect="1" noChangeArrowheads="1"/>
          </p:cNvPicPr>
          <p:nvPr/>
        </p:nvPicPr>
        <p:blipFill>
          <a:blip r:embed="rId7" cstate="print"/>
          <a:srcRect/>
          <a:stretch>
            <a:fillRect/>
          </a:stretch>
        </p:blipFill>
        <p:spPr bwMode="auto">
          <a:xfrm>
            <a:off x="6200775" y="3424238"/>
            <a:ext cx="433388" cy="288925"/>
          </a:xfrm>
          <a:prstGeom prst="rect">
            <a:avLst/>
          </a:prstGeom>
          <a:noFill/>
          <a:ln w="9525">
            <a:noFill/>
            <a:miter lim="800000"/>
            <a:headEnd/>
            <a:tailEnd/>
          </a:ln>
        </p:spPr>
      </p:pic>
      <p:sp>
        <p:nvSpPr>
          <p:cNvPr id="252" name="Rectangle 249"/>
          <p:cNvSpPr>
            <a:spLocks noChangeArrowheads="1"/>
          </p:cNvSpPr>
          <p:nvPr/>
        </p:nvSpPr>
        <p:spPr bwMode="auto">
          <a:xfrm>
            <a:off x="5984875" y="3651250"/>
            <a:ext cx="835025" cy="277813"/>
          </a:xfrm>
          <a:prstGeom prst="rect">
            <a:avLst/>
          </a:prstGeom>
          <a:noFill/>
          <a:ln w="9525">
            <a:noFill/>
            <a:miter lim="800000"/>
            <a:headEnd/>
            <a:tailEnd/>
          </a:ln>
        </p:spPr>
        <p:txBody>
          <a:bodyPr wrap="none">
            <a:spAutoFit/>
          </a:bodyPr>
          <a:lstStyle/>
          <a:p>
            <a:r>
              <a:rPr lang="fr-FR" sz="1200" b="1" dirty="0">
                <a:solidFill>
                  <a:srgbClr val="000099"/>
                </a:solidFill>
              </a:rPr>
              <a:t>SGP Chine</a:t>
            </a:r>
            <a:endParaRPr lang="fr-FR" sz="1200" dirty="0">
              <a:solidFill>
                <a:srgbClr val="000099"/>
              </a:solidFill>
            </a:endParaRPr>
          </a:p>
        </p:txBody>
      </p:sp>
      <p:pic>
        <p:nvPicPr>
          <p:cNvPr id="253" name="Picture 14" descr="https://encrypted-tbn3.gstatic.com/images?q=tbn:ANd9GcSKiU4AzDsCAiQI9QSrHwAb5NFhnWZyZTHfk4FMmEcE1Mk0kuY6vA"/>
          <p:cNvPicPr>
            <a:picLocks noChangeAspect="1" noChangeArrowheads="1"/>
          </p:cNvPicPr>
          <p:nvPr/>
        </p:nvPicPr>
        <p:blipFill>
          <a:blip r:embed="rId8" cstate="print"/>
          <a:srcRect/>
          <a:stretch>
            <a:fillRect/>
          </a:stretch>
        </p:blipFill>
        <p:spPr bwMode="auto">
          <a:xfrm>
            <a:off x="3967163" y="3640138"/>
            <a:ext cx="433387" cy="485775"/>
          </a:xfrm>
          <a:prstGeom prst="rect">
            <a:avLst/>
          </a:prstGeom>
          <a:noFill/>
          <a:ln w="9525">
            <a:noFill/>
            <a:miter lim="800000"/>
            <a:headEnd/>
            <a:tailEnd/>
          </a:ln>
        </p:spPr>
      </p:pic>
      <p:pic>
        <p:nvPicPr>
          <p:cNvPr id="254" name="Picture 16" descr="https://encrypted-tbn3.gstatic.com/images?q=tbn:ANd9GcQywSicHYZRgWa53_bllHwll8i0kfmj8isbB2p46cch0bF9Wq-TpQ"/>
          <p:cNvPicPr>
            <a:picLocks noChangeAspect="1" noChangeArrowheads="1"/>
          </p:cNvPicPr>
          <p:nvPr/>
        </p:nvPicPr>
        <p:blipFill>
          <a:blip r:embed="rId9" cstate="print"/>
          <a:srcRect/>
          <a:stretch>
            <a:fillRect/>
          </a:stretch>
        </p:blipFill>
        <p:spPr bwMode="auto">
          <a:xfrm>
            <a:off x="4471988" y="3614738"/>
            <a:ext cx="504825" cy="530225"/>
          </a:xfrm>
          <a:prstGeom prst="rect">
            <a:avLst/>
          </a:prstGeom>
          <a:noFill/>
          <a:ln w="9525">
            <a:noFill/>
            <a:miter lim="800000"/>
            <a:headEnd/>
            <a:tailEnd/>
          </a:ln>
        </p:spPr>
      </p:pic>
      <p:pic>
        <p:nvPicPr>
          <p:cNvPr id="255" name="Picture 2" descr="C:\Asepex\General\Plan Strategique\Revue PSD new Decret\Présentation du 10-10-2013\canada.jpg"/>
          <p:cNvPicPr>
            <a:picLocks noChangeAspect="1" noChangeArrowheads="1"/>
          </p:cNvPicPr>
          <p:nvPr/>
        </p:nvPicPr>
        <p:blipFill>
          <a:blip r:embed="rId10" cstate="print"/>
          <a:srcRect/>
          <a:stretch>
            <a:fillRect/>
          </a:stretch>
        </p:blipFill>
        <p:spPr bwMode="auto">
          <a:xfrm>
            <a:off x="1519238" y="2847975"/>
            <a:ext cx="433387" cy="288925"/>
          </a:xfrm>
          <a:prstGeom prst="rect">
            <a:avLst/>
          </a:prstGeom>
          <a:noFill/>
          <a:ln w="9525">
            <a:noFill/>
            <a:miter lim="800000"/>
            <a:headEnd/>
            <a:tailEnd/>
          </a:ln>
        </p:spPr>
      </p:pic>
      <p:sp>
        <p:nvSpPr>
          <p:cNvPr id="256" name="Rectangle 250"/>
          <p:cNvSpPr>
            <a:spLocks noChangeArrowheads="1"/>
          </p:cNvSpPr>
          <p:nvPr/>
        </p:nvSpPr>
        <p:spPr bwMode="auto">
          <a:xfrm>
            <a:off x="1735138" y="2992438"/>
            <a:ext cx="1071562" cy="307975"/>
          </a:xfrm>
          <a:prstGeom prst="rect">
            <a:avLst/>
          </a:prstGeom>
          <a:noFill/>
          <a:ln w="9525">
            <a:noFill/>
            <a:miter lim="800000"/>
            <a:headEnd/>
            <a:tailEnd/>
          </a:ln>
        </p:spPr>
        <p:txBody>
          <a:bodyPr wrap="none">
            <a:spAutoFit/>
          </a:bodyPr>
          <a:lstStyle/>
          <a:p>
            <a:r>
              <a:rPr lang="fr-FR" sz="1400" b="1">
                <a:solidFill>
                  <a:srgbClr val="000099"/>
                </a:solidFill>
              </a:rPr>
              <a:t>SGP Canada</a:t>
            </a:r>
            <a:endParaRPr lang="fr-FR" sz="1400">
              <a:solidFill>
                <a:srgbClr val="000099"/>
              </a:solidFill>
            </a:endParaRPr>
          </a:p>
        </p:txBody>
      </p:sp>
      <p:pic>
        <p:nvPicPr>
          <p:cNvPr id="257" name="Picture 2" descr="C:\Asepex\General\Plan Strategique\Revue PSD new Decret\AGOA\Drapeau Inde.jpg"/>
          <p:cNvPicPr>
            <a:picLocks noChangeAspect="1" noChangeArrowheads="1"/>
          </p:cNvPicPr>
          <p:nvPr/>
        </p:nvPicPr>
        <p:blipFill>
          <a:blip r:embed="rId11" cstate="print"/>
          <a:srcRect/>
          <a:stretch>
            <a:fillRect/>
          </a:stretch>
        </p:blipFill>
        <p:spPr bwMode="auto">
          <a:xfrm>
            <a:off x="5840413" y="3856038"/>
            <a:ext cx="482600" cy="328612"/>
          </a:xfrm>
          <a:prstGeom prst="rect">
            <a:avLst/>
          </a:prstGeom>
          <a:noFill/>
          <a:ln w="9525">
            <a:noFill/>
            <a:miter lim="800000"/>
            <a:headEnd/>
            <a:tailEnd/>
          </a:ln>
        </p:spPr>
      </p:pic>
      <p:sp>
        <p:nvSpPr>
          <p:cNvPr id="258" name="Rectangle 251"/>
          <p:cNvSpPr>
            <a:spLocks noChangeArrowheads="1"/>
          </p:cNvSpPr>
          <p:nvPr/>
        </p:nvSpPr>
        <p:spPr bwMode="auto">
          <a:xfrm>
            <a:off x="5695950" y="4156075"/>
            <a:ext cx="757238" cy="276225"/>
          </a:xfrm>
          <a:prstGeom prst="rect">
            <a:avLst/>
          </a:prstGeom>
          <a:noFill/>
          <a:ln w="9525">
            <a:noFill/>
            <a:miter lim="800000"/>
            <a:headEnd/>
            <a:tailEnd/>
          </a:ln>
        </p:spPr>
        <p:txBody>
          <a:bodyPr wrap="none">
            <a:spAutoFit/>
          </a:bodyPr>
          <a:lstStyle/>
          <a:p>
            <a:r>
              <a:rPr lang="fr-FR" sz="1200" b="1" dirty="0">
                <a:solidFill>
                  <a:srgbClr val="000099"/>
                </a:solidFill>
              </a:rPr>
              <a:t>SGP Inde</a:t>
            </a:r>
            <a:endParaRPr lang="fr-FR" sz="1200" dirty="0">
              <a:solidFill>
                <a:srgbClr val="000099"/>
              </a:solidFill>
            </a:endParaRPr>
          </a:p>
        </p:txBody>
      </p:sp>
      <p:sp>
        <p:nvSpPr>
          <p:cNvPr id="259" name="Freeform 44"/>
          <p:cNvSpPr>
            <a:spLocks/>
          </p:cNvSpPr>
          <p:nvPr/>
        </p:nvSpPr>
        <p:spPr bwMode="auto">
          <a:xfrm>
            <a:off x="2154238" y="2330450"/>
            <a:ext cx="665162" cy="474663"/>
          </a:xfrm>
          <a:custGeom>
            <a:avLst/>
            <a:gdLst>
              <a:gd name="T0" fmla="*/ 2147483647 w 483"/>
              <a:gd name="T1" fmla="*/ 2147483647 h 324"/>
              <a:gd name="T2" fmla="*/ 2147483647 w 483"/>
              <a:gd name="T3" fmla="*/ 0 h 324"/>
              <a:gd name="T4" fmla="*/ 2147483647 w 483"/>
              <a:gd name="T5" fmla="*/ 2147483647 h 324"/>
              <a:gd name="T6" fmla="*/ 2147483647 w 483"/>
              <a:gd name="T7" fmla="*/ 2147483647 h 324"/>
              <a:gd name="T8" fmla="*/ 2147483647 w 483"/>
              <a:gd name="T9" fmla="*/ 2147483647 h 324"/>
              <a:gd name="T10" fmla="*/ 2147483647 w 483"/>
              <a:gd name="T11" fmla="*/ 2147483647 h 324"/>
              <a:gd name="T12" fmla="*/ 2147483647 w 483"/>
              <a:gd name="T13" fmla="*/ 2147483647 h 324"/>
              <a:gd name="T14" fmla="*/ 2147483647 w 483"/>
              <a:gd name="T15" fmla="*/ 2147483647 h 324"/>
              <a:gd name="T16" fmla="*/ 2147483647 w 483"/>
              <a:gd name="T17" fmla="*/ 2147483647 h 324"/>
              <a:gd name="T18" fmla="*/ 2147483647 w 483"/>
              <a:gd name="T19" fmla="*/ 2147483647 h 324"/>
              <a:gd name="T20" fmla="*/ 2147483647 w 483"/>
              <a:gd name="T21" fmla="*/ 2147483647 h 324"/>
              <a:gd name="T22" fmla="*/ 2147483647 w 483"/>
              <a:gd name="T23" fmla="*/ 2147483647 h 324"/>
              <a:gd name="T24" fmla="*/ 2147483647 w 483"/>
              <a:gd name="T25" fmla="*/ 2147483647 h 324"/>
              <a:gd name="T26" fmla="*/ 2147483647 w 483"/>
              <a:gd name="T27" fmla="*/ 2147483647 h 324"/>
              <a:gd name="T28" fmla="*/ 2147483647 w 483"/>
              <a:gd name="T29" fmla="*/ 2147483647 h 324"/>
              <a:gd name="T30" fmla="*/ 2147483647 w 483"/>
              <a:gd name="T31" fmla="*/ 2147483647 h 324"/>
              <a:gd name="T32" fmla="*/ 2147483647 w 483"/>
              <a:gd name="T33" fmla="*/ 2147483647 h 324"/>
              <a:gd name="T34" fmla="*/ 2147483647 w 483"/>
              <a:gd name="T35" fmla="*/ 2147483647 h 324"/>
              <a:gd name="T36" fmla="*/ 2147483647 w 483"/>
              <a:gd name="T37" fmla="*/ 2147483647 h 324"/>
              <a:gd name="T38" fmla="*/ 2147483647 w 483"/>
              <a:gd name="T39" fmla="*/ 2147483647 h 324"/>
              <a:gd name="T40" fmla="*/ 2147483647 w 483"/>
              <a:gd name="T41" fmla="*/ 2147483647 h 324"/>
              <a:gd name="T42" fmla="*/ 2147483647 w 483"/>
              <a:gd name="T43" fmla="*/ 2147483647 h 324"/>
              <a:gd name="T44" fmla="*/ 2147483647 w 483"/>
              <a:gd name="T45" fmla="*/ 2147483647 h 324"/>
              <a:gd name="T46" fmla="*/ 2147483647 w 483"/>
              <a:gd name="T47" fmla="*/ 2147483647 h 324"/>
              <a:gd name="T48" fmla="*/ 2147483647 w 483"/>
              <a:gd name="T49" fmla="*/ 2147483647 h 324"/>
              <a:gd name="T50" fmla="*/ 2147483647 w 483"/>
              <a:gd name="T51" fmla="*/ 2147483647 h 324"/>
              <a:gd name="T52" fmla="*/ 2147483647 w 483"/>
              <a:gd name="T53" fmla="*/ 2147483647 h 324"/>
              <a:gd name="T54" fmla="*/ 2147483647 w 483"/>
              <a:gd name="T55" fmla="*/ 2147483647 h 324"/>
              <a:gd name="T56" fmla="*/ 2147483647 w 483"/>
              <a:gd name="T57" fmla="*/ 2147483647 h 324"/>
              <a:gd name="T58" fmla="*/ 2147483647 w 483"/>
              <a:gd name="T59" fmla="*/ 2147483647 h 324"/>
              <a:gd name="T60" fmla="*/ 2147483647 w 483"/>
              <a:gd name="T61" fmla="*/ 2147483647 h 324"/>
              <a:gd name="T62" fmla="*/ 2147483647 w 483"/>
              <a:gd name="T63" fmla="*/ 2147483647 h 324"/>
              <a:gd name="T64" fmla="*/ 2147483647 w 483"/>
              <a:gd name="T65" fmla="*/ 2147483647 h 324"/>
              <a:gd name="T66" fmla="*/ 2147483647 w 483"/>
              <a:gd name="T67" fmla="*/ 2147483647 h 324"/>
              <a:gd name="T68" fmla="*/ 2147483647 w 483"/>
              <a:gd name="T69" fmla="*/ 2147483647 h 324"/>
              <a:gd name="T70" fmla="*/ 2147483647 w 483"/>
              <a:gd name="T71" fmla="*/ 2147483647 h 324"/>
              <a:gd name="T72" fmla="*/ 2147483647 w 483"/>
              <a:gd name="T73" fmla="*/ 2147483647 h 324"/>
              <a:gd name="T74" fmla="*/ 2147483647 w 483"/>
              <a:gd name="T75" fmla="*/ 2147483647 h 324"/>
              <a:gd name="T76" fmla="*/ 2147483647 w 483"/>
              <a:gd name="T77" fmla="*/ 2147483647 h 324"/>
              <a:gd name="T78" fmla="*/ 2147483647 w 483"/>
              <a:gd name="T79" fmla="*/ 2147483647 h 324"/>
              <a:gd name="T80" fmla="*/ 2147483647 w 483"/>
              <a:gd name="T81" fmla="*/ 2147483647 h 324"/>
              <a:gd name="T82" fmla="*/ 2147483647 w 483"/>
              <a:gd name="T83" fmla="*/ 2147483647 h 324"/>
              <a:gd name="T84" fmla="*/ 2147483647 w 483"/>
              <a:gd name="T85" fmla="*/ 2147483647 h 324"/>
              <a:gd name="T86" fmla="*/ 2147483647 w 483"/>
              <a:gd name="T87" fmla="*/ 2147483647 h 324"/>
              <a:gd name="T88" fmla="*/ 2147483647 w 483"/>
              <a:gd name="T89" fmla="*/ 2147483647 h 324"/>
              <a:gd name="T90" fmla="*/ 2147483647 w 483"/>
              <a:gd name="T91" fmla="*/ 2147483647 h 324"/>
              <a:gd name="T92" fmla="*/ 2147483647 w 483"/>
              <a:gd name="T93" fmla="*/ 2147483647 h 324"/>
              <a:gd name="T94" fmla="*/ 2147483647 w 483"/>
              <a:gd name="T95" fmla="*/ 2147483647 h 324"/>
              <a:gd name="T96" fmla="*/ 2147483647 w 483"/>
              <a:gd name="T97" fmla="*/ 2147483647 h 324"/>
              <a:gd name="T98" fmla="*/ 2147483647 w 483"/>
              <a:gd name="T99" fmla="*/ 2147483647 h 324"/>
              <a:gd name="T100" fmla="*/ 2147483647 w 483"/>
              <a:gd name="T101" fmla="*/ 2147483647 h 324"/>
              <a:gd name="T102" fmla="*/ 2147483647 w 483"/>
              <a:gd name="T103" fmla="*/ 2147483647 h 324"/>
              <a:gd name="T104" fmla="*/ 0 w 483"/>
              <a:gd name="T105" fmla="*/ 2147483647 h 3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3"/>
              <a:gd name="T160" fmla="*/ 0 h 324"/>
              <a:gd name="T161" fmla="*/ 483 w 483"/>
              <a:gd name="T162" fmla="*/ 324 h 3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3" h="324">
                <a:moveTo>
                  <a:pt x="0" y="73"/>
                </a:moveTo>
                <a:lnTo>
                  <a:pt x="4" y="37"/>
                </a:lnTo>
                <a:lnTo>
                  <a:pt x="23" y="13"/>
                </a:lnTo>
                <a:lnTo>
                  <a:pt x="57" y="0"/>
                </a:lnTo>
                <a:lnTo>
                  <a:pt x="85" y="6"/>
                </a:lnTo>
                <a:lnTo>
                  <a:pt x="56" y="37"/>
                </a:lnTo>
                <a:lnTo>
                  <a:pt x="63" y="58"/>
                </a:lnTo>
                <a:lnTo>
                  <a:pt x="85" y="77"/>
                </a:lnTo>
                <a:lnTo>
                  <a:pt x="57" y="84"/>
                </a:lnTo>
                <a:lnTo>
                  <a:pt x="88" y="82"/>
                </a:lnTo>
                <a:lnTo>
                  <a:pt x="89" y="66"/>
                </a:lnTo>
                <a:lnTo>
                  <a:pt x="68" y="56"/>
                </a:lnTo>
                <a:lnTo>
                  <a:pt x="88" y="45"/>
                </a:lnTo>
                <a:lnTo>
                  <a:pt x="72" y="29"/>
                </a:lnTo>
                <a:lnTo>
                  <a:pt x="100" y="34"/>
                </a:lnTo>
                <a:lnTo>
                  <a:pt x="77" y="23"/>
                </a:lnTo>
                <a:lnTo>
                  <a:pt x="104" y="27"/>
                </a:lnTo>
                <a:lnTo>
                  <a:pt x="84" y="15"/>
                </a:lnTo>
                <a:lnTo>
                  <a:pt x="108" y="16"/>
                </a:lnTo>
                <a:lnTo>
                  <a:pt x="122" y="6"/>
                </a:lnTo>
                <a:lnTo>
                  <a:pt x="143" y="3"/>
                </a:lnTo>
                <a:lnTo>
                  <a:pt x="143" y="17"/>
                </a:lnTo>
                <a:lnTo>
                  <a:pt x="158" y="23"/>
                </a:lnTo>
                <a:lnTo>
                  <a:pt x="152" y="58"/>
                </a:lnTo>
                <a:lnTo>
                  <a:pt x="172" y="41"/>
                </a:lnTo>
                <a:lnTo>
                  <a:pt x="184" y="49"/>
                </a:lnTo>
                <a:lnTo>
                  <a:pt x="209" y="34"/>
                </a:lnTo>
                <a:lnTo>
                  <a:pt x="247" y="41"/>
                </a:lnTo>
                <a:lnTo>
                  <a:pt x="266" y="58"/>
                </a:lnTo>
                <a:lnTo>
                  <a:pt x="253" y="66"/>
                </a:lnTo>
                <a:lnTo>
                  <a:pt x="278" y="62"/>
                </a:lnTo>
                <a:lnTo>
                  <a:pt x="271" y="71"/>
                </a:lnTo>
                <a:lnTo>
                  <a:pt x="283" y="77"/>
                </a:lnTo>
                <a:lnTo>
                  <a:pt x="295" y="64"/>
                </a:lnTo>
                <a:lnTo>
                  <a:pt x="314" y="70"/>
                </a:lnTo>
                <a:lnTo>
                  <a:pt x="319" y="80"/>
                </a:lnTo>
                <a:lnTo>
                  <a:pt x="302" y="82"/>
                </a:lnTo>
                <a:lnTo>
                  <a:pt x="326" y="82"/>
                </a:lnTo>
                <a:lnTo>
                  <a:pt x="324" y="95"/>
                </a:lnTo>
                <a:lnTo>
                  <a:pt x="339" y="88"/>
                </a:lnTo>
                <a:lnTo>
                  <a:pt x="330" y="98"/>
                </a:lnTo>
                <a:lnTo>
                  <a:pt x="363" y="95"/>
                </a:lnTo>
                <a:lnTo>
                  <a:pt x="344" y="107"/>
                </a:lnTo>
                <a:lnTo>
                  <a:pt x="360" y="107"/>
                </a:lnTo>
                <a:lnTo>
                  <a:pt x="355" y="114"/>
                </a:lnTo>
                <a:lnTo>
                  <a:pt x="368" y="105"/>
                </a:lnTo>
                <a:lnTo>
                  <a:pt x="384" y="114"/>
                </a:lnTo>
                <a:lnTo>
                  <a:pt x="357" y="125"/>
                </a:lnTo>
                <a:lnTo>
                  <a:pt x="397" y="132"/>
                </a:lnTo>
                <a:lnTo>
                  <a:pt x="362" y="135"/>
                </a:lnTo>
                <a:lnTo>
                  <a:pt x="376" y="142"/>
                </a:lnTo>
                <a:lnTo>
                  <a:pt x="366" y="151"/>
                </a:lnTo>
                <a:lnTo>
                  <a:pt x="405" y="171"/>
                </a:lnTo>
                <a:lnTo>
                  <a:pt x="423" y="166"/>
                </a:lnTo>
                <a:lnTo>
                  <a:pt x="436" y="188"/>
                </a:lnTo>
                <a:lnTo>
                  <a:pt x="455" y="187"/>
                </a:lnTo>
                <a:lnTo>
                  <a:pt x="451" y="198"/>
                </a:lnTo>
                <a:lnTo>
                  <a:pt x="482" y="202"/>
                </a:lnTo>
                <a:lnTo>
                  <a:pt x="478" y="214"/>
                </a:lnTo>
                <a:lnTo>
                  <a:pt x="463" y="213"/>
                </a:lnTo>
                <a:lnTo>
                  <a:pt x="471" y="221"/>
                </a:lnTo>
                <a:lnTo>
                  <a:pt x="461" y="231"/>
                </a:lnTo>
                <a:lnTo>
                  <a:pt x="449" y="227"/>
                </a:lnTo>
                <a:lnTo>
                  <a:pt x="445" y="249"/>
                </a:lnTo>
                <a:lnTo>
                  <a:pt x="391" y="207"/>
                </a:lnTo>
                <a:lnTo>
                  <a:pt x="368" y="210"/>
                </a:lnTo>
                <a:lnTo>
                  <a:pt x="386" y="222"/>
                </a:lnTo>
                <a:lnTo>
                  <a:pt x="374" y="231"/>
                </a:lnTo>
                <a:lnTo>
                  <a:pt x="384" y="231"/>
                </a:lnTo>
                <a:lnTo>
                  <a:pt x="394" y="252"/>
                </a:lnTo>
                <a:lnTo>
                  <a:pt x="421" y="256"/>
                </a:lnTo>
                <a:lnTo>
                  <a:pt x="418" y="267"/>
                </a:lnTo>
                <a:lnTo>
                  <a:pt x="431" y="279"/>
                </a:lnTo>
                <a:lnTo>
                  <a:pt x="424" y="308"/>
                </a:lnTo>
                <a:lnTo>
                  <a:pt x="357" y="278"/>
                </a:lnTo>
                <a:lnTo>
                  <a:pt x="405" y="323"/>
                </a:lnTo>
                <a:lnTo>
                  <a:pt x="316" y="296"/>
                </a:lnTo>
                <a:lnTo>
                  <a:pt x="304" y="282"/>
                </a:lnTo>
                <a:lnTo>
                  <a:pt x="316" y="281"/>
                </a:lnTo>
                <a:lnTo>
                  <a:pt x="289" y="273"/>
                </a:lnTo>
                <a:lnTo>
                  <a:pt x="278" y="256"/>
                </a:lnTo>
                <a:lnTo>
                  <a:pt x="260" y="249"/>
                </a:lnTo>
                <a:lnTo>
                  <a:pt x="260" y="261"/>
                </a:lnTo>
                <a:lnTo>
                  <a:pt x="243" y="256"/>
                </a:lnTo>
                <a:lnTo>
                  <a:pt x="225" y="267"/>
                </a:lnTo>
                <a:lnTo>
                  <a:pt x="200" y="254"/>
                </a:lnTo>
                <a:lnTo>
                  <a:pt x="214" y="235"/>
                </a:lnTo>
                <a:lnTo>
                  <a:pt x="278" y="235"/>
                </a:lnTo>
                <a:lnTo>
                  <a:pt x="262" y="216"/>
                </a:lnTo>
                <a:lnTo>
                  <a:pt x="299" y="187"/>
                </a:lnTo>
                <a:lnTo>
                  <a:pt x="272" y="149"/>
                </a:lnTo>
                <a:lnTo>
                  <a:pt x="255" y="145"/>
                </a:lnTo>
                <a:lnTo>
                  <a:pt x="264" y="141"/>
                </a:lnTo>
                <a:lnTo>
                  <a:pt x="226" y="150"/>
                </a:lnTo>
                <a:lnTo>
                  <a:pt x="225" y="139"/>
                </a:lnTo>
                <a:lnTo>
                  <a:pt x="240" y="132"/>
                </a:lnTo>
                <a:lnTo>
                  <a:pt x="210" y="119"/>
                </a:lnTo>
                <a:lnTo>
                  <a:pt x="209" y="107"/>
                </a:lnTo>
                <a:lnTo>
                  <a:pt x="183" y="100"/>
                </a:lnTo>
                <a:lnTo>
                  <a:pt x="188" y="116"/>
                </a:lnTo>
                <a:lnTo>
                  <a:pt x="141" y="109"/>
                </a:lnTo>
                <a:lnTo>
                  <a:pt x="153" y="120"/>
                </a:lnTo>
                <a:lnTo>
                  <a:pt x="32" y="105"/>
                </a:lnTo>
                <a:lnTo>
                  <a:pt x="9" y="82"/>
                </a:lnTo>
                <a:lnTo>
                  <a:pt x="48" y="85"/>
                </a:lnTo>
                <a:lnTo>
                  <a:pt x="0" y="73"/>
                </a:lnTo>
              </a:path>
            </a:pathLst>
          </a:custGeom>
          <a:solidFill>
            <a:schemeClr val="bg1">
              <a:lumMod val="65000"/>
            </a:schemeClr>
          </a:solidFill>
          <a:ln w="12700" cap="rnd">
            <a:solidFill>
              <a:schemeClr val="bg2"/>
            </a:solidFill>
            <a:round/>
            <a:headEnd/>
            <a:tailEnd/>
          </a:ln>
        </p:spPr>
        <p:txBody>
          <a:bodyPr/>
          <a:lstStyle/>
          <a:p>
            <a:pPr>
              <a:defRPr/>
            </a:pPr>
            <a:endParaRPr lang="fr-FR"/>
          </a:p>
        </p:txBody>
      </p:sp>
      <p:sp>
        <p:nvSpPr>
          <p:cNvPr id="260" name="Flèche vers le bas 259"/>
          <p:cNvSpPr/>
          <p:nvPr/>
        </p:nvSpPr>
        <p:spPr>
          <a:xfrm>
            <a:off x="4214810" y="2928934"/>
            <a:ext cx="71438" cy="285752"/>
          </a:xfrm>
          <a:prstGeom prst="down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1" name="Rectangle 245"/>
          <p:cNvSpPr>
            <a:spLocks noChangeArrowheads="1"/>
          </p:cNvSpPr>
          <p:nvPr/>
        </p:nvSpPr>
        <p:spPr bwMode="auto">
          <a:xfrm>
            <a:off x="4000496" y="3214686"/>
            <a:ext cx="1027112" cy="287335"/>
          </a:xfrm>
          <a:prstGeom prst="rect">
            <a:avLst/>
          </a:prstGeom>
          <a:noFill/>
          <a:ln w="9525">
            <a:noFill/>
            <a:miter lim="800000"/>
            <a:headEnd/>
            <a:tailEnd/>
          </a:ln>
        </p:spPr>
        <p:txBody>
          <a:bodyPr wrap="square">
            <a:spAutoFit/>
          </a:bodyPr>
          <a:lstStyle/>
          <a:p>
            <a:r>
              <a:rPr lang="fr-FR" sz="1200" b="1" dirty="0" smtClean="0">
                <a:solidFill>
                  <a:srgbClr val="000099"/>
                </a:solidFill>
              </a:rPr>
              <a:t>APE</a:t>
            </a:r>
            <a:endParaRPr lang="fr-FR" sz="1200" dirty="0">
              <a:solidFill>
                <a:srgbClr val="000099"/>
              </a:solidFill>
            </a:endParaRPr>
          </a:p>
        </p:txBody>
      </p:sp>
      <p:sp>
        <p:nvSpPr>
          <p:cNvPr id="264" name="Rectangle 263"/>
          <p:cNvSpPr/>
          <p:nvPr/>
        </p:nvSpPr>
        <p:spPr>
          <a:xfrm>
            <a:off x="722922" y="0"/>
            <a:ext cx="8577386" cy="769441"/>
          </a:xfrm>
          <a:prstGeom prst="rect">
            <a:avLst/>
          </a:prstGeom>
        </p:spPr>
        <p:txBody>
          <a:bodyPr wrap="square">
            <a:spAutoFit/>
          </a:bodyPr>
          <a:lstStyle/>
          <a:p>
            <a:r>
              <a:rPr lang="fr-FR" sz="4400" b="1" dirty="0" err="1" smtClean="0">
                <a:solidFill>
                  <a:srgbClr val="FF0000"/>
                </a:solidFill>
                <a:cs typeface="Arial" pitchFamily="34" charset="0"/>
              </a:rPr>
              <a:t>Privilegied</a:t>
            </a:r>
            <a:r>
              <a:rPr lang="fr-FR" sz="4400" b="1" dirty="0" smtClean="0">
                <a:solidFill>
                  <a:srgbClr val="FF0000"/>
                </a:solidFill>
                <a:cs typeface="Arial" pitchFamily="34" charset="0"/>
              </a:rPr>
              <a:t> </a:t>
            </a:r>
            <a:r>
              <a:rPr lang="fr-FR" sz="4400" b="1" dirty="0" err="1" smtClean="0">
                <a:solidFill>
                  <a:srgbClr val="FF0000"/>
                </a:solidFill>
                <a:cs typeface="Arial" pitchFamily="34" charset="0"/>
              </a:rPr>
              <a:t>access</a:t>
            </a:r>
            <a:r>
              <a:rPr lang="fr-FR" sz="4400" b="1" dirty="0" smtClean="0">
                <a:solidFill>
                  <a:srgbClr val="FF0000"/>
                </a:solidFill>
                <a:cs typeface="Arial" pitchFamily="34" charset="0"/>
              </a:rPr>
              <a:t> to </a:t>
            </a:r>
            <a:r>
              <a:rPr lang="fr-FR" sz="4400" b="1" dirty="0" err="1" smtClean="0">
                <a:solidFill>
                  <a:srgbClr val="FF0000"/>
                </a:solidFill>
                <a:cs typeface="Arial" pitchFamily="34" charset="0"/>
              </a:rPr>
              <a:t>markets</a:t>
            </a:r>
            <a:endParaRPr lang="fr-FR" sz="4400" b="1" dirty="0" smtClean="0">
              <a:solidFill>
                <a:srgbClr val="FF0000"/>
              </a:solidFill>
              <a:cs typeface="Arial" pitchFamily="34" charset="0"/>
            </a:endParaRPr>
          </a:p>
        </p:txBody>
      </p:sp>
      <p:sp>
        <p:nvSpPr>
          <p:cNvPr id="265" name="Rectangle 264"/>
          <p:cNvSpPr/>
          <p:nvPr/>
        </p:nvSpPr>
        <p:spPr>
          <a:xfrm>
            <a:off x="722922" y="897687"/>
            <a:ext cx="8421078"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266" name="Ellipse 265"/>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99089719"/>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6"/>
          <p:cNvPicPr>
            <a:picLocks noChangeAspect="1" noChangeArrowheads="1"/>
          </p:cNvPicPr>
          <p:nvPr/>
        </p:nvPicPr>
        <p:blipFill>
          <a:blip r:embed="rId2"/>
          <a:srcRect/>
          <a:stretch>
            <a:fillRect/>
          </a:stretch>
        </p:blipFill>
        <p:spPr bwMode="auto">
          <a:xfrm>
            <a:off x="1702357" y="1618818"/>
            <a:ext cx="687955" cy="749057"/>
          </a:xfrm>
          <a:prstGeom prst="rect">
            <a:avLst/>
          </a:prstGeom>
          <a:solidFill>
            <a:srgbClr val="FFFFFF">
              <a:shade val="85000"/>
            </a:srgbClr>
          </a:solidFill>
          <a:ln w="9525"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4" name="TextBox 2"/>
          <p:cNvSpPr txBox="1">
            <a:spLocks noChangeArrowheads="1"/>
          </p:cNvSpPr>
          <p:nvPr/>
        </p:nvSpPr>
        <p:spPr bwMode="auto">
          <a:xfrm>
            <a:off x="2549960" y="1858789"/>
            <a:ext cx="1318951" cy="369332"/>
          </a:xfrm>
          <a:prstGeom prst="rect">
            <a:avLst/>
          </a:prstGeom>
          <a:noFill/>
          <a:ln w="9525">
            <a:noFill/>
            <a:miter lim="800000"/>
            <a:headEnd/>
            <a:tailEnd/>
          </a:ln>
        </p:spPr>
        <p:txBody>
          <a:bodyPr wrap="none">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eaLnBrk="1" hangingPunct="1"/>
            <a:r>
              <a:rPr lang="en-US" b="1" smtClean="0">
                <a:solidFill>
                  <a:srgbClr val="000000"/>
                </a:solidFill>
                <a:latin typeface="Calibri" charset="0"/>
              </a:rPr>
              <a:t>Start a firm </a:t>
            </a:r>
            <a:endParaRPr lang="en-US" b="1">
              <a:solidFill>
                <a:srgbClr val="000000"/>
              </a:solidFill>
              <a:latin typeface="Calibri" charset="0"/>
            </a:endParaRPr>
          </a:p>
        </p:txBody>
      </p:sp>
      <p:sp>
        <p:nvSpPr>
          <p:cNvPr id="15" name="Ellipse 14"/>
          <p:cNvSpPr/>
          <p:nvPr/>
        </p:nvSpPr>
        <p:spPr bwMode="auto">
          <a:xfrm>
            <a:off x="5798555" y="1702766"/>
            <a:ext cx="1000315" cy="612001"/>
          </a:xfrm>
          <a:prstGeom prst="ellipse">
            <a:avLst/>
          </a:prstGeom>
          <a:solidFill>
            <a:srgbClr val="D9D9D9"/>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b="1"/>
          </a:p>
        </p:txBody>
      </p:sp>
      <p:sp>
        <p:nvSpPr>
          <p:cNvPr id="16" name="ZoneTexte 38"/>
          <p:cNvSpPr txBox="1">
            <a:spLocks noChangeArrowheads="1"/>
          </p:cNvSpPr>
          <p:nvPr/>
        </p:nvSpPr>
        <p:spPr bwMode="auto">
          <a:xfrm>
            <a:off x="5780245" y="1755543"/>
            <a:ext cx="1000314"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algn="ctr" eaLnBrk="1" hangingPunct="1"/>
            <a:r>
              <a:rPr lang="en-US" sz="2000" b="1" smtClean="0">
                <a:solidFill>
                  <a:srgbClr val="FF0000"/>
                </a:solidFill>
                <a:latin typeface="Calibri" charset="0"/>
              </a:rPr>
              <a:t>1</a:t>
            </a:r>
            <a:r>
              <a:rPr lang="en-US" sz="1400" b="1" smtClean="0">
                <a:solidFill>
                  <a:srgbClr val="FF0000"/>
                </a:solidFill>
                <a:latin typeface="Calibri" charset="0"/>
              </a:rPr>
              <a:t> </a:t>
            </a:r>
            <a:r>
              <a:rPr lang="en-US" sz="1400" b="1" smtClean="0">
                <a:latin typeface="Calibri" charset="0"/>
              </a:rPr>
              <a:t>DAY</a:t>
            </a:r>
            <a:endParaRPr lang="en-US" sz="1400" b="1">
              <a:latin typeface="Calibri" charset="0"/>
            </a:endParaRPr>
          </a:p>
        </p:txBody>
      </p:sp>
      <p:sp>
        <p:nvSpPr>
          <p:cNvPr id="27" name="TextBox 18"/>
          <p:cNvSpPr txBox="1">
            <a:spLocks noChangeArrowheads="1"/>
          </p:cNvSpPr>
          <p:nvPr/>
        </p:nvSpPr>
        <p:spPr bwMode="auto">
          <a:xfrm>
            <a:off x="2549960" y="2599211"/>
            <a:ext cx="1823513" cy="369332"/>
          </a:xfrm>
          <a:prstGeom prst="rect">
            <a:avLst/>
          </a:prstGeom>
          <a:noFill/>
          <a:ln w="9525">
            <a:noFill/>
            <a:miter lim="800000"/>
            <a:headEnd/>
            <a:tailEnd/>
          </a:ln>
        </p:spPr>
        <p:txBody>
          <a:bodyPr wrap="none">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eaLnBrk="1" hangingPunct="1"/>
            <a:r>
              <a:rPr lang="en-US" b="1" smtClean="0">
                <a:solidFill>
                  <a:srgbClr val="000000"/>
                </a:solidFill>
                <a:latin typeface="Calibri" charset="0"/>
              </a:rPr>
              <a:t>Property</a:t>
            </a:r>
            <a:r>
              <a:rPr lang="en-US" b="1" smtClean="0">
                <a:solidFill>
                  <a:srgbClr val="000000"/>
                </a:solidFill>
                <a:latin typeface="Calibri" charset="0"/>
              </a:rPr>
              <a:t> </a:t>
            </a:r>
            <a:r>
              <a:rPr lang="en-US" b="1" smtClean="0">
                <a:solidFill>
                  <a:srgbClr val="000000"/>
                </a:solidFill>
                <a:latin typeface="Calibri" charset="0"/>
              </a:rPr>
              <a:t>transfer</a:t>
            </a:r>
            <a:endParaRPr lang="en-US" b="1">
              <a:solidFill>
                <a:srgbClr val="000000"/>
              </a:solidFill>
              <a:latin typeface="Calibri" charset="0"/>
            </a:endParaRPr>
          </a:p>
        </p:txBody>
      </p:sp>
      <p:pic>
        <p:nvPicPr>
          <p:cNvPr id="28" name="Picture 23" descr="http://www.mon-diplome.fr/Diplome/700-248017-%20TITRE%20DE%20PROPRIETE.jpg"/>
          <p:cNvPicPr>
            <a:picLocks noChangeAspect="1" noChangeArrowheads="1"/>
          </p:cNvPicPr>
          <p:nvPr/>
        </p:nvPicPr>
        <p:blipFill>
          <a:blip r:embed="rId3"/>
          <a:srcRect l="27224" t="5364" r="25233"/>
          <a:stretch>
            <a:fillRect/>
          </a:stretch>
        </p:blipFill>
        <p:spPr bwMode="auto">
          <a:xfrm>
            <a:off x="1702357" y="2577830"/>
            <a:ext cx="720330" cy="713789"/>
          </a:xfrm>
          <a:prstGeom prst="rect">
            <a:avLst/>
          </a:prstGeom>
          <a:noFill/>
          <a:ln w="9525">
            <a:noFill/>
            <a:miter lim="800000"/>
            <a:headEnd/>
            <a:tailEnd/>
          </a:ln>
        </p:spPr>
      </p:pic>
      <p:sp>
        <p:nvSpPr>
          <p:cNvPr id="25" name="Ellipse 24"/>
          <p:cNvSpPr/>
          <p:nvPr/>
        </p:nvSpPr>
        <p:spPr bwMode="auto">
          <a:xfrm>
            <a:off x="5786832" y="2455386"/>
            <a:ext cx="996700" cy="690069"/>
          </a:xfrm>
          <a:prstGeom prst="ellipse">
            <a:avLst/>
          </a:prstGeom>
          <a:solidFill>
            <a:srgbClr val="D9D9D9"/>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solidFill>
                <a:srgbClr val="FF0000"/>
              </a:solidFill>
            </a:endParaRPr>
          </a:p>
        </p:txBody>
      </p:sp>
      <p:sp>
        <p:nvSpPr>
          <p:cNvPr id="26" name="ZoneTexte 36"/>
          <p:cNvSpPr txBox="1">
            <a:spLocks noChangeArrowheads="1"/>
          </p:cNvSpPr>
          <p:nvPr/>
        </p:nvSpPr>
        <p:spPr bwMode="auto">
          <a:xfrm>
            <a:off x="5786833" y="2597184"/>
            <a:ext cx="99670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algn="ctr" eaLnBrk="1" hangingPunct="1"/>
            <a:r>
              <a:rPr lang="en-US" b="1" smtClean="0">
                <a:solidFill>
                  <a:srgbClr val="FF0000"/>
                </a:solidFill>
                <a:latin typeface="Calibri" charset="0"/>
              </a:rPr>
              <a:t>50</a:t>
            </a:r>
            <a:r>
              <a:rPr lang="en-US" sz="1400" b="1" smtClean="0">
                <a:solidFill>
                  <a:srgbClr val="FF0000"/>
                </a:solidFill>
                <a:latin typeface="Calibri" charset="0"/>
              </a:rPr>
              <a:t> </a:t>
            </a:r>
            <a:r>
              <a:rPr lang="en-US" sz="1400" b="1" smtClean="0">
                <a:solidFill>
                  <a:srgbClr val="000000"/>
                </a:solidFill>
                <a:latin typeface="Calibri" charset="0"/>
              </a:rPr>
              <a:t>DAYS</a:t>
            </a:r>
            <a:endParaRPr lang="en-US" sz="1400" b="1">
              <a:solidFill>
                <a:srgbClr val="000000"/>
              </a:solidFill>
              <a:latin typeface="Calibri" charset="0"/>
            </a:endParaRPr>
          </a:p>
        </p:txBody>
      </p:sp>
      <p:pic>
        <p:nvPicPr>
          <p:cNvPr id="33" name="Picture 4" descr="http://icons.iconarchive.com/icons/iconleak/or/256/justice-balance-icon.png"/>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1702357" y="3145264"/>
            <a:ext cx="720330" cy="7365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4" name="TextBox 18"/>
          <p:cNvSpPr txBox="1">
            <a:spLocks noChangeArrowheads="1"/>
          </p:cNvSpPr>
          <p:nvPr/>
        </p:nvSpPr>
        <p:spPr bwMode="auto">
          <a:xfrm>
            <a:off x="2549960" y="3309409"/>
            <a:ext cx="1764425" cy="369332"/>
          </a:xfrm>
          <a:prstGeom prst="rect">
            <a:avLst/>
          </a:prstGeom>
          <a:noFill/>
          <a:ln w="9525">
            <a:noFill/>
            <a:miter lim="800000"/>
            <a:headEnd/>
            <a:tailEnd/>
          </a:ln>
        </p:spPr>
        <p:txBody>
          <a:bodyPr wrap="none">
            <a:spAutoFit/>
          </a:bodyPr>
          <a:lstStyle/>
          <a:p>
            <a:pPr>
              <a:defRPr/>
            </a:pPr>
            <a:r>
              <a:rPr lang="en-US" b="1" smtClean="0">
                <a:solidFill>
                  <a:srgbClr val="000000"/>
                </a:solidFill>
                <a:latin typeface="Calibri" pitchFamily="34" charset="0"/>
                <a:ea typeface="MS PGothic" pitchFamily="34" charset="-128"/>
                <a:cs typeface="+mn-cs"/>
              </a:rPr>
              <a:t>Commercial </a:t>
            </a:r>
            <a:r>
              <a:rPr lang="en-US" b="1" smtClean="0">
                <a:solidFill>
                  <a:srgbClr val="000000"/>
                </a:solidFill>
                <a:latin typeface="Calibri" pitchFamily="34" charset="0"/>
                <a:ea typeface="MS PGothic" pitchFamily="34" charset="-128"/>
                <a:cs typeface="+mn-cs"/>
              </a:rPr>
              <a:t>Law</a:t>
            </a:r>
            <a:endParaRPr lang="en-US" b="1">
              <a:solidFill>
                <a:srgbClr val="000000"/>
              </a:solidFill>
              <a:latin typeface="Calibri" pitchFamily="34" charset="0"/>
              <a:ea typeface="MS PGothic" pitchFamily="34" charset="-128"/>
              <a:cs typeface="+mn-cs"/>
            </a:endParaRPr>
          </a:p>
        </p:txBody>
      </p:sp>
      <p:sp>
        <p:nvSpPr>
          <p:cNvPr id="31" name="Ellipse 30"/>
          <p:cNvSpPr/>
          <p:nvPr/>
        </p:nvSpPr>
        <p:spPr>
          <a:xfrm>
            <a:off x="5745488" y="3167939"/>
            <a:ext cx="1039388" cy="663769"/>
          </a:xfrm>
          <a:prstGeom prst="ellipse">
            <a:avLst/>
          </a:prstGeom>
          <a:solidFill>
            <a:srgbClr val="D9D9D9"/>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cxnSp>
        <p:nvCxnSpPr>
          <p:cNvPr id="32" name="Connecteur droit avec flèche 31"/>
          <p:cNvCxnSpPr>
            <a:cxnSpLocks noChangeShapeType="1"/>
          </p:cNvCxnSpPr>
          <p:nvPr/>
        </p:nvCxnSpPr>
        <p:spPr bwMode="auto">
          <a:xfrm flipV="1">
            <a:off x="6122654" y="3439325"/>
            <a:ext cx="310695" cy="131269"/>
          </a:xfrm>
          <a:prstGeom prst="straightConnector1">
            <a:avLst/>
          </a:prstGeom>
          <a:noFill/>
          <a:ln w="38100">
            <a:solidFill>
              <a:srgbClr val="500000"/>
            </a:solidFill>
            <a:round/>
            <a:headEnd/>
            <a:tailEnd type="arrow" w="med" len="med"/>
          </a:ln>
          <a:effectLst>
            <a:outerShdw blurRad="63500" dist="20000" dir="5400000" rotWithShape="0">
              <a:srgbClr val="000000">
                <a:alpha val="37999"/>
              </a:srgbClr>
            </a:outerShdw>
          </a:effectLst>
          <a:extLst>
            <a:ext uri="{909E8E84-426E-40dd-AFC4-6F175D3DCCD1}">
              <a14:hiddenFill xmlns="" xmlns:a14="http://schemas.microsoft.com/office/drawing/2010/main">
                <a:noFill/>
              </a14:hiddenFill>
            </a:ext>
          </a:extLst>
        </p:spPr>
      </p:cxnSp>
      <p:pic>
        <p:nvPicPr>
          <p:cNvPr id="40" name="Picture 11"/>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rot="10800000" flipV="1">
            <a:off x="1702357" y="3996860"/>
            <a:ext cx="720330" cy="645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1" name="TextBox 15"/>
          <p:cNvSpPr txBox="1">
            <a:spLocks noChangeArrowheads="1"/>
          </p:cNvSpPr>
          <p:nvPr/>
        </p:nvSpPr>
        <p:spPr bwMode="auto">
          <a:xfrm>
            <a:off x="2533251" y="4095307"/>
            <a:ext cx="1774525" cy="369332"/>
          </a:xfrm>
          <a:prstGeom prst="rect">
            <a:avLst/>
          </a:prstGeom>
          <a:noFill/>
          <a:ln w="9525">
            <a:noFill/>
            <a:miter lim="800000"/>
            <a:headEnd/>
            <a:tailEnd/>
          </a:ln>
        </p:spPr>
        <p:txBody>
          <a:bodyPr wrap="none">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eaLnBrk="1" hangingPunct="1"/>
            <a:r>
              <a:rPr lang="en-US" b="1" smtClean="0">
                <a:latin typeface="Calibri" charset="0"/>
              </a:rPr>
              <a:t>E tax </a:t>
            </a:r>
            <a:r>
              <a:rPr lang="en-US" b="1" smtClean="0">
                <a:latin typeface="Calibri" charset="0"/>
              </a:rPr>
              <a:t>declaration</a:t>
            </a:r>
            <a:endParaRPr lang="en-US" b="1">
              <a:latin typeface="Calibri" charset="0"/>
            </a:endParaRPr>
          </a:p>
        </p:txBody>
      </p:sp>
      <p:sp>
        <p:nvSpPr>
          <p:cNvPr id="38" name="Ellipse 37"/>
          <p:cNvSpPr/>
          <p:nvPr/>
        </p:nvSpPr>
        <p:spPr bwMode="auto">
          <a:xfrm>
            <a:off x="5746678" y="3945191"/>
            <a:ext cx="1110277" cy="662538"/>
          </a:xfrm>
          <a:prstGeom prst="ellipse">
            <a:avLst/>
          </a:prstGeom>
          <a:solidFill>
            <a:srgbClr val="D9D9D9"/>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39" name="ZoneTexte 30"/>
          <p:cNvSpPr txBox="1">
            <a:spLocks noChangeArrowheads="1"/>
          </p:cNvSpPr>
          <p:nvPr/>
        </p:nvSpPr>
        <p:spPr bwMode="auto">
          <a:xfrm>
            <a:off x="5805434" y="4050464"/>
            <a:ext cx="1110277"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algn="ctr" eaLnBrk="1" hangingPunct="1"/>
            <a:r>
              <a:rPr lang="en-US" b="1" smtClean="0">
                <a:solidFill>
                  <a:srgbClr val="FF0000"/>
                </a:solidFill>
                <a:latin typeface="Calibri" charset="0"/>
              </a:rPr>
              <a:t> </a:t>
            </a:r>
            <a:r>
              <a:rPr lang="en-US" sz="1400" b="1" smtClean="0">
                <a:solidFill>
                  <a:srgbClr val="141313"/>
                </a:solidFill>
                <a:latin typeface="Calibri" charset="0"/>
              </a:rPr>
              <a:t>PAPERLESS</a:t>
            </a:r>
            <a:endParaRPr lang="en-US" sz="1400" b="1">
              <a:solidFill>
                <a:srgbClr val="141313"/>
              </a:solidFill>
              <a:latin typeface="Calibri" charset="0"/>
            </a:endParaRPr>
          </a:p>
        </p:txBody>
      </p:sp>
      <p:pic>
        <p:nvPicPr>
          <p:cNvPr id="48" name="Image 4" descr="iStock_000007921798XSmall.jpg"/>
          <p:cNvPicPr>
            <a:picLocks noChangeAspect="1"/>
          </p:cNvPicPr>
          <p:nvPr/>
        </p:nvPicPr>
        <p:blipFill>
          <a:blip r:embed="rId6" cstate="print"/>
          <a:srcRect/>
          <a:stretch>
            <a:fillRect/>
          </a:stretch>
        </p:blipFill>
        <p:spPr bwMode="auto">
          <a:xfrm>
            <a:off x="1702358" y="5718347"/>
            <a:ext cx="660228" cy="57847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47" name="TextBox 17"/>
          <p:cNvSpPr txBox="1">
            <a:spLocks noChangeArrowheads="1"/>
          </p:cNvSpPr>
          <p:nvPr/>
        </p:nvSpPr>
        <p:spPr bwMode="auto">
          <a:xfrm>
            <a:off x="2666923" y="5700054"/>
            <a:ext cx="4219922" cy="369332"/>
          </a:xfrm>
          <a:prstGeom prst="rect">
            <a:avLst/>
          </a:prstGeom>
          <a:noFill/>
          <a:ln w="9525">
            <a:noFill/>
            <a:miter lim="800000"/>
            <a:headEnd/>
            <a:tailEnd/>
          </a:ln>
        </p:spPr>
        <p:txBody>
          <a:bodyPr>
            <a:spAutoFit/>
          </a:bodyPr>
          <a:lstStyle/>
          <a:p>
            <a:pPr>
              <a:defRPr/>
            </a:pPr>
            <a:r>
              <a:rPr lang="en-US" b="1" smtClean="0">
                <a:solidFill>
                  <a:srgbClr val="000000"/>
                </a:solidFill>
                <a:latin typeface="Calibri" pitchFamily="34" charset="0"/>
                <a:ea typeface="MS PGothic" pitchFamily="34" charset="-128"/>
                <a:cs typeface="+mn-cs"/>
              </a:rPr>
              <a:t>Building </a:t>
            </a:r>
            <a:r>
              <a:rPr lang="en-US" b="1" smtClean="0">
                <a:solidFill>
                  <a:srgbClr val="000000"/>
                </a:solidFill>
                <a:latin typeface="Calibri" pitchFamily="34" charset="0"/>
                <a:ea typeface="MS PGothic" pitchFamily="34" charset="-128"/>
                <a:cs typeface="+mn-cs"/>
              </a:rPr>
              <a:t>Permits</a:t>
            </a:r>
            <a:endParaRPr lang="en-US" b="1">
              <a:solidFill>
                <a:srgbClr val="000000"/>
              </a:solidFill>
              <a:latin typeface="Calibri" pitchFamily="34" charset="0"/>
              <a:ea typeface="MS PGothic" pitchFamily="34" charset="-128"/>
              <a:cs typeface="+mn-cs"/>
            </a:endParaRPr>
          </a:p>
        </p:txBody>
      </p:sp>
      <p:sp>
        <p:nvSpPr>
          <p:cNvPr id="44" name="Ellipse 43"/>
          <p:cNvSpPr/>
          <p:nvPr/>
        </p:nvSpPr>
        <p:spPr bwMode="auto">
          <a:xfrm>
            <a:off x="5636493" y="5715554"/>
            <a:ext cx="1385784" cy="581270"/>
          </a:xfrm>
          <a:prstGeom prst="ellipse">
            <a:avLst/>
          </a:prstGeom>
          <a:solidFill>
            <a:srgbClr val="D9D9D9"/>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45" name="ZoneTexte 34"/>
          <p:cNvSpPr txBox="1">
            <a:spLocks noChangeArrowheads="1"/>
          </p:cNvSpPr>
          <p:nvPr/>
        </p:nvSpPr>
        <p:spPr bwMode="auto">
          <a:xfrm>
            <a:off x="5573471" y="5800326"/>
            <a:ext cx="149262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algn="ctr" eaLnBrk="1" hangingPunct="1"/>
            <a:r>
              <a:rPr lang="en-US" b="1" smtClean="0">
                <a:solidFill>
                  <a:srgbClr val="FF0000"/>
                </a:solidFill>
                <a:latin typeface="Calibri" charset="0"/>
              </a:rPr>
              <a:t>40</a:t>
            </a:r>
            <a:r>
              <a:rPr lang="en-US" sz="1400" b="1" smtClean="0">
                <a:solidFill>
                  <a:srgbClr val="141313"/>
                </a:solidFill>
                <a:latin typeface="Calibri" charset="0"/>
              </a:rPr>
              <a:t> </a:t>
            </a:r>
            <a:r>
              <a:rPr lang="en-US" sz="1400" b="1" smtClean="0">
                <a:solidFill>
                  <a:srgbClr val="141313"/>
                </a:solidFill>
                <a:latin typeface="Calibri" charset="0"/>
              </a:rPr>
              <a:t>DAYS</a:t>
            </a:r>
            <a:endParaRPr lang="en-US" sz="1400" b="1">
              <a:solidFill>
                <a:srgbClr val="141313"/>
              </a:solidFill>
              <a:latin typeface="Calibri" charset="0"/>
            </a:endParaRPr>
          </a:p>
        </p:txBody>
      </p:sp>
      <p:sp>
        <p:nvSpPr>
          <p:cNvPr id="55" name="TextBox 19"/>
          <p:cNvSpPr txBox="1">
            <a:spLocks noChangeArrowheads="1"/>
          </p:cNvSpPr>
          <p:nvPr/>
        </p:nvSpPr>
        <p:spPr bwMode="auto">
          <a:xfrm>
            <a:off x="2533251" y="4845791"/>
            <a:ext cx="2821961" cy="369332"/>
          </a:xfrm>
          <a:prstGeom prst="rect">
            <a:avLst/>
          </a:prstGeom>
          <a:noFill/>
          <a:ln w="9525">
            <a:noFill/>
            <a:miter lim="800000"/>
            <a:headEnd/>
            <a:tailEnd/>
          </a:ln>
        </p:spPr>
        <p:txBody>
          <a:bodyPr wrap="square">
            <a:spAutoFit/>
          </a:bodyPr>
          <a:lstStyle/>
          <a:p>
            <a:pPr>
              <a:defRPr/>
            </a:pPr>
            <a:r>
              <a:rPr lang="en-US" b="1" smtClean="0">
                <a:latin typeface="Calibri" pitchFamily="34" charset="0"/>
                <a:ea typeface="MS PGothic" pitchFamily="34" charset="-128"/>
              </a:rPr>
              <a:t>Cross </a:t>
            </a:r>
            <a:r>
              <a:rPr lang="en-US" b="1" smtClean="0">
                <a:latin typeface="Calibri" pitchFamily="34" charset="0"/>
                <a:ea typeface="MS PGothic" pitchFamily="34" charset="-128"/>
              </a:rPr>
              <a:t>border </a:t>
            </a:r>
            <a:r>
              <a:rPr lang="en-US" b="1" smtClean="0">
                <a:latin typeface="Calibri" pitchFamily="34" charset="0"/>
                <a:ea typeface="MS PGothic" pitchFamily="34" charset="-128"/>
              </a:rPr>
              <a:t>trading</a:t>
            </a:r>
            <a:endParaRPr lang="en-US" b="1">
              <a:latin typeface="Calibri" pitchFamily="34" charset="0"/>
              <a:ea typeface="MS PGothic" pitchFamily="34" charset="-128"/>
              <a:cs typeface="+mn-cs"/>
            </a:endParaRPr>
          </a:p>
        </p:txBody>
      </p:sp>
      <p:grpSp>
        <p:nvGrpSpPr>
          <p:cNvPr id="2" name="Groupe 56"/>
          <p:cNvGrpSpPr/>
          <p:nvPr/>
        </p:nvGrpSpPr>
        <p:grpSpPr>
          <a:xfrm>
            <a:off x="5765403" y="4742251"/>
            <a:ext cx="1133596" cy="724327"/>
            <a:chOff x="9974276" y="5207145"/>
            <a:chExt cx="1540637" cy="724327"/>
          </a:xfrm>
        </p:grpSpPr>
        <p:sp>
          <p:nvSpPr>
            <p:cNvPr id="52" name="Ellipse 51"/>
            <p:cNvSpPr/>
            <p:nvPr/>
          </p:nvSpPr>
          <p:spPr bwMode="auto">
            <a:xfrm>
              <a:off x="9974276" y="5207145"/>
              <a:ext cx="1540637" cy="724327"/>
            </a:xfrm>
            <a:prstGeom prst="ellipse">
              <a:avLst/>
            </a:prstGeom>
            <a:solidFill>
              <a:srgbClr val="D9D9D9"/>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400"/>
            </a:p>
          </p:txBody>
        </p:sp>
        <p:sp>
          <p:nvSpPr>
            <p:cNvPr id="53" name="ZoneTexte 32"/>
            <p:cNvSpPr txBox="1">
              <a:spLocks noChangeArrowheads="1"/>
            </p:cNvSpPr>
            <p:nvPr/>
          </p:nvSpPr>
          <p:spPr bwMode="auto">
            <a:xfrm>
              <a:off x="10123945" y="5416284"/>
              <a:ext cx="130867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ill Sans MT" charset="0"/>
                  <a:ea typeface="MS PGothic" charset="0"/>
                  <a:cs typeface="MS PGothic" charset="0"/>
                </a:defRPr>
              </a:lvl1pPr>
              <a:lvl2pPr marL="742950" indent="-285750" eaLnBrk="0" hangingPunct="0">
                <a:defRPr>
                  <a:solidFill>
                    <a:schemeClr val="tx1"/>
                  </a:solidFill>
                  <a:latin typeface="Gill Sans MT" charset="0"/>
                  <a:ea typeface="MS PGothic" charset="0"/>
                  <a:cs typeface="MS PGothic" charset="0"/>
                </a:defRPr>
              </a:lvl2pPr>
              <a:lvl3pPr marL="1143000" indent="-228600" eaLnBrk="0" hangingPunct="0">
                <a:defRPr>
                  <a:solidFill>
                    <a:schemeClr val="tx1"/>
                  </a:solidFill>
                  <a:latin typeface="Gill Sans MT" charset="0"/>
                  <a:ea typeface="MS PGothic" charset="0"/>
                  <a:cs typeface="MS PGothic" charset="0"/>
                </a:defRPr>
              </a:lvl3pPr>
              <a:lvl4pPr marL="1600200" indent="-228600" eaLnBrk="0" hangingPunct="0">
                <a:defRPr>
                  <a:solidFill>
                    <a:schemeClr val="tx1"/>
                  </a:solidFill>
                  <a:latin typeface="Gill Sans MT" charset="0"/>
                  <a:ea typeface="MS PGothic" charset="0"/>
                  <a:cs typeface="MS PGothic" charset="0"/>
                </a:defRPr>
              </a:lvl4pPr>
              <a:lvl5pPr marL="2057400" indent="-228600" eaLnBrk="0" hangingPunct="0">
                <a:defRPr>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a:solidFill>
                    <a:schemeClr val="tx1"/>
                  </a:solidFill>
                  <a:latin typeface="Gill Sans MT" charset="0"/>
                  <a:ea typeface="MS PGothic" charset="0"/>
                  <a:cs typeface="MS PGothic" charset="0"/>
                </a:defRPr>
              </a:lvl9pPr>
            </a:lstStyle>
            <a:p>
              <a:pPr algn="ctr" eaLnBrk="1" hangingPunct="1"/>
              <a:r>
                <a:rPr lang="en-US" b="1" smtClean="0">
                  <a:solidFill>
                    <a:srgbClr val="FF0000"/>
                  </a:solidFill>
                  <a:latin typeface="Calibri" charset="0"/>
                </a:rPr>
                <a:t>10</a:t>
              </a:r>
              <a:r>
                <a:rPr lang="en-US" sz="1400" b="1" smtClean="0">
                  <a:solidFill>
                    <a:srgbClr val="141313"/>
                  </a:solidFill>
                  <a:latin typeface="Calibri" charset="0"/>
                </a:rPr>
                <a:t> </a:t>
              </a:r>
              <a:r>
                <a:rPr lang="en-US" sz="1400" b="1" smtClean="0">
                  <a:solidFill>
                    <a:srgbClr val="141313"/>
                  </a:solidFill>
                  <a:latin typeface="Calibri" charset="0"/>
                </a:rPr>
                <a:t>DAYS</a:t>
              </a:r>
              <a:endParaRPr lang="en-US" sz="1400" b="1">
                <a:solidFill>
                  <a:srgbClr val="141313"/>
                </a:solidFill>
                <a:latin typeface="Calibri" charset="0"/>
              </a:endParaRPr>
            </a:p>
          </p:txBody>
        </p:sp>
      </p:grpSp>
      <p:pic>
        <p:nvPicPr>
          <p:cNvPr id="62" name="Picture 5" descr="http://photos2-cdn.fotosearch.com/bthumb/CSP/CSP990/k9290496.jpg"/>
          <p:cNvPicPr>
            <a:picLocks noChangeAspect="1" noChangeArrowheads="1"/>
          </p:cNvPicPr>
          <p:nvPr/>
        </p:nvPicPr>
        <p:blipFill>
          <a:blip r:embed="rId7"/>
          <a:srcRect/>
          <a:stretch>
            <a:fillRect/>
          </a:stretch>
        </p:blipFill>
        <p:spPr bwMode="auto">
          <a:xfrm>
            <a:off x="1685648" y="4915011"/>
            <a:ext cx="660229" cy="553282"/>
          </a:xfrm>
          <a:prstGeom prst="rect">
            <a:avLst/>
          </a:prstGeom>
          <a:noFill/>
          <a:ln w="9525">
            <a:noFill/>
            <a:miter lim="800000"/>
            <a:headEnd/>
            <a:tailEnd/>
          </a:ln>
        </p:spPr>
      </p:pic>
      <p:sp>
        <p:nvSpPr>
          <p:cNvPr id="59" name="Rectangle 58"/>
          <p:cNvSpPr/>
          <p:nvPr/>
        </p:nvSpPr>
        <p:spPr>
          <a:xfrm>
            <a:off x="722922" y="-39076"/>
            <a:ext cx="8577386" cy="707886"/>
          </a:xfrm>
          <a:prstGeom prst="rect">
            <a:avLst/>
          </a:prstGeom>
        </p:spPr>
        <p:txBody>
          <a:bodyPr wrap="square">
            <a:spAutoFit/>
          </a:bodyPr>
          <a:lstStyle/>
          <a:p>
            <a:r>
              <a:rPr lang="en-US" sz="4000" b="1" smtClean="0">
                <a:solidFill>
                  <a:srgbClr val="FF0000"/>
                </a:solidFill>
                <a:cs typeface="Arial" pitchFamily="34" charset="0"/>
              </a:rPr>
              <a:t>Investor</a:t>
            </a:r>
            <a:r>
              <a:rPr lang="en-US" sz="4000" b="1" smtClean="0">
                <a:solidFill>
                  <a:srgbClr val="FF0000"/>
                </a:solidFill>
                <a:cs typeface="Arial" pitchFamily="34" charset="0"/>
              </a:rPr>
              <a:t> </a:t>
            </a:r>
            <a:r>
              <a:rPr lang="en-US" sz="4000" b="1" smtClean="0">
                <a:solidFill>
                  <a:srgbClr val="FF0000"/>
                </a:solidFill>
                <a:cs typeface="Arial" pitchFamily="34" charset="0"/>
              </a:rPr>
              <a:t>services</a:t>
            </a:r>
            <a:endParaRPr lang="en-US" sz="4000" b="1" smtClean="0">
              <a:solidFill>
                <a:srgbClr val="AB0000"/>
              </a:solidFill>
              <a:cs typeface="Arial" pitchFamily="34" charset="0"/>
            </a:endParaRPr>
          </a:p>
        </p:txBody>
      </p:sp>
      <p:sp>
        <p:nvSpPr>
          <p:cNvPr id="60" name="Rectangle 59"/>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61" name="Ellipse 60"/>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
        <p:nvSpPr>
          <p:cNvPr id="63" name="ZoneTexte 62"/>
          <p:cNvSpPr txBox="1"/>
          <p:nvPr/>
        </p:nvSpPr>
        <p:spPr>
          <a:xfrm>
            <a:off x="722921" y="827772"/>
            <a:ext cx="7229183" cy="523220"/>
          </a:xfrm>
          <a:prstGeom prst="rect">
            <a:avLst/>
          </a:prstGeom>
          <a:noFill/>
        </p:spPr>
        <p:txBody>
          <a:bodyPr wrap="square" rtlCol="0">
            <a:spAutoFit/>
          </a:bodyPr>
          <a:lstStyle/>
          <a:p>
            <a:r>
              <a:rPr lang="en-US" sz="2800" b="1" smtClean="0"/>
              <a:t>Administrative procedures facilitation</a:t>
            </a:r>
            <a:endParaRPr lang="en-US" sz="2800" b="1"/>
          </a:p>
        </p:txBody>
      </p:sp>
    </p:spTree>
    <p:extLst>
      <p:ext uri="{BB962C8B-B14F-4D97-AF65-F5344CB8AC3E}">
        <p14:creationId xmlns="" xmlns:p14="http://schemas.microsoft.com/office/powerpoint/2010/main" val="3261831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4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27" grpId="0"/>
      <p:bldP spid="25" grpId="0" animBg="1"/>
      <p:bldP spid="26" grpId="0"/>
      <p:bldP spid="34" grpId="0"/>
      <p:bldP spid="31" grpId="0" animBg="1"/>
      <p:bldP spid="41" grpId="0"/>
      <p:bldP spid="38" grpId="0" animBg="1"/>
      <p:bldP spid="39" grpId="0"/>
      <p:bldP spid="47" grpId="0"/>
      <p:bldP spid="44" grpId="0" animBg="1"/>
      <p:bldP spid="45" grpId="0"/>
      <p:bldP spid="5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Investor</a:t>
            </a:r>
            <a:r>
              <a:rPr lang="fr-FR" sz="4000" b="1" dirty="0" smtClean="0">
                <a:solidFill>
                  <a:srgbClr val="FF0000"/>
                </a:solidFill>
                <a:cs typeface="Arial" pitchFamily="34" charset="0"/>
              </a:rPr>
              <a:t> services</a:t>
            </a:r>
            <a:endParaRPr lang="fr-FR" sz="4000" b="1" dirty="0" smtClean="0">
              <a:solidFill>
                <a:srgbClr val="AB0000"/>
              </a:solidFill>
              <a:cs typeface="Arial" pitchFamily="34" charset="0"/>
            </a:endParaRPr>
          </a:p>
        </p:txBody>
      </p:sp>
      <p:sp>
        <p:nvSpPr>
          <p:cNvPr id="17" name="Rectangle 16"/>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8" name="Ellipse 17"/>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
        <p:nvSpPr>
          <p:cNvPr id="20" name="Rectangle 2"/>
          <p:cNvSpPr txBox="1">
            <a:spLocks noChangeArrowheads="1"/>
          </p:cNvSpPr>
          <p:nvPr/>
        </p:nvSpPr>
        <p:spPr>
          <a:xfrm>
            <a:off x="722922" y="923829"/>
            <a:ext cx="3227388" cy="603250"/>
          </a:xfrm>
          <a:prstGeom prst="rect">
            <a:avLst/>
          </a:prstGeom>
        </p:spPr>
        <p:txBody>
          <a:bodyPr vert="horz" lIns="92058" tIns="46030" rIns="92058" bIns="46030" rtlCol="0">
            <a:normAutofit/>
          </a:bodyPr>
          <a:lstStyle/>
          <a:p>
            <a:pPr marL="0" marR="0" lvl="0" indent="0" algn="l" defTabSz="457200" rtl="0" eaLnBrk="1" fontAlgn="auto" latinLnBrk="0" hangingPunct="1">
              <a:lnSpc>
                <a:spcPct val="90000"/>
              </a:lnSpc>
              <a:spcBef>
                <a:spcPct val="0"/>
              </a:spcBef>
              <a:spcAft>
                <a:spcPts val="0"/>
              </a:spcAft>
              <a:buClrTx/>
              <a:buSzTx/>
              <a:buFont typeface="Arial" charset="0"/>
              <a:buNone/>
              <a:tabLst/>
              <a:defRPr/>
            </a:pPr>
            <a:r>
              <a:rPr kumimoji="0" lang="fr-FR" sz="2600" b="1" i="0" u="none" strike="noStrike" kern="1200" cap="none" spc="0" normalizeH="0" baseline="0" noProof="0" smtClean="0">
                <a:ln>
                  <a:noFill/>
                </a:ln>
                <a:solidFill>
                  <a:srgbClr val="10253F"/>
                </a:solidFill>
                <a:effectLst>
                  <a:outerShdw blurRad="38100" dist="38100" dir="2700000" algn="tl">
                    <a:srgbClr val="DDDDDD"/>
                  </a:outerShdw>
                </a:effectLst>
                <a:uLnTx/>
                <a:uFillTx/>
                <a:latin typeface="Meiryo UI" charset="0"/>
                <a:ea typeface="Meiryo UI" charset="0"/>
                <a:cs typeface="Meiryo UI" charset="0"/>
              </a:rPr>
              <a:t>Tax incentive</a:t>
            </a:r>
            <a:endParaRPr kumimoji="0" lang="fr-FR" sz="2600" b="1" i="0" u="none" strike="noStrike" kern="1200" cap="none" spc="0" normalizeH="0" baseline="0" noProof="0" dirty="0">
              <a:ln>
                <a:noFill/>
              </a:ln>
              <a:solidFill>
                <a:srgbClr val="10253F"/>
              </a:solidFill>
              <a:effectLst>
                <a:outerShdw blurRad="38100" dist="38100" dir="2700000" algn="tl">
                  <a:srgbClr val="DDDDDD"/>
                </a:outerShdw>
              </a:effectLst>
              <a:uLnTx/>
              <a:uFillTx/>
              <a:latin typeface="Meiryo UI" charset="0"/>
              <a:ea typeface="Meiryo UI" charset="0"/>
              <a:cs typeface="Meiryo UI" charset="0"/>
            </a:endParaRPr>
          </a:p>
        </p:txBody>
      </p:sp>
      <p:sp>
        <p:nvSpPr>
          <p:cNvPr id="21" name="ZoneTexte 20"/>
          <p:cNvSpPr txBox="1">
            <a:spLocks noChangeArrowheads="1"/>
          </p:cNvSpPr>
          <p:nvPr/>
        </p:nvSpPr>
        <p:spPr bwMode="auto">
          <a:xfrm>
            <a:off x="0" y="3789363"/>
            <a:ext cx="7596188" cy="3744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625475">
              <a:defRPr sz="3200">
                <a:solidFill>
                  <a:schemeClr val="tx1"/>
                </a:solidFill>
                <a:latin typeface="Calibri" charset="0"/>
                <a:ea typeface="ＭＳ Ｐゴシック" charset="0"/>
              </a:defRPr>
            </a:lvl1pPr>
            <a:lvl2pPr marL="434975" indent="-342900" defTabSz="625475">
              <a:defRPr sz="2800">
                <a:solidFill>
                  <a:schemeClr val="tx1"/>
                </a:solidFill>
                <a:latin typeface="Calibri" charset="0"/>
                <a:ea typeface="ＭＳ Ｐゴシック" charset="0"/>
              </a:defRPr>
            </a:lvl2pPr>
            <a:lvl3pPr defTabSz="625475">
              <a:defRPr sz="2400">
                <a:solidFill>
                  <a:schemeClr val="tx1"/>
                </a:solidFill>
                <a:latin typeface="Calibri" charset="0"/>
                <a:ea typeface="ＭＳ Ｐゴシック" charset="0"/>
              </a:defRPr>
            </a:lvl3pPr>
            <a:lvl4pPr defTabSz="625475">
              <a:defRPr sz="2000">
                <a:solidFill>
                  <a:schemeClr val="tx1"/>
                </a:solidFill>
                <a:latin typeface="Calibri" charset="0"/>
                <a:ea typeface="ＭＳ Ｐゴシック" charset="0"/>
              </a:defRPr>
            </a:lvl4pPr>
            <a:lvl5pPr defTabSz="625475">
              <a:defRPr sz="2000">
                <a:solidFill>
                  <a:schemeClr val="tx1"/>
                </a:solidFill>
                <a:latin typeface="Calibri" charset="0"/>
                <a:ea typeface="ＭＳ Ｐゴシック" charset="0"/>
              </a:defRPr>
            </a:lvl5pPr>
            <a:lvl6pPr defTabSz="625475" eaLnBrk="0" fontAlgn="base" hangingPunct="0">
              <a:spcAft>
                <a:spcPct val="0"/>
              </a:spcAft>
              <a:buFont typeface="Arial" charset="0"/>
              <a:buChar char="»"/>
              <a:defRPr sz="2000">
                <a:solidFill>
                  <a:schemeClr val="tx1"/>
                </a:solidFill>
                <a:latin typeface="Calibri" charset="0"/>
                <a:ea typeface="ＭＳ Ｐゴシック" charset="0"/>
              </a:defRPr>
            </a:lvl6pPr>
            <a:lvl7pPr defTabSz="625475" eaLnBrk="0" fontAlgn="base" hangingPunct="0">
              <a:spcAft>
                <a:spcPct val="0"/>
              </a:spcAft>
              <a:buFont typeface="Arial" charset="0"/>
              <a:buChar char="»"/>
              <a:defRPr sz="2000">
                <a:solidFill>
                  <a:schemeClr val="tx1"/>
                </a:solidFill>
                <a:latin typeface="Calibri" charset="0"/>
                <a:ea typeface="ＭＳ Ｐゴシック" charset="0"/>
              </a:defRPr>
            </a:lvl7pPr>
            <a:lvl8pPr defTabSz="625475" eaLnBrk="0" fontAlgn="base" hangingPunct="0">
              <a:spcAft>
                <a:spcPct val="0"/>
              </a:spcAft>
              <a:buFont typeface="Arial" charset="0"/>
              <a:buChar char="»"/>
              <a:defRPr sz="2000">
                <a:solidFill>
                  <a:schemeClr val="tx1"/>
                </a:solidFill>
                <a:latin typeface="Calibri" charset="0"/>
                <a:ea typeface="ＭＳ Ｐゴシック" charset="0"/>
              </a:defRPr>
            </a:lvl8pPr>
            <a:lvl9pPr defTabSz="625475" eaLnBrk="0" fontAlgn="base" hangingPunct="0">
              <a:spcAft>
                <a:spcPct val="0"/>
              </a:spcAft>
              <a:buFont typeface="Arial" charset="0"/>
              <a:buChar char="»"/>
              <a:defRPr sz="2000">
                <a:solidFill>
                  <a:schemeClr val="tx1"/>
                </a:solidFill>
                <a:latin typeface="Calibri" charset="0"/>
                <a:ea typeface="ＭＳ Ｐゴシック" charset="0"/>
              </a:defRPr>
            </a:lvl9pPr>
          </a:lstStyle>
          <a:p>
            <a:pPr lvl="1" eaLnBrk="1" hangingPunct="1">
              <a:lnSpc>
                <a:spcPct val="90000"/>
              </a:lnSpc>
              <a:spcBef>
                <a:spcPts val="1200"/>
              </a:spcBef>
              <a:buFont typeface="Wingdings" charset="0"/>
              <a:buChar char="ü"/>
            </a:pPr>
            <a:r>
              <a:rPr lang="en-US" sz="2000" b="1" i="1" dirty="0" smtClean="0">
                <a:solidFill>
                  <a:srgbClr val="0070C0"/>
                </a:solidFill>
                <a:latin typeface="Arial" charset="0"/>
              </a:rPr>
              <a:t>Forms</a:t>
            </a:r>
            <a:endParaRPr lang="fr-FR" sz="1800" dirty="0">
              <a:latin typeface="Georgia" charset="0"/>
            </a:endParaRPr>
          </a:p>
        </p:txBody>
      </p:sp>
      <p:sp>
        <p:nvSpPr>
          <p:cNvPr id="22" name="Rectangle 21"/>
          <p:cNvSpPr>
            <a:spLocks noChangeArrowheads="1"/>
          </p:cNvSpPr>
          <p:nvPr/>
        </p:nvSpPr>
        <p:spPr bwMode="auto">
          <a:xfrm>
            <a:off x="179388" y="5756275"/>
            <a:ext cx="4968875" cy="6373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marL="363538" lvl="2" indent="-342900" defTabSz="625475" eaLnBrk="1" hangingPunct="1">
              <a:lnSpc>
                <a:spcPct val="90000"/>
              </a:lnSpc>
              <a:spcBef>
                <a:spcPts val="1200"/>
              </a:spcBef>
              <a:buFont typeface="Courier New" charset="0"/>
              <a:buChar char="o"/>
            </a:pPr>
            <a:r>
              <a:rPr lang="en-US" sz="2000" b="1" dirty="0">
                <a:solidFill>
                  <a:srgbClr val="C00000"/>
                </a:solidFill>
                <a:latin typeface="Arial" charset="0"/>
              </a:rPr>
              <a:t>Suspension</a:t>
            </a:r>
            <a:r>
              <a:rPr lang="en-US" dirty="0">
                <a:latin typeface="Arial" charset="0"/>
              </a:rPr>
              <a:t> </a:t>
            </a:r>
            <a:r>
              <a:rPr lang="en-US" sz="1900" dirty="0" smtClean="0">
                <a:latin typeface="Arial" charset="0"/>
              </a:rPr>
              <a:t>of VAT upon inputs </a:t>
            </a:r>
            <a:r>
              <a:rPr lang="en-US" sz="1900" dirty="0">
                <a:latin typeface="Arial" charset="0"/>
              </a:rPr>
              <a:t>, </a:t>
            </a:r>
            <a:r>
              <a:rPr lang="en-US" sz="1900" dirty="0" smtClean="0">
                <a:latin typeface="Arial" charset="0"/>
              </a:rPr>
              <a:t>local </a:t>
            </a:r>
            <a:r>
              <a:rPr lang="en-US" sz="1900" dirty="0" smtClean="0">
                <a:latin typeface="Arial" charset="0"/>
              </a:rPr>
              <a:t>acquisition </a:t>
            </a:r>
            <a:r>
              <a:rPr lang="en-US" sz="1900" dirty="0" smtClean="0">
                <a:latin typeface="Arial" charset="0"/>
              </a:rPr>
              <a:t>and other woks and  services</a:t>
            </a:r>
            <a:endParaRPr lang="en-US" sz="1900" dirty="0">
              <a:latin typeface="Arial" charset="0"/>
            </a:endParaRPr>
          </a:p>
        </p:txBody>
      </p:sp>
      <p:sp>
        <p:nvSpPr>
          <p:cNvPr id="23" name="Rectangle 22"/>
          <p:cNvSpPr>
            <a:spLocks noChangeArrowheads="1"/>
          </p:cNvSpPr>
          <p:nvPr/>
        </p:nvSpPr>
        <p:spPr bwMode="auto">
          <a:xfrm>
            <a:off x="0" y="4148138"/>
            <a:ext cx="5292725" cy="14714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marL="534988" lvl="2" indent="-285750" defTabSz="625475" eaLnBrk="1" hangingPunct="1">
              <a:lnSpc>
                <a:spcPct val="90000"/>
              </a:lnSpc>
              <a:spcBef>
                <a:spcPts val="1200"/>
              </a:spcBef>
              <a:buFont typeface="Courier New" charset="0"/>
              <a:buChar char="o"/>
            </a:pPr>
            <a:r>
              <a:rPr lang="en-US" sz="2000" b="1" dirty="0" smtClean="0">
                <a:solidFill>
                  <a:srgbClr val="C00000"/>
                </a:solidFill>
                <a:latin typeface="Arial" charset="0"/>
              </a:rPr>
              <a:t>Exemptions</a:t>
            </a:r>
            <a:endParaRPr lang="en-US" sz="2000" b="1" dirty="0">
              <a:solidFill>
                <a:srgbClr val="C00000"/>
              </a:solidFill>
              <a:latin typeface="Arial" charset="0"/>
            </a:endParaRPr>
          </a:p>
          <a:p>
            <a:pPr marL="534988" lvl="2" indent="-285750" defTabSz="625475" eaLnBrk="1" hangingPunct="1">
              <a:lnSpc>
                <a:spcPct val="90000"/>
              </a:lnSpc>
              <a:spcBef>
                <a:spcPts val="1200"/>
              </a:spcBef>
              <a:buFont typeface="Wingdings" charset="0"/>
              <a:buChar char="§"/>
            </a:pPr>
            <a:r>
              <a:rPr lang="en-US" sz="1900" dirty="0" smtClean="0">
                <a:latin typeface="Arial" charset="0"/>
              </a:rPr>
              <a:t>Duty right on material and equipment of </a:t>
            </a:r>
            <a:r>
              <a:rPr lang="en-US" sz="1900" dirty="0">
                <a:latin typeface="Arial" charset="0"/>
              </a:rPr>
              <a:t>production</a:t>
            </a:r>
          </a:p>
          <a:p>
            <a:pPr marL="534988" lvl="2" indent="-285750" defTabSz="625475" eaLnBrk="1" hangingPunct="1">
              <a:lnSpc>
                <a:spcPct val="90000"/>
              </a:lnSpc>
              <a:spcBef>
                <a:spcPts val="1200"/>
              </a:spcBef>
              <a:buFont typeface="Wingdings" charset="0"/>
              <a:buChar char="§"/>
            </a:pPr>
            <a:r>
              <a:rPr lang="en-US" sz="1900" dirty="0" smtClean="0">
                <a:latin typeface="Arial" charset="0"/>
              </a:rPr>
              <a:t>VAT of  agricultural materiel of production</a:t>
            </a:r>
            <a:endParaRPr lang="en-US" sz="1900" dirty="0">
              <a:latin typeface="Arial" charset="0"/>
            </a:endParaRPr>
          </a:p>
        </p:txBody>
      </p:sp>
      <p:grpSp>
        <p:nvGrpSpPr>
          <p:cNvPr id="24" name="Grouper 6"/>
          <p:cNvGrpSpPr/>
          <p:nvPr/>
        </p:nvGrpSpPr>
        <p:grpSpPr>
          <a:xfrm>
            <a:off x="4547333" y="1192213"/>
            <a:ext cx="4596667" cy="1237149"/>
            <a:chOff x="4211638" y="1557338"/>
            <a:chExt cx="4596667" cy="1237149"/>
          </a:xfrm>
        </p:grpSpPr>
        <p:sp>
          <p:nvSpPr>
            <p:cNvPr id="25" name="ZoneTexte 24"/>
            <p:cNvSpPr txBox="1">
              <a:spLocks noChangeArrowheads="1"/>
            </p:cNvSpPr>
            <p:nvPr/>
          </p:nvSpPr>
          <p:spPr bwMode="auto">
            <a:xfrm>
              <a:off x="4716463" y="1557338"/>
              <a:ext cx="3384550" cy="4026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3200">
                  <a:solidFill>
                    <a:schemeClr val="tx1"/>
                  </a:solidFill>
                  <a:latin typeface="Calibri" charset="0"/>
                  <a:ea typeface="ＭＳ Ｐゴシック" charset="0"/>
                </a:defRPr>
              </a:lvl1pPr>
              <a:lvl2pPr marL="358775" indent="-342900">
                <a:defRPr sz="2800">
                  <a:solidFill>
                    <a:schemeClr val="tx1"/>
                  </a:solidFill>
                  <a:latin typeface="Calibri" charset="0"/>
                  <a:ea typeface="ＭＳ Ｐゴシック" charset="0"/>
                </a:defRPr>
              </a:lvl2pPr>
              <a:lvl3pPr>
                <a:defRPr sz="2400">
                  <a:solidFill>
                    <a:schemeClr val="tx1"/>
                  </a:solidFill>
                  <a:latin typeface="Calibri" charset="0"/>
                  <a:ea typeface="ＭＳ Ｐゴシック" charset="0"/>
                </a:defRPr>
              </a:lvl3pPr>
              <a:lvl4pPr>
                <a:defRPr sz="2000">
                  <a:solidFill>
                    <a:schemeClr val="tx1"/>
                  </a:solidFill>
                  <a:latin typeface="Calibri" charset="0"/>
                  <a:ea typeface="ＭＳ Ｐゴシック" charset="0"/>
                </a:defRPr>
              </a:lvl4pPr>
              <a:lvl5pPr>
                <a:defRPr sz="2000">
                  <a:solidFill>
                    <a:schemeClr val="tx1"/>
                  </a:solidFill>
                  <a:latin typeface="Calibri" charset="0"/>
                  <a:ea typeface="ＭＳ Ｐゴシック" charset="0"/>
                </a:defRPr>
              </a:lvl5pPr>
              <a:lvl6pPr eaLnBrk="0" fontAlgn="base" hangingPunct="0">
                <a:spcAft>
                  <a:spcPct val="0"/>
                </a:spcAft>
                <a:buFont typeface="Arial" charset="0"/>
                <a:buChar char="»"/>
                <a:defRPr sz="2000">
                  <a:solidFill>
                    <a:schemeClr val="tx1"/>
                  </a:solidFill>
                  <a:latin typeface="Calibri" charset="0"/>
                  <a:ea typeface="ＭＳ Ｐゴシック" charset="0"/>
                </a:defRPr>
              </a:lvl6pPr>
              <a:lvl7pPr eaLnBrk="0" fontAlgn="base" hangingPunct="0">
                <a:spcAft>
                  <a:spcPct val="0"/>
                </a:spcAft>
                <a:buFont typeface="Arial" charset="0"/>
                <a:buChar char="»"/>
                <a:defRPr sz="2000">
                  <a:solidFill>
                    <a:schemeClr val="tx1"/>
                  </a:solidFill>
                  <a:latin typeface="Calibri" charset="0"/>
                  <a:ea typeface="ＭＳ Ｐゴシック" charset="0"/>
                </a:defRPr>
              </a:lvl7pPr>
              <a:lvl8pPr eaLnBrk="0" fontAlgn="base" hangingPunct="0">
                <a:spcAft>
                  <a:spcPct val="0"/>
                </a:spcAft>
                <a:buFont typeface="Arial" charset="0"/>
                <a:buChar char="»"/>
                <a:defRPr sz="2000">
                  <a:solidFill>
                    <a:schemeClr val="tx1"/>
                  </a:solidFill>
                  <a:latin typeface="Calibri" charset="0"/>
                  <a:ea typeface="ＭＳ Ｐゴシック" charset="0"/>
                </a:defRPr>
              </a:lvl8pPr>
              <a:lvl9pPr eaLnBrk="0" fontAlgn="base" hangingPunct="0">
                <a:spcAft>
                  <a:spcPct val="0"/>
                </a:spcAft>
                <a:buFont typeface="Arial" charset="0"/>
                <a:buChar char="»"/>
                <a:defRPr sz="2000">
                  <a:solidFill>
                    <a:schemeClr val="tx1"/>
                  </a:solidFill>
                  <a:latin typeface="Calibri" charset="0"/>
                  <a:ea typeface="ＭＳ Ｐゴシック" charset="0"/>
                </a:defRPr>
              </a:lvl9pPr>
            </a:lstStyle>
            <a:p>
              <a:pPr lvl="1" eaLnBrk="1" hangingPunct="1">
                <a:lnSpc>
                  <a:spcPct val="90000"/>
                </a:lnSpc>
                <a:spcBef>
                  <a:spcPts val="1200"/>
                </a:spcBef>
                <a:buFont typeface="Wingdings" charset="0"/>
                <a:buChar char="ü"/>
              </a:pPr>
              <a:r>
                <a:rPr lang="en-US" sz="2200" b="1" i="1" dirty="0" smtClean="0">
                  <a:solidFill>
                    <a:srgbClr val="0070C0"/>
                  </a:solidFill>
                  <a:latin typeface="Arial" charset="0"/>
                </a:rPr>
                <a:t>Sectors</a:t>
              </a:r>
              <a:endParaRPr lang="en-US" sz="2200" b="1" i="1" dirty="0">
                <a:solidFill>
                  <a:srgbClr val="0070C0"/>
                </a:solidFill>
                <a:latin typeface="Arial" charset="0"/>
              </a:endParaRPr>
            </a:p>
          </p:txBody>
        </p:sp>
        <p:sp>
          <p:nvSpPr>
            <p:cNvPr id="26" name="Rectangle 25"/>
            <p:cNvSpPr>
              <a:spLocks noChangeArrowheads="1"/>
            </p:cNvSpPr>
            <p:nvPr/>
          </p:nvSpPr>
          <p:spPr bwMode="auto">
            <a:xfrm>
              <a:off x="4211638" y="1989138"/>
              <a:ext cx="4596667" cy="8053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marL="274638" lvl="2" indent="-182563" eaLnBrk="1" hangingPunct="1">
                <a:lnSpc>
                  <a:spcPct val="90000"/>
                </a:lnSpc>
                <a:spcBef>
                  <a:spcPts val="1200"/>
                </a:spcBef>
                <a:buFont typeface="Wingdings" charset="0"/>
                <a:buChar char="§"/>
              </a:pPr>
              <a:r>
                <a:rPr lang="en-US" sz="2000" dirty="0" smtClean="0">
                  <a:latin typeface="Arial" charset="0"/>
                </a:rPr>
                <a:t>All sectors that created value added </a:t>
              </a:r>
            </a:p>
            <a:p>
              <a:pPr marL="274638" lvl="2" indent="-182563" eaLnBrk="1" hangingPunct="1">
                <a:lnSpc>
                  <a:spcPct val="90000"/>
                </a:lnSpc>
                <a:spcBef>
                  <a:spcPts val="1200"/>
                </a:spcBef>
                <a:buFont typeface="Wingdings" charset="0"/>
                <a:buChar char="§"/>
              </a:pPr>
              <a:r>
                <a:rPr lang="en-US" sz="2000" dirty="0" smtClean="0">
                  <a:latin typeface="Arial" charset="0"/>
                </a:rPr>
                <a:t>All sectors that export</a:t>
              </a:r>
              <a:endParaRPr lang="fr-FR" sz="2400" dirty="0"/>
            </a:p>
          </p:txBody>
        </p:sp>
      </p:grpSp>
      <p:pic>
        <p:nvPicPr>
          <p:cNvPr id="27" name="Picture 11"/>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7231123" y="4889153"/>
            <a:ext cx="1322388" cy="14001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8" name="Image 11" descr="http://www.investinsenegal.com/IMG/arton93.jpg?1334074911"/>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1476375" y="2276475"/>
            <a:ext cx="927100" cy="647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9" name="Image 12" descr="https://encrypted-tbn1.gstatic.com/images?q=tbn:ANd9GcSamEj9rsWtG6TdpKFgHNoeoxgs3Yqrs8OSKrW5YA2BF0RaJQuOOg"/>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2268538" y="2708275"/>
            <a:ext cx="958850" cy="720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 name="Image 13" descr="http://www.agrifinfacility.org/sites/agrifinfacility.org/files/Images/Newsletter%204_tech%20summary.jpg"/>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539750" y="1700213"/>
            <a:ext cx="1079500" cy="682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1" name="Picture 3"/>
          <p:cNvPicPr>
            <a:picLocks noChangeAspect="1" noChangeArrowheads="1"/>
          </p:cNvPicPr>
          <p:nvPr/>
        </p:nvPicPr>
        <p:blipFill>
          <a:blip r:embed="rId7">
            <a:extLst/>
          </a:blip>
          <a:srcRect/>
          <a:stretch>
            <a:fillRect/>
          </a:stretch>
        </p:blipFill>
        <p:spPr bwMode="auto">
          <a:xfrm>
            <a:off x="6581885" y="4645297"/>
            <a:ext cx="984650" cy="90846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pic>
        <p:nvPicPr>
          <p:cNvPr id="32" name="Picture 4"/>
          <p:cNvPicPr>
            <a:picLocks noChangeAspect="1" noChangeArrowheads="1"/>
          </p:cNvPicPr>
          <p:nvPr/>
        </p:nvPicPr>
        <p:blipFill>
          <a:blip r:embed="rId8">
            <a:extLst/>
          </a:blip>
          <a:srcRect/>
          <a:stretch>
            <a:fillRect/>
          </a:stretch>
        </p:blipFill>
        <p:spPr bwMode="auto">
          <a:xfrm>
            <a:off x="8166060" y="5725419"/>
            <a:ext cx="858409" cy="1062384"/>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 xmlns:p14="http://schemas.microsoft.com/office/powerpoint/2010/main" val="1627503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body" sz="half" idx="1"/>
          </p:nvPr>
        </p:nvSpPr>
        <p:spPr>
          <a:xfrm>
            <a:off x="722922" y="855663"/>
            <a:ext cx="9144000" cy="665088"/>
          </a:xfrm>
        </p:spPr>
        <p:txBody>
          <a:bodyPr lIns="92058" tIns="46030" rIns="92058" bIns="46030">
            <a:normAutofit lnSpcReduction="10000"/>
          </a:bodyPr>
          <a:lstStyle/>
          <a:p>
            <a:pPr marL="534988" lvl="1" indent="0" eaLnBrk="1" hangingPunct="1">
              <a:lnSpc>
                <a:spcPct val="90000"/>
              </a:lnSpc>
              <a:buFont typeface="Arial" charset="0"/>
              <a:buNone/>
            </a:pPr>
            <a:endParaRPr lang="fr-FR" sz="1600" b="1" i="1" dirty="0">
              <a:solidFill>
                <a:srgbClr val="C87528"/>
              </a:solidFill>
              <a:latin typeface="Arial" charset="0"/>
              <a:cs typeface="Arial" charset="0"/>
            </a:endParaRPr>
          </a:p>
          <a:p>
            <a:pPr marL="0" indent="0" eaLnBrk="1" hangingPunct="1">
              <a:lnSpc>
                <a:spcPct val="90000"/>
              </a:lnSpc>
              <a:spcBef>
                <a:spcPct val="0"/>
              </a:spcBef>
              <a:buClr>
                <a:srgbClr val="C87528"/>
              </a:buClr>
              <a:buFont typeface="Arial" charset="0"/>
              <a:buNone/>
            </a:pPr>
            <a:r>
              <a:rPr lang="fr-FR" sz="2600" b="1" dirty="0" smtClean="0">
                <a:solidFill>
                  <a:srgbClr val="10253F"/>
                </a:solidFill>
                <a:latin typeface="Meiryo UI" charset="0"/>
                <a:ea typeface="Meiryo UI" charset="0"/>
                <a:cs typeface="Meiryo UI" charset="0"/>
              </a:rPr>
              <a:t>Export </a:t>
            </a:r>
            <a:r>
              <a:rPr lang="fr-FR" sz="2600" b="1" dirty="0" err="1" smtClean="0">
                <a:solidFill>
                  <a:srgbClr val="10253F"/>
                </a:solidFill>
                <a:latin typeface="Meiryo UI" charset="0"/>
                <a:ea typeface="Meiryo UI" charset="0"/>
                <a:cs typeface="Meiryo UI" charset="0"/>
              </a:rPr>
              <a:t>tax</a:t>
            </a:r>
            <a:r>
              <a:rPr lang="fr-FR" sz="2600" b="1" dirty="0" smtClean="0">
                <a:solidFill>
                  <a:srgbClr val="10253F"/>
                </a:solidFill>
                <a:latin typeface="Meiryo UI" charset="0"/>
                <a:ea typeface="Meiryo UI" charset="0"/>
                <a:cs typeface="Meiryo UI" charset="0"/>
              </a:rPr>
              <a:t> </a:t>
            </a:r>
            <a:r>
              <a:rPr lang="fr-FR" sz="2600" b="1" dirty="0" err="1" smtClean="0">
                <a:solidFill>
                  <a:srgbClr val="10253F"/>
                </a:solidFill>
                <a:latin typeface="Meiryo UI" charset="0"/>
                <a:ea typeface="Meiryo UI" charset="0"/>
                <a:cs typeface="Meiryo UI" charset="0"/>
              </a:rPr>
              <a:t>incentive</a:t>
            </a:r>
            <a:r>
              <a:rPr lang="fr-FR" sz="2600" b="1" dirty="0" smtClean="0">
                <a:solidFill>
                  <a:srgbClr val="10253F"/>
                </a:solidFill>
                <a:latin typeface="Meiryo UI" charset="0"/>
                <a:ea typeface="Meiryo UI" charset="0"/>
                <a:cs typeface="Meiryo UI" charset="0"/>
              </a:rPr>
              <a:t> </a:t>
            </a:r>
            <a:endParaRPr lang="en-GB" sz="2100" dirty="0">
              <a:solidFill>
                <a:schemeClr val="bg1"/>
              </a:solidFill>
              <a:latin typeface="Calibri" charset="0"/>
              <a:cs typeface="Arial" charset="0"/>
            </a:endParaRPr>
          </a:p>
        </p:txBody>
      </p:sp>
      <p:grpSp>
        <p:nvGrpSpPr>
          <p:cNvPr id="20" name="Groupe 19"/>
          <p:cNvGrpSpPr/>
          <p:nvPr/>
        </p:nvGrpSpPr>
        <p:grpSpPr>
          <a:xfrm>
            <a:off x="0" y="3913235"/>
            <a:ext cx="9014341" cy="2766214"/>
            <a:chOff x="0" y="3913235"/>
            <a:chExt cx="9014341" cy="2766214"/>
          </a:xfrm>
        </p:grpSpPr>
        <p:sp>
          <p:nvSpPr>
            <p:cNvPr id="11270" name="Rectangle 3"/>
            <p:cNvSpPr>
              <a:spLocks noChangeArrowheads="1"/>
            </p:cNvSpPr>
            <p:nvPr/>
          </p:nvSpPr>
          <p:spPr bwMode="auto">
            <a:xfrm>
              <a:off x="0" y="3913235"/>
              <a:ext cx="6732588" cy="24945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marL="358775" lvl="1" indent="-342900">
                <a:lnSpc>
                  <a:spcPct val="90000"/>
                </a:lnSpc>
                <a:spcBef>
                  <a:spcPts val="1200"/>
                </a:spcBef>
                <a:buFont typeface="Wingdings" charset="0"/>
                <a:buChar char="ü"/>
              </a:pPr>
              <a:r>
                <a:rPr lang="en-GB" sz="2400" b="1" dirty="0" smtClean="0">
                  <a:solidFill>
                    <a:srgbClr val="0070C0"/>
                  </a:solidFill>
                  <a:latin typeface="Arial" charset="0"/>
                </a:rPr>
                <a:t>Forms</a:t>
              </a:r>
            </a:p>
            <a:p>
              <a:pPr marL="531813" lvl="2" indent="-342900" eaLnBrk="1" hangingPunct="1">
                <a:lnSpc>
                  <a:spcPct val="90000"/>
                </a:lnSpc>
                <a:spcBef>
                  <a:spcPts val="1200"/>
                </a:spcBef>
                <a:buFont typeface="Courier New" charset="0"/>
                <a:buChar char="o"/>
              </a:pPr>
              <a:r>
                <a:rPr lang="en-GB" sz="2200" b="1" dirty="0" smtClean="0">
                  <a:latin typeface="Arial" charset="0"/>
                </a:rPr>
                <a:t>Total exemption</a:t>
              </a:r>
              <a:endParaRPr lang="en-GB" sz="2200" dirty="0">
                <a:latin typeface="Arial" charset="0"/>
              </a:endParaRPr>
            </a:p>
            <a:p>
              <a:pPr marL="992188" lvl="3" indent="-285750" defTabSz="625475">
                <a:lnSpc>
                  <a:spcPct val="90000"/>
                </a:lnSpc>
                <a:spcBef>
                  <a:spcPts val="1200"/>
                </a:spcBef>
                <a:buFont typeface="Wingdings" charset="0"/>
                <a:buChar char="§"/>
              </a:pPr>
              <a:r>
                <a:rPr lang="en-US" sz="1900" dirty="0">
                  <a:latin typeface="Arial" charset="0"/>
                </a:rPr>
                <a:t>Duty right on material and equipment of </a:t>
              </a:r>
              <a:r>
                <a:rPr lang="en-US" sz="1900" dirty="0" smtClean="0">
                  <a:latin typeface="Arial" charset="0"/>
                </a:rPr>
                <a:t>production</a:t>
              </a:r>
            </a:p>
            <a:p>
              <a:pPr marL="992188" lvl="3" indent="-285750" defTabSz="625475">
                <a:lnSpc>
                  <a:spcPct val="90000"/>
                </a:lnSpc>
                <a:spcBef>
                  <a:spcPts val="1200"/>
                </a:spcBef>
                <a:buFont typeface="Wingdings" charset="0"/>
                <a:buChar char="§"/>
              </a:pPr>
              <a:r>
                <a:rPr lang="en-GB" sz="2200" dirty="0" smtClean="0">
                  <a:latin typeface="Arial" charset="0"/>
                </a:rPr>
                <a:t>All taxes of activities </a:t>
              </a:r>
              <a:r>
                <a:rPr lang="en-GB" sz="2200" i="1" dirty="0" smtClean="0">
                  <a:latin typeface="Arial" charset="0"/>
                </a:rPr>
                <a:t>(</a:t>
              </a:r>
              <a:r>
                <a:rPr lang="en-GB" sz="2000" i="1" dirty="0" smtClean="0">
                  <a:latin typeface="Arial" charset="0"/>
                </a:rPr>
                <a:t>excepted taxes on consumption services)</a:t>
              </a:r>
              <a:endParaRPr lang="en-GB" sz="2000" i="1" dirty="0">
                <a:latin typeface="Arial" charset="0"/>
              </a:endParaRPr>
            </a:p>
            <a:p>
              <a:pPr marL="531813" lvl="2" indent="-342900" eaLnBrk="1" hangingPunct="1">
                <a:lnSpc>
                  <a:spcPct val="90000"/>
                </a:lnSpc>
                <a:spcBef>
                  <a:spcPts val="1200"/>
                </a:spcBef>
                <a:buFont typeface="Courier New" charset="0"/>
                <a:buChar char="o"/>
              </a:pPr>
              <a:r>
                <a:rPr lang="en-GB" sz="2200" dirty="0" smtClean="0">
                  <a:latin typeface="Arial" charset="0"/>
                </a:rPr>
                <a:t>Reduction of  </a:t>
              </a:r>
              <a:r>
                <a:rPr lang="en-GB" sz="2200" b="1" dirty="0" smtClean="0">
                  <a:latin typeface="Arial" charset="0"/>
                </a:rPr>
                <a:t>income tax to </a:t>
              </a:r>
              <a:r>
                <a:rPr lang="en-GB" sz="2200" b="1" dirty="0">
                  <a:latin typeface="Arial" charset="0"/>
                </a:rPr>
                <a:t>15%</a:t>
              </a:r>
            </a:p>
          </p:txBody>
        </p:sp>
        <p:pic>
          <p:nvPicPr>
            <p:cNvPr id="11272" name="Picture 11"/>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6994525" y="4479925"/>
              <a:ext cx="1697038" cy="18018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p:nvPicPr>
          <p:blipFill>
            <a:blip r:embed="rId4">
              <a:extLst/>
            </a:blip>
            <a:srcRect/>
            <a:stretch>
              <a:fillRect/>
            </a:stretch>
          </p:blipFill>
          <p:spPr bwMode="auto">
            <a:xfrm>
              <a:off x="6876256" y="4183411"/>
              <a:ext cx="1152128" cy="135462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pic>
          <p:nvPicPr>
            <p:cNvPr id="10" name="Picture 4"/>
            <p:cNvPicPr>
              <a:picLocks noChangeAspect="1" noChangeArrowheads="1"/>
            </p:cNvPicPr>
            <p:nvPr/>
          </p:nvPicPr>
          <p:blipFill>
            <a:blip r:embed="rId5">
              <a:extLst/>
            </a:blip>
            <a:srcRect/>
            <a:stretch>
              <a:fillRect/>
            </a:stretch>
          </p:blipFill>
          <p:spPr bwMode="auto">
            <a:xfrm>
              <a:off x="7684961" y="5034183"/>
              <a:ext cx="1329380" cy="1645266"/>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grpSp>
      <p:grpSp>
        <p:nvGrpSpPr>
          <p:cNvPr id="19" name="Groupe 18"/>
          <p:cNvGrpSpPr/>
          <p:nvPr/>
        </p:nvGrpSpPr>
        <p:grpSpPr>
          <a:xfrm>
            <a:off x="107950" y="1700213"/>
            <a:ext cx="8924925" cy="1657350"/>
            <a:chOff x="107950" y="1700213"/>
            <a:chExt cx="8924925" cy="1657350"/>
          </a:xfrm>
        </p:grpSpPr>
        <p:sp>
          <p:nvSpPr>
            <p:cNvPr id="11271" name="Rectangle 4"/>
            <p:cNvSpPr>
              <a:spLocks noChangeArrowheads="1"/>
            </p:cNvSpPr>
            <p:nvPr/>
          </p:nvSpPr>
          <p:spPr bwMode="auto">
            <a:xfrm>
              <a:off x="107950" y="1705255"/>
              <a:ext cx="7127875" cy="13419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marL="358775" lvl="1" indent="-342900">
                <a:lnSpc>
                  <a:spcPct val="90000"/>
                </a:lnSpc>
                <a:spcBef>
                  <a:spcPts val="1200"/>
                </a:spcBef>
                <a:buFont typeface="Wingdings" charset="0"/>
                <a:buChar char="ü"/>
              </a:pPr>
              <a:r>
                <a:rPr lang="en-GB" sz="2400" b="1" dirty="0" smtClean="0">
                  <a:solidFill>
                    <a:srgbClr val="0070C0"/>
                  </a:solidFill>
                  <a:latin typeface="Arial" charset="0"/>
                </a:rPr>
                <a:t>Fields</a:t>
              </a:r>
              <a:endParaRPr lang="en-GB" sz="2400" dirty="0" smtClean="0">
                <a:solidFill>
                  <a:prstClr val="black"/>
                </a:solidFill>
                <a:latin typeface="Arial" charset="0"/>
              </a:endParaRPr>
            </a:p>
            <a:p>
              <a:pPr marL="808038" lvl="2" indent="-366713" eaLnBrk="1" hangingPunct="1">
                <a:lnSpc>
                  <a:spcPct val="90000"/>
                </a:lnSpc>
                <a:spcBef>
                  <a:spcPts val="1200"/>
                </a:spcBef>
                <a:buFont typeface="Courier New" charset="0"/>
                <a:buChar char="o"/>
              </a:pPr>
              <a:r>
                <a:rPr lang="en-GB" sz="2200" dirty="0" smtClean="0">
                  <a:latin typeface="Arial" charset="0"/>
                </a:rPr>
                <a:t>Agriculture</a:t>
              </a:r>
              <a:r>
                <a:rPr lang="en-GB" sz="2200" dirty="0">
                  <a:latin typeface="Arial" charset="0"/>
                </a:rPr>
                <a:t>, </a:t>
              </a:r>
              <a:r>
                <a:rPr lang="en-GB" sz="2200" dirty="0" smtClean="0">
                  <a:latin typeface="Arial" charset="0"/>
                </a:rPr>
                <a:t>Industry and Teleservices</a:t>
              </a:r>
              <a:endParaRPr lang="en-GB" sz="2200" dirty="0">
                <a:latin typeface="Arial" charset="0"/>
              </a:endParaRPr>
            </a:p>
            <a:p>
              <a:pPr marL="808038" lvl="2" indent="-366713" eaLnBrk="1" hangingPunct="1">
                <a:lnSpc>
                  <a:spcPct val="90000"/>
                </a:lnSpc>
                <a:spcBef>
                  <a:spcPts val="1200"/>
                </a:spcBef>
                <a:buFont typeface="Courier New" charset="0"/>
                <a:buChar char="o"/>
              </a:pPr>
              <a:r>
                <a:rPr lang="en-GB" sz="2200" b="1" dirty="0" smtClean="0">
                  <a:latin typeface="Arial" charset="0"/>
                </a:rPr>
                <a:t>At least </a:t>
              </a:r>
              <a:r>
                <a:rPr lang="en-GB" sz="2200" b="1" dirty="0" smtClean="0">
                  <a:solidFill>
                    <a:srgbClr val="AB0000"/>
                  </a:solidFill>
                  <a:latin typeface="Arial" charset="0"/>
                </a:rPr>
                <a:t>80</a:t>
              </a:r>
              <a:r>
                <a:rPr lang="en-GB" sz="2200" b="1" dirty="0" smtClean="0">
                  <a:latin typeface="Arial" charset="0"/>
                </a:rPr>
                <a:t>% </a:t>
              </a:r>
              <a:r>
                <a:rPr lang="en-GB" sz="2200" dirty="0" smtClean="0">
                  <a:latin typeface="Arial" charset="0"/>
                </a:rPr>
                <a:t>of production being </a:t>
              </a:r>
              <a:r>
                <a:rPr lang="en-GB" sz="2200" b="1" dirty="0" smtClean="0">
                  <a:solidFill>
                    <a:srgbClr val="AB0000"/>
                  </a:solidFill>
                  <a:latin typeface="Arial" charset="0"/>
                </a:rPr>
                <a:t>exported</a:t>
              </a:r>
              <a:endParaRPr lang="en-GB" sz="2200" b="1" dirty="0">
                <a:solidFill>
                  <a:srgbClr val="AB0000"/>
                </a:solidFill>
                <a:latin typeface="Arial" charset="0"/>
              </a:endParaRPr>
            </a:p>
          </p:txBody>
        </p:sp>
        <p:pic>
          <p:nvPicPr>
            <p:cNvPr id="11275" name="Image 11" descr="http://www.investinsenegal.com/IMG/arton93.jpg?1334074911"/>
            <p:cNvPicPr>
              <a:picLocks noChangeAspect="1" noChangeArrowheads="1"/>
            </p:cNvPicPr>
            <p:nvPr/>
          </p:nvPicPr>
          <p:blipFill>
            <a:blip r:embed="rId6">
              <a:extLst>
                <a:ext uri="{28A0092B-C50C-407E-A947-70E740481C1C}">
                  <a14:useLocalDpi xmlns="" xmlns:a14="http://schemas.microsoft.com/office/drawing/2010/main" val="0"/>
                </a:ext>
              </a:extLst>
            </a:blip>
            <a:srcRect/>
            <a:stretch>
              <a:fillRect/>
            </a:stretch>
          </p:blipFill>
          <p:spPr bwMode="auto">
            <a:xfrm>
              <a:off x="7237413" y="2060575"/>
              <a:ext cx="1236662" cy="865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276" name="Image 12" descr="https://encrypted-tbn1.gstatic.com/images?q=tbn:ANd9GcSamEj9rsWtG6TdpKFgHNoeoxgs3Yqrs8OSKrW5YA2BF0RaJQuOOg"/>
            <p:cNvPicPr>
              <a:picLocks noChangeAspect="1" noChangeArrowheads="1"/>
            </p:cNvPicPr>
            <p:nvPr/>
          </p:nvPicPr>
          <p:blipFill>
            <a:blip r:embed="rId7">
              <a:extLst>
                <a:ext uri="{28A0092B-C50C-407E-A947-70E740481C1C}">
                  <a14:useLocalDpi xmlns="" xmlns:a14="http://schemas.microsoft.com/office/drawing/2010/main" val="0"/>
                </a:ext>
              </a:extLst>
            </a:blip>
            <a:srcRect/>
            <a:stretch>
              <a:fillRect/>
            </a:stretch>
          </p:blipFill>
          <p:spPr bwMode="auto">
            <a:xfrm>
              <a:off x="7886700" y="2492375"/>
              <a:ext cx="1146175" cy="865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1277" name="Image 13" descr="http://www.agrifinfacility.org/sites/agrifinfacility.org/files/Images/Newsletter%204_tech%20summary.jpg"/>
            <p:cNvPicPr>
              <a:picLocks noChangeAspect="1" noChangeArrowheads="1"/>
            </p:cNvPicPr>
            <p:nvPr/>
          </p:nvPicPr>
          <p:blipFill>
            <a:blip r:embed="rId8">
              <a:extLst>
                <a:ext uri="{28A0092B-C50C-407E-A947-70E740481C1C}">
                  <a14:useLocalDpi xmlns="" xmlns:a14="http://schemas.microsoft.com/office/drawing/2010/main" val="0"/>
                </a:ext>
              </a:extLst>
            </a:blip>
            <a:srcRect/>
            <a:stretch>
              <a:fillRect/>
            </a:stretch>
          </p:blipFill>
          <p:spPr bwMode="auto">
            <a:xfrm>
              <a:off x="6732588" y="1700213"/>
              <a:ext cx="1366837" cy="865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6" name="Rectangle 15"/>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Investor</a:t>
            </a:r>
            <a:r>
              <a:rPr lang="fr-FR" sz="4000" b="1" dirty="0" smtClean="0">
                <a:solidFill>
                  <a:srgbClr val="FF0000"/>
                </a:solidFill>
                <a:cs typeface="Arial" pitchFamily="34" charset="0"/>
              </a:rPr>
              <a:t> services</a:t>
            </a:r>
            <a:endParaRPr lang="fr-FR" sz="4000" b="1" dirty="0" smtClean="0">
              <a:solidFill>
                <a:srgbClr val="AB0000"/>
              </a:solidFill>
              <a:cs typeface="Arial" pitchFamily="34" charset="0"/>
            </a:endParaRPr>
          </a:p>
        </p:txBody>
      </p:sp>
      <p:sp>
        <p:nvSpPr>
          <p:cNvPr id="17" name="Rectangle 16"/>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8" name="Ellipse 17"/>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1627503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heckerboard(across)">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checkerboard(across)">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ChangeArrowheads="1"/>
          </p:cNvSpPr>
          <p:nvPr/>
        </p:nvSpPr>
        <p:spPr bwMode="auto">
          <a:xfrm>
            <a:off x="36513" y="1413193"/>
            <a:ext cx="4751387" cy="4632037"/>
          </a:xfrm>
          <a:prstGeom prst="rect">
            <a:avLst/>
          </a:prstGeom>
          <a:noFill/>
          <a:ln w="12700" cap="sq">
            <a:noFill/>
            <a:miter lim="800000"/>
            <a:headEnd type="none" w="sm" len="sm"/>
            <a:tailEnd type="none" w="sm" len="sm"/>
          </a:ln>
        </p:spPr>
        <p:txBody>
          <a:bodyPr>
            <a:spAutoFit/>
          </a:bodyPr>
          <a:lstStyle/>
          <a:p>
            <a:pPr marL="457200" indent="-457200" fontAlgn="auto">
              <a:spcBef>
                <a:spcPts val="0"/>
              </a:spcBef>
              <a:spcAft>
                <a:spcPts val="600"/>
              </a:spcAft>
              <a:buClr>
                <a:srgbClr val="CC6600"/>
              </a:buClr>
              <a:defRPr/>
            </a:pPr>
            <a:r>
              <a:rPr lang="fr-FR" sz="2000" b="1" dirty="0" smtClean="0">
                <a:latin typeface="Cambria" pitchFamily="18" charset="0"/>
              </a:rPr>
              <a:t>  </a:t>
            </a:r>
            <a:r>
              <a:rPr lang="fr-FR" sz="2000" b="1" dirty="0" smtClean="0">
                <a:solidFill>
                  <a:srgbClr val="000090"/>
                </a:solidFill>
                <a:latin typeface="Cambria" pitchFamily="18" charset="0"/>
              </a:rPr>
              <a:t> </a:t>
            </a:r>
            <a:endParaRPr lang="en-US" sz="1600" b="1" dirty="0" smtClean="0">
              <a:latin typeface="Cambria" pitchFamily="18" charset="0"/>
            </a:endParaRPr>
          </a:p>
          <a:p>
            <a:pPr marL="450850" lvl="2" indent="-273050" fontAlgn="auto">
              <a:spcBef>
                <a:spcPts val="0"/>
              </a:spcBef>
              <a:spcAft>
                <a:spcPts val="600"/>
              </a:spcAft>
              <a:buFont typeface="Wingdings" pitchFamily="2" charset="2"/>
              <a:buChar char="§"/>
              <a:defRPr/>
            </a:pPr>
            <a:r>
              <a:rPr lang="en-GB" sz="2000" b="1" dirty="0" smtClean="0">
                <a:solidFill>
                  <a:srgbClr val="FF0000"/>
                </a:solidFill>
                <a:latin typeface="Cambria" pitchFamily="18" charset="0"/>
              </a:rPr>
              <a:t>No discrimination </a:t>
            </a:r>
            <a:r>
              <a:rPr lang="en-GB" sz="2000" dirty="0" smtClean="0">
                <a:latin typeface="Cambria" pitchFamily="18" charset="0"/>
              </a:rPr>
              <a:t>between  national  foreign companies</a:t>
            </a:r>
            <a:r>
              <a:rPr lang="fr-FR" sz="2000" dirty="0" smtClean="0">
                <a:latin typeface="Cambria" pitchFamily="18" charset="0"/>
              </a:rPr>
              <a:t> </a:t>
            </a:r>
            <a:endParaRPr lang="fr-FR" sz="2000" dirty="0">
              <a:latin typeface="Cambria" pitchFamily="18" charset="0"/>
            </a:endParaRPr>
          </a:p>
          <a:p>
            <a:pPr marL="450850" lvl="2" indent="-273050" fontAlgn="auto">
              <a:spcBef>
                <a:spcPts val="0"/>
              </a:spcBef>
              <a:spcAft>
                <a:spcPts val="600"/>
              </a:spcAft>
              <a:buFont typeface="Wingdings" pitchFamily="2" charset="2"/>
              <a:buChar char="§"/>
              <a:defRPr/>
            </a:pPr>
            <a:r>
              <a:rPr lang="en-GB" sz="2000" b="1" dirty="0" smtClean="0">
                <a:solidFill>
                  <a:srgbClr val="FF0000"/>
                </a:solidFill>
                <a:latin typeface="Cambria" pitchFamily="18" charset="0"/>
              </a:rPr>
              <a:t>No limitation </a:t>
            </a:r>
            <a:r>
              <a:rPr lang="en-GB" sz="2000" dirty="0" smtClean="0">
                <a:latin typeface="Cambria" pitchFamily="18" charset="0"/>
              </a:rPr>
              <a:t>upon the number of foreign employee to hire</a:t>
            </a:r>
            <a:endParaRPr lang="en-GB" sz="2000" dirty="0">
              <a:latin typeface="Cambria" pitchFamily="18" charset="0"/>
            </a:endParaRPr>
          </a:p>
          <a:p>
            <a:pPr marL="450850" lvl="2" indent="-273050" fontAlgn="auto">
              <a:spcBef>
                <a:spcPts val="0"/>
              </a:spcBef>
              <a:spcAft>
                <a:spcPts val="600"/>
              </a:spcAft>
              <a:buFont typeface="Wingdings" pitchFamily="2" charset="2"/>
              <a:buChar char="§"/>
              <a:defRPr/>
            </a:pPr>
            <a:r>
              <a:rPr lang="en-US" sz="2000" b="1" dirty="0" smtClean="0">
                <a:solidFill>
                  <a:srgbClr val="FF0000"/>
                </a:solidFill>
                <a:latin typeface="Cambria" pitchFamily="18" charset="0"/>
              </a:rPr>
              <a:t>Guaranty and protection </a:t>
            </a:r>
            <a:r>
              <a:rPr lang="en-US" sz="2000" dirty="0" smtClean="0">
                <a:latin typeface="Cambria" pitchFamily="18" charset="0"/>
              </a:rPr>
              <a:t>of </a:t>
            </a:r>
            <a:r>
              <a:rPr lang="en-US" sz="2000" dirty="0" err="1" smtClean="0">
                <a:latin typeface="Cambria" pitchFamily="18" charset="0"/>
              </a:rPr>
              <a:t>proprety</a:t>
            </a:r>
            <a:r>
              <a:rPr lang="en-US" sz="2000" dirty="0" smtClean="0">
                <a:latin typeface="Cambria" pitchFamily="18" charset="0"/>
              </a:rPr>
              <a:t> rights</a:t>
            </a:r>
            <a:endParaRPr lang="en-US" sz="2000" dirty="0">
              <a:latin typeface="Cambria" pitchFamily="18" charset="0"/>
            </a:endParaRPr>
          </a:p>
          <a:p>
            <a:pPr marL="450850" lvl="2" indent="-273050" fontAlgn="auto">
              <a:spcBef>
                <a:spcPts val="0"/>
              </a:spcBef>
              <a:spcAft>
                <a:spcPts val="600"/>
              </a:spcAft>
              <a:buFont typeface="Wingdings" pitchFamily="2" charset="2"/>
              <a:buChar char="§"/>
              <a:defRPr/>
            </a:pPr>
            <a:r>
              <a:rPr lang="en-US" sz="2000" b="1" dirty="0" smtClean="0">
                <a:solidFill>
                  <a:srgbClr val="FF0000"/>
                </a:solidFill>
                <a:latin typeface="Cambria" pitchFamily="18" charset="0"/>
              </a:rPr>
              <a:t>Guaranty to  </a:t>
            </a:r>
            <a:r>
              <a:rPr lang="en-US" sz="2000" dirty="0">
                <a:solidFill>
                  <a:srgbClr val="000000"/>
                </a:solidFill>
                <a:latin typeface="Cambria" pitchFamily="18" charset="0"/>
              </a:rPr>
              <a:t>Access </a:t>
            </a:r>
            <a:r>
              <a:rPr lang="en-US" sz="2000" dirty="0" smtClean="0">
                <a:latin typeface="Cambria" pitchFamily="18" charset="0"/>
              </a:rPr>
              <a:t>to foreign currencies </a:t>
            </a:r>
          </a:p>
          <a:p>
            <a:pPr marL="450850" lvl="2" indent="-273050">
              <a:spcAft>
                <a:spcPts val="600"/>
              </a:spcAft>
              <a:buFont typeface="Wingdings" pitchFamily="2" charset="2"/>
              <a:buChar char="§"/>
              <a:defRPr/>
            </a:pPr>
            <a:r>
              <a:rPr lang="en-US" sz="2000" b="1" dirty="0" smtClean="0">
                <a:solidFill>
                  <a:srgbClr val="FF0000"/>
                </a:solidFill>
                <a:latin typeface="Cambria" pitchFamily="18" charset="0"/>
              </a:rPr>
              <a:t>Guaranty to </a:t>
            </a:r>
            <a:r>
              <a:rPr lang="en-US" sz="2000" dirty="0" smtClean="0">
                <a:solidFill>
                  <a:srgbClr val="000000"/>
                </a:solidFill>
                <a:latin typeface="Cambria" pitchFamily="18" charset="0"/>
              </a:rPr>
              <a:t>transfer </a:t>
            </a:r>
            <a:r>
              <a:rPr lang="en-US" sz="2000" dirty="0" smtClean="0">
                <a:latin typeface="Cambria" pitchFamily="18" charset="0"/>
              </a:rPr>
              <a:t>capital and benefits</a:t>
            </a:r>
            <a:endParaRPr lang="en-US" sz="2000" dirty="0">
              <a:latin typeface="Cambria" pitchFamily="18" charset="0"/>
            </a:endParaRPr>
          </a:p>
          <a:p>
            <a:pPr marL="450850" lvl="2" indent="-273050" fontAlgn="auto">
              <a:spcBef>
                <a:spcPts val="0"/>
              </a:spcBef>
              <a:spcAft>
                <a:spcPts val="600"/>
              </a:spcAft>
              <a:buFont typeface="Wingdings" pitchFamily="2" charset="2"/>
              <a:buChar char="§"/>
              <a:defRPr/>
            </a:pPr>
            <a:r>
              <a:rPr lang="en-US" sz="2000" dirty="0" smtClean="0">
                <a:latin typeface="Cambria" pitchFamily="18" charset="0"/>
              </a:rPr>
              <a:t>Existing tax and on tax </a:t>
            </a:r>
            <a:r>
              <a:rPr lang="en-US" sz="2000" b="1" dirty="0" smtClean="0">
                <a:solidFill>
                  <a:srgbClr val="FF0000"/>
                </a:solidFill>
                <a:latin typeface="Cambria" pitchFamily="18" charset="0"/>
              </a:rPr>
              <a:t>advantages</a:t>
            </a:r>
            <a:endParaRPr lang="en-US" sz="2000" b="1" dirty="0" smtClean="0">
              <a:solidFill>
                <a:srgbClr val="FF0000"/>
              </a:solidFill>
              <a:latin typeface="Cambria" pitchFamily="18" charset="0"/>
            </a:endParaRPr>
          </a:p>
          <a:p>
            <a:pPr marL="450850" lvl="2" indent="-273050" fontAlgn="auto">
              <a:spcBef>
                <a:spcPts val="0"/>
              </a:spcBef>
              <a:spcAft>
                <a:spcPts val="600"/>
              </a:spcAft>
              <a:defRPr/>
            </a:pPr>
            <a:endParaRPr kumimoji="1" lang="en-US" sz="2000" dirty="0">
              <a:latin typeface="Cambria" pitchFamily="18" charset="0"/>
              <a:cs typeface="+mn-cs"/>
            </a:endParaRPr>
          </a:p>
        </p:txBody>
      </p:sp>
      <p:sp>
        <p:nvSpPr>
          <p:cNvPr id="5" name="Rectangle 15"/>
          <p:cNvSpPr>
            <a:spLocks noChangeArrowheads="1"/>
          </p:cNvSpPr>
          <p:nvPr/>
        </p:nvSpPr>
        <p:spPr bwMode="auto">
          <a:xfrm>
            <a:off x="4697412" y="1916832"/>
            <a:ext cx="4339084" cy="3888432"/>
          </a:xfrm>
          <a:prstGeom prst="rect">
            <a:avLst/>
          </a:prstGeom>
          <a:blipFill dpi="0" rotWithShape="1">
            <a:blip r:embed="rId3" cstate="print">
              <a:alphaModFix amt="72000"/>
            </a:blip>
            <a:srcRect/>
            <a:stretch>
              <a:fillRect b="-36020"/>
            </a:stretch>
          </a:blipFill>
          <a:ln w="9525">
            <a:noFill/>
            <a:miter lim="800000"/>
            <a:headEnd/>
            <a:tailEnd/>
          </a:ln>
          <a:effectLst/>
        </p:spPr>
        <p:txBody>
          <a:bodyPr wrap="none" anchor="ctr"/>
          <a:lstStyle/>
          <a:p>
            <a:pPr algn="ctr">
              <a:defRPr/>
            </a:pPr>
            <a:endParaRPr lang="fr-FR" dirty="0">
              <a:solidFill>
                <a:schemeClr val="accent6"/>
              </a:solidFill>
              <a:latin typeface="Arial" charset="0"/>
              <a:cs typeface="+mn-cs"/>
            </a:endParaRPr>
          </a:p>
        </p:txBody>
      </p:sp>
      <p:sp>
        <p:nvSpPr>
          <p:cNvPr id="8" name="Rectangle 7"/>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Investor</a:t>
            </a:r>
            <a:r>
              <a:rPr lang="fr-FR" sz="4000" b="1" dirty="0" smtClean="0">
                <a:solidFill>
                  <a:srgbClr val="FF0000"/>
                </a:solidFill>
                <a:cs typeface="Arial" pitchFamily="34" charset="0"/>
              </a:rPr>
              <a:t> services</a:t>
            </a:r>
            <a:endParaRPr lang="fr-FR" sz="4000" b="1" dirty="0" smtClean="0">
              <a:solidFill>
                <a:srgbClr val="AB0000"/>
              </a:solidFill>
              <a:cs typeface="Arial" pitchFamily="34" charset="0"/>
            </a:endParaRPr>
          </a:p>
        </p:txBody>
      </p:sp>
      <p:sp>
        <p:nvSpPr>
          <p:cNvPr id="9" name="Rectangle 8"/>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0" name="Ellipse 9"/>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2653536729"/>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Title 1"/>
          <p:cNvSpPr txBox="1">
            <a:spLocks/>
          </p:cNvSpPr>
          <p:nvPr>
            <p:custDataLst>
              <p:tags r:id="rId1"/>
            </p:custDataLst>
          </p:nvPr>
        </p:nvSpPr>
        <p:spPr bwMode="auto">
          <a:xfrm>
            <a:off x="537217" y="122206"/>
            <a:ext cx="8615612" cy="58257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lvl1pPr algn="l" defTabSz="913526" rtl="0" eaLnBrk="1" fontAlgn="base" hangingPunct="1">
              <a:spcBef>
                <a:spcPct val="0"/>
              </a:spcBef>
              <a:spcAft>
                <a:spcPct val="0"/>
              </a:spcAft>
              <a:tabLst>
                <a:tab pos="364439" algn="l"/>
              </a:tabLst>
              <a:defRPr sz="20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defTabSz="457200" eaLnBrk="0" hangingPunct="0">
              <a:defRPr/>
            </a:pPr>
            <a:r>
              <a:rPr lang="fr-FR" sz="3600" dirty="0">
                <a:solidFill>
                  <a:srgbClr val="000000"/>
                </a:solidFill>
                <a:latin typeface="+mn-lt"/>
              </a:rPr>
              <a:t>2020-</a:t>
            </a:r>
            <a:r>
              <a:rPr lang="fr-FR" sz="3600" dirty="0" smtClean="0">
                <a:solidFill>
                  <a:srgbClr val="000000"/>
                </a:solidFill>
                <a:latin typeface="+mn-lt"/>
              </a:rPr>
              <a:t>2025 </a:t>
            </a:r>
            <a:r>
              <a:rPr lang="fr-FR" sz="3600" dirty="0" smtClean="0">
                <a:solidFill>
                  <a:srgbClr val="AB0000"/>
                </a:solidFill>
                <a:latin typeface="+mn-lt"/>
              </a:rPr>
              <a:t>I</a:t>
            </a:r>
            <a:r>
              <a:rPr kumimoji="0" lang="fr-FR" sz="3600" b="1" i="0" u="none" strike="noStrike" kern="1200" cap="none" spc="0" normalizeH="0" baseline="0" noProof="0" dirty="0" err="1" smtClean="0">
                <a:ln>
                  <a:noFill/>
                </a:ln>
                <a:solidFill>
                  <a:srgbClr val="AB0000"/>
                </a:solidFill>
                <a:effectLst/>
                <a:uLnTx/>
                <a:uFillTx/>
                <a:latin typeface="+mn-lt"/>
              </a:rPr>
              <a:t>nfrastructure</a:t>
            </a:r>
            <a:r>
              <a:rPr lang="fr-FR" sz="3600" dirty="0" smtClean="0">
                <a:solidFill>
                  <a:srgbClr val="AB0000"/>
                </a:solidFill>
                <a:latin typeface="+mn-lt"/>
              </a:rPr>
              <a:t>s Vision </a:t>
            </a:r>
            <a:endParaRPr kumimoji="0" lang="fr-FR" sz="3600" b="1" i="0" u="none" strike="noStrike" kern="1200" cap="none" spc="0" normalizeH="0" baseline="0" noProof="0" dirty="0">
              <a:ln>
                <a:noFill/>
              </a:ln>
              <a:solidFill>
                <a:srgbClr val="AB0000"/>
              </a:solidFill>
              <a:effectLst/>
              <a:uLnTx/>
              <a:uFillTx/>
              <a:latin typeface="+mn-lt"/>
            </a:endParaRPr>
          </a:p>
        </p:txBody>
      </p:sp>
      <p:grpSp>
        <p:nvGrpSpPr>
          <p:cNvPr id="277" name="Groupe 276"/>
          <p:cNvGrpSpPr/>
          <p:nvPr/>
        </p:nvGrpSpPr>
        <p:grpSpPr>
          <a:xfrm>
            <a:off x="131012" y="664881"/>
            <a:ext cx="8618199" cy="5809166"/>
            <a:chOff x="131012" y="664881"/>
            <a:chExt cx="8618199" cy="5809166"/>
          </a:xfrm>
        </p:grpSpPr>
        <p:sp>
          <p:nvSpPr>
            <p:cNvPr id="142" name="Freeform 7"/>
            <p:cNvSpPr>
              <a:spLocks noEditPoints="1"/>
            </p:cNvSpPr>
            <p:nvPr>
              <p:custDataLst>
                <p:tags r:id="rId2"/>
              </p:custDataLst>
            </p:nvPr>
          </p:nvSpPr>
          <p:spPr bwMode="gray">
            <a:xfrm>
              <a:off x="681014" y="1025869"/>
              <a:ext cx="7432488" cy="5279112"/>
            </a:xfrm>
            <a:custGeom>
              <a:avLst/>
              <a:gdLst>
                <a:gd name="T0" fmla="*/ 2130 w 6084"/>
                <a:gd name="T1" fmla="*/ 2886 h 4314"/>
                <a:gd name="T2" fmla="*/ 1464 w 6084"/>
                <a:gd name="T3" fmla="*/ 3054 h 4314"/>
                <a:gd name="T4" fmla="*/ 882 w 6084"/>
                <a:gd name="T5" fmla="*/ 2922 h 4314"/>
                <a:gd name="T6" fmla="*/ 864 w 6084"/>
                <a:gd name="T7" fmla="*/ 2826 h 4314"/>
                <a:gd name="T8" fmla="*/ 786 w 6084"/>
                <a:gd name="T9" fmla="*/ 2652 h 4314"/>
                <a:gd name="T10" fmla="*/ 666 w 6084"/>
                <a:gd name="T11" fmla="*/ 2484 h 4314"/>
                <a:gd name="T12" fmla="*/ 414 w 6084"/>
                <a:gd name="T13" fmla="*/ 2100 h 4314"/>
                <a:gd name="T14" fmla="*/ 102 w 6084"/>
                <a:gd name="T15" fmla="*/ 1986 h 4314"/>
                <a:gd name="T16" fmla="*/ 24 w 6084"/>
                <a:gd name="T17" fmla="*/ 1908 h 4314"/>
                <a:gd name="T18" fmla="*/ 342 w 6084"/>
                <a:gd name="T19" fmla="*/ 1776 h 4314"/>
                <a:gd name="T20" fmla="*/ 798 w 6084"/>
                <a:gd name="T21" fmla="*/ 1200 h 4314"/>
                <a:gd name="T22" fmla="*/ 1050 w 6084"/>
                <a:gd name="T23" fmla="*/ 600 h 4314"/>
                <a:gd name="T24" fmla="*/ 1188 w 6084"/>
                <a:gd name="T25" fmla="*/ 324 h 4314"/>
                <a:gd name="T26" fmla="*/ 1416 w 6084"/>
                <a:gd name="T27" fmla="*/ 144 h 4314"/>
                <a:gd name="T28" fmla="*/ 1800 w 6084"/>
                <a:gd name="T29" fmla="*/ 210 h 4314"/>
                <a:gd name="T30" fmla="*/ 2070 w 6084"/>
                <a:gd name="T31" fmla="*/ 126 h 4314"/>
                <a:gd name="T32" fmla="*/ 2394 w 6084"/>
                <a:gd name="T33" fmla="*/ 90 h 4314"/>
                <a:gd name="T34" fmla="*/ 2550 w 6084"/>
                <a:gd name="T35" fmla="*/ 48 h 4314"/>
                <a:gd name="T36" fmla="*/ 2766 w 6084"/>
                <a:gd name="T37" fmla="*/ 42 h 4314"/>
                <a:gd name="T38" fmla="*/ 2994 w 6084"/>
                <a:gd name="T39" fmla="*/ 72 h 4314"/>
                <a:gd name="T40" fmla="*/ 3234 w 6084"/>
                <a:gd name="T41" fmla="*/ 168 h 4314"/>
                <a:gd name="T42" fmla="*/ 3462 w 6084"/>
                <a:gd name="T43" fmla="*/ 330 h 4314"/>
                <a:gd name="T44" fmla="*/ 3594 w 6084"/>
                <a:gd name="T45" fmla="*/ 486 h 4314"/>
                <a:gd name="T46" fmla="*/ 3786 w 6084"/>
                <a:gd name="T47" fmla="*/ 582 h 4314"/>
                <a:gd name="T48" fmla="*/ 4020 w 6084"/>
                <a:gd name="T49" fmla="*/ 582 h 4314"/>
                <a:gd name="T50" fmla="*/ 4182 w 6084"/>
                <a:gd name="T51" fmla="*/ 894 h 4314"/>
                <a:gd name="T52" fmla="*/ 4368 w 6084"/>
                <a:gd name="T53" fmla="*/ 1182 h 4314"/>
                <a:gd name="T54" fmla="*/ 4626 w 6084"/>
                <a:gd name="T55" fmla="*/ 1404 h 4314"/>
                <a:gd name="T56" fmla="*/ 4782 w 6084"/>
                <a:gd name="T57" fmla="*/ 1566 h 4314"/>
                <a:gd name="T58" fmla="*/ 5214 w 6084"/>
                <a:gd name="T59" fmla="*/ 1920 h 4314"/>
                <a:gd name="T60" fmla="*/ 5232 w 6084"/>
                <a:gd name="T61" fmla="*/ 2112 h 4314"/>
                <a:gd name="T62" fmla="*/ 5346 w 6084"/>
                <a:gd name="T63" fmla="*/ 2322 h 4314"/>
                <a:gd name="T64" fmla="*/ 5508 w 6084"/>
                <a:gd name="T65" fmla="*/ 2748 h 4314"/>
                <a:gd name="T66" fmla="*/ 5580 w 6084"/>
                <a:gd name="T67" fmla="*/ 3198 h 4314"/>
                <a:gd name="T68" fmla="*/ 5772 w 6084"/>
                <a:gd name="T69" fmla="*/ 3258 h 4314"/>
                <a:gd name="T70" fmla="*/ 5934 w 6084"/>
                <a:gd name="T71" fmla="*/ 3450 h 4314"/>
                <a:gd name="T72" fmla="*/ 6048 w 6084"/>
                <a:gd name="T73" fmla="*/ 3672 h 4314"/>
                <a:gd name="T74" fmla="*/ 6054 w 6084"/>
                <a:gd name="T75" fmla="*/ 3834 h 4314"/>
                <a:gd name="T76" fmla="*/ 6012 w 6084"/>
                <a:gd name="T77" fmla="*/ 4026 h 4314"/>
                <a:gd name="T78" fmla="*/ 6078 w 6084"/>
                <a:gd name="T79" fmla="*/ 4146 h 4314"/>
                <a:gd name="T80" fmla="*/ 5562 w 6084"/>
                <a:gd name="T81" fmla="*/ 4206 h 4314"/>
                <a:gd name="T82" fmla="*/ 5112 w 6084"/>
                <a:gd name="T83" fmla="*/ 4314 h 4314"/>
                <a:gd name="T84" fmla="*/ 4740 w 6084"/>
                <a:gd name="T85" fmla="*/ 4194 h 4314"/>
                <a:gd name="T86" fmla="*/ 4446 w 6084"/>
                <a:gd name="T87" fmla="*/ 4146 h 4314"/>
                <a:gd name="T88" fmla="*/ 4290 w 6084"/>
                <a:gd name="T89" fmla="*/ 3990 h 4314"/>
                <a:gd name="T90" fmla="*/ 3828 w 6084"/>
                <a:gd name="T91" fmla="*/ 3954 h 4314"/>
                <a:gd name="T92" fmla="*/ 2586 w 6084"/>
                <a:gd name="T93" fmla="*/ 3948 h 4314"/>
                <a:gd name="T94" fmla="*/ 2022 w 6084"/>
                <a:gd name="T95" fmla="*/ 4116 h 4314"/>
                <a:gd name="T96" fmla="*/ 1380 w 6084"/>
                <a:gd name="T97" fmla="*/ 4170 h 4314"/>
                <a:gd name="T98" fmla="*/ 870 w 6084"/>
                <a:gd name="T99" fmla="*/ 4266 h 4314"/>
                <a:gd name="T100" fmla="*/ 834 w 6084"/>
                <a:gd name="T101" fmla="*/ 4080 h 4314"/>
                <a:gd name="T102" fmla="*/ 1116 w 6084"/>
                <a:gd name="T103" fmla="*/ 4056 h 4314"/>
                <a:gd name="T104" fmla="*/ 840 w 6084"/>
                <a:gd name="T105" fmla="*/ 4026 h 4314"/>
                <a:gd name="T106" fmla="*/ 738 w 6084"/>
                <a:gd name="T107" fmla="*/ 3840 h 4314"/>
                <a:gd name="T108" fmla="*/ 810 w 6084"/>
                <a:gd name="T109" fmla="*/ 3498 h 4314"/>
                <a:gd name="T110" fmla="*/ 1698 w 6084"/>
                <a:gd name="T111" fmla="*/ 3474 h 4314"/>
                <a:gd name="T112" fmla="*/ 2148 w 6084"/>
                <a:gd name="T113" fmla="*/ 3294 h 4314"/>
                <a:gd name="T114" fmla="*/ 2538 w 6084"/>
                <a:gd name="T115" fmla="*/ 3174 h 4314"/>
                <a:gd name="T116" fmla="*/ 2988 w 6084"/>
                <a:gd name="T117" fmla="*/ 3342 h 4314"/>
                <a:gd name="T118" fmla="*/ 3456 w 6084"/>
                <a:gd name="T119" fmla="*/ 3354 h 4314"/>
                <a:gd name="T120" fmla="*/ 3426 w 6084"/>
                <a:gd name="T121" fmla="*/ 3090 h 4314"/>
                <a:gd name="T122" fmla="*/ 2844 w 6084"/>
                <a:gd name="T123" fmla="*/ 2994 h 4314"/>
                <a:gd name="T124" fmla="*/ 876 w 6084"/>
                <a:gd name="T125" fmla="*/ 2952 h 4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84" h="4314">
                  <a:moveTo>
                    <a:pt x="2664" y="2886"/>
                  </a:moveTo>
                  <a:lnTo>
                    <a:pt x="2652" y="2880"/>
                  </a:lnTo>
                  <a:lnTo>
                    <a:pt x="2634" y="2868"/>
                  </a:lnTo>
                  <a:lnTo>
                    <a:pt x="2604" y="2850"/>
                  </a:lnTo>
                  <a:lnTo>
                    <a:pt x="2592" y="2850"/>
                  </a:lnTo>
                  <a:lnTo>
                    <a:pt x="2586" y="2850"/>
                  </a:lnTo>
                  <a:lnTo>
                    <a:pt x="2574" y="2850"/>
                  </a:lnTo>
                  <a:lnTo>
                    <a:pt x="2550" y="2844"/>
                  </a:lnTo>
                  <a:lnTo>
                    <a:pt x="2532" y="2850"/>
                  </a:lnTo>
                  <a:lnTo>
                    <a:pt x="2520" y="2850"/>
                  </a:lnTo>
                  <a:lnTo>
                    <a:pt x="2514" y="2850"/>
                  </a:lnTo>
                  <a:lnTo>
                    <a:pt x="2508" y="2844"/>
                  </a:lnTo>
                  <a:lnTo>
                    <a:pt x="2496" y="2844"/>
                  </a:lnTo>
                  <a:lnTo>
                    <a:pt x="2484" y="2838"/>
                  </a:lnTo>
                  <a:lnTo>
                    <a:pt x="2478" y="2838"/>
                  </a:lnTo>
                  <a:lnTo>
                    <a:pt x="2448" y="2826"/>
                  </a:lnTo>
                  <a:lnTo>
                    <a:pt x="2424" y="2820"/>
                  </a:lnTo>
                  <a:lnTo>
                    <a:pt x="2418" y="2820"/>
                  </a:lnTo>
                  <a:lnTo>
                    <a:pt x="2406" y="2826"/>
                  </a:lnTo>
                  <a:lnTo>
                    <a:pt x="2400" y="2826"/>
                  </a:lnTo>
                  <a:lnTo>
                    <a:pt x="2388" y="2832"/>
                  </a:lnTo>
                  <a:lnTo>
                    <a:pt x="2358" y="2850"/>
                  </a:lnTo>
                  <a:lnTo>
                    <a:pt x="2334" y="2868"/>
                  </a:lnTo>
                  <a:lnTo>
                    <a:pt x="2310" y="2874"/>
                  </a:lnTo>
                  <a:lnTo>
                    <a:pt x="2280" y="2892"/>
                  </a:lnTo>
                  <a:lnTo>
                    <a:pt x="2262" y="2892"/>
                  </a:lnTo>
                  <a:lnTo>
                    <a:pt x="2256" y="2892"/>
                  </a:lnTo>
                  <a:lnTo>
                    <a:pt x="2214" y="2874"/>
                  </a:lnTo>
                  <a:lnTo>
                    <a:pt x="2196" y="2868"/>
                  </a:lnTo>
                  <a:lnTo>
                    <a:pt x="2178" y="2868"/>
                  </a:lnTo>
                  <a:lnTo>
                    <a:pt x="2154" y="2874"/>
                  </a:lnTo>
                  <a:lnTo>
                    <a:pt x="2148" y="2874"/>
                  </a:lnTo>
                  <a:lnTo>
                    <a:pt x="2136" y="2880"/>
                  </a:lnTo>
                  <a:lnTo>
                    <a:pt x="2130" y="2886"/>
                  </a:lnTo>
                  <a:lnTo>
                    <a:pt x="2124" y="2886"/>
                  </a:lnTo>
                  <a:lnTo>
                    <a:pt x="2094" y="2904"/>
                  </a:lnTo>
                  <a:lnTo>
                    <a:pt x="2088" y="2910"/>
                  </a:lnTo>
                  <a:lnTo>
                    <a:pt x="2064" y="2934"/>
                  </a:lnTo>
                  <a:lnTo>
                    <a:pt x="2058" y="2946"/>
                  </a:lnTo>
                  <a:lnTo>
                    <a:pt x="2052" y="2946"/>
                  </a:lnTo>
                  <a:lnTo>
                    <a:pt x="2046" y="2964"/>
                  </a:lnTo>
                  <a:lnTo>
                    <a:pt x="2034" y="3000"/>
                  </a:lnTo>
                  <a:lnTo>
                    <a:pt x="2028" y="3006"/>
                  </a:lnTo>
                  <a:lnTo>
                    <a:pt x="2022" y="3030"/>
                  </a:lnTo>
                  <a:lnTo>
                    <a:pt x="2022" y="3054"/>
                  </a:lnTo>
                  <a:lnTo>
                    <a:pt x="2016" y="3054"/>
                  </a:lnTo>
                  <a:lnTo>
                    <a:pt x="1992" y="3054"/>
                  </a:lnTo>
                  <a:lnTo>
                    <a:pt x="1986" y="3054"/>
                  </a:lnTo>
                  <a:lnTo>
                    <a:pt x="1974" y="3054"/>
                  </a:lnTo>
                  <a:lnTo>
                    <a:pt x="1956" y="3054"/>
                  </a:lnTo>
                  <a:lnTo>
                    <a:pt x="1920" y="3054"/>
                  </a:lnTo>
                  <a:lnTo>
                    <a:pt x="1884" y="3054"/>
                  </a:lnTo>
                  <a:lnTo>
                    <a:pt x="1758" y="3054"/>
                  </a:lnTo>
                  <a:lnTo>
                    <a:pt x="1752" y="3054"/>
                  </a:lnTo>
                  <a:lnTo>
                    <a:pt x="1680" y="3060"/>
                  </a:lnTo>
                  <a:lnTo>
                    <a:pt x="1662" y="3054"/>
                  </a:lnTo>
                  <a:lnTo>
                    <a:pt x="1656" y="3054"/>
                  </a:lnTo>
                  <a:lnTo>
                    <a:pt x="1632" y="3054"/>
                  </a:lnTo>
                  <a:lnTo>
                    <a:pt x="1620" y="3054"/>
                  </a:lnTo>
                  <a:lnTo>
                    <a:pt x="1614" y="3054"/>
                  </a:lnTo>
                  <a:lnTo>
                    <a:pt x="1536" y="3054"/>
                  </a:lnTo>
                  <a:lnTo>
                    <a:pt x="1530" y="3054"/>
                  </a:lnTo>
                  <a:lnTo>
                    <a:pt x="1524" y="3054"/>
                  </a:lnTo>
                  <a:lnTo>
                    <a:pt x="1518" y="3054"/>
                  </a:lnTo>
                  <a:lnTo>
                    <a:pt x="1512" y="3054"/>
                  </a:lnTo>
                  <a:lnTo>
                    <a:pt x="1506" y="3054"/>
                  </a:lnTo>
                  <a:lnTo>
                    <a:pt x="1482" y="3054"/>
                  </a:lnTo>
                  <a:lnTo>
                    <a:pt x="1464" y="3054"/>
                  </a:lnTo>
                  <a:lnTo>
                    <a:pt x="1458" y="3054"/>
                  </a:lnTo>
                  <a:lnTo>
                    <a:pt x="1422" y="3054"/>
                  </a:lnTo>
                  <a:lnTo>
                    <a:pt x="1380" y="3054"/>
                  </a:lnTo>
                  <a:lnTo>
                    <a:pt x="1254" y="3054"/>
                  </a:lnTo>
                  <a:lnTo>
                    <a:pt x="1206" y="3054"/>
                  </a:lnTo>
                  <a:lnTo>
                    <a:pt x="1200" y="3054"/>
                  </a:lnTo>
                  <a:lnTo>
                    <a:pt x="1182" y="3054"/>
                  </a:lnTo>
                  <a:lnTo>
                    <a:pt x="1176" y="3054"/>
                  </a:lnTo>
                  <a:lnTo>
                    <a:pt x="1128" y="3054"/>
                  </a:lnTo>
                  <a:lnTo>
                    <a:pt x="1080" y="3054"/>
                  </a:lnTo>
                  <a:lnTo>
                    <a:pt x="1074" y="3054"/>
                  </a:lnTo>
                  <a:lnTo>
                    <a:pt x="1068" y="3054"/>
                  </a:lnTo>
                  <a:lnTo>
                    <a:pt x="996" y="3054"/>
                  </a:lnTo>
                  <a:lnTo>
                    <a:pt x="972" y="3054"/>
                  </a:lnTo>
                  <a:lnTo>
                    <a:pt x="960" y="3054"/>
                  </a:lnTo>
                  <a:lnTo>
                    <a:pt x="954" y="3042"/>
                  </a:lnTo>
                  <a:lnTo>
                    <a:pt x="948" y="3042"/>
                  </a:lnTo>
                  <a:lnTo>
                    <a:pt x="948" y="3036"/>
                  </a:lnTo>
                  <a:lnTo>
                    <a:pt x="948" y="3030"/>
                  </a:lnTo>
                  <a:lnTo>
                    <a:pt x="942" y="3030"/>
                  </a:lnTo>
                  <a:lnTo>
                    <a:pt x="936" y="3024"/>
                  </a:lnTo>
                  <a:lnTo>
                    <a:pt x="930" y="3018"/>
                  </a:lnTo>
                  <a:lnTo>
                    <a:pt x="930" y="3012"/>
                  </a:lnTo>
                  <a:lnTo>
                    <a:pt x="918" y="3006"/>
                  </a:lnTo>
                  <a:lnTo>
                    <a:pt x="912" y="3000"/>
                  </a:lnTo>
                  <a:lnTo>
                    <a:pt x="906" y="3000"/>
                  </a:lnTo>
                  <a:lnTo>
                    <a:pt x="900" y="2988"/>
                  </a:lnTo>
                  <a:lnTo>
                    <a:pt x="894" y="2982"/>
                  </a:lnTo>
                  <a:lnTo>
                    <a:pt x="888" y="2976"/>
                  </a:lnTo>
                  <a:lnTo>
                    <a:pt x="888" y="2970"/>
                  </a:lnTo>
                  <a:lnTo>
                    <a:pt x="882" y="2964"/>
                  </a:lnTo>
                  <a:lnTo>
                    <a:pt x="876" y="2940"/>
                  </a:lnTo>
                  <a:lnTo>
                    <a:pt x="876" y="2934"/>
                  </a:lnTo>
                  <a:lnTo>
                    <a:pt x="882" y="2922"/>
                  </a:lnTo>
                  <a:lnTo>
                    <a:pt x="882" y="2910"/>
                  </a:lnTo>
                  <a:lnTo>
                    <a:pt x="882" y="2886"/>
                  </a:lnTo>
                  <a:lnTo>
                    <a:pt x="894" y="2874"/>
                  </a:lnTo>
                  <a:lnTo>
                    <a:pt x="900" y="2862"/>
                  </a:lnTo>
                  <a:lnTo>
                    <a:pt x="906" y="2856"/>
                  </a:lnTo>
                  <a:lnTo>
                    <a:pt x="942" y="2820"/>
                  </a:lnTo>
                  <a:lnTo>
                    <a:pt x="948" y="2814"/>
                  </a:lnTo>
                  <a:lnTo>
                    <a:pt x="960" y="2814"/>
                  </a:lnTo>
                  <a:lnTo>
                    <a:pt x="966" y="2814"/>
                  </a:lnTo>
                  <a:lnTo>
                    <a:pt x="960" y="2808"/>
                  </a:lnTo>
                  <a:lnTo>
                    <a:pt x="966" y="2808"/>
                  </a:lnTo>
                  <a:lnTo>
                    <a:pt x="972" y="2802"/>
                  </a:lnTo>
                  <a:lnTo>
                    <a:pt x="996" y="2802"/>
                  </a:lnTo>
                  <a:lnTo>
                    <a:pt x="996" y="2796"/>
                  </a:lnTo>
                  <a:lnTo>
                    <a:pt x="1008" y="2790"/>
                  </a:lnTo>
                  <a:lnTo>
                    <a:pt x="1002" y="2790"/>
                  </a:lnTo>
                  <a:lnTo>
                    <a:pt x="996" y="2784"/>
                  </a:lnTo>
                  <a:lnTo>
                    <a:pt x="990" y="2778"/>
                  </a:lnTo>
                  <a:lnTo>
                    <a:pt x="984" y="2784"/>
                  </a:lnTo>
                  <a:lnTo>
                    <a:pt x="978" y="2784"/>
                  </a:lnTo>
                  <a:lnTo>
                    <a:pt x="966" y="2784"/>
                  </a:lnTo>
                  <a:lnTo>
                    <a:pt x="960" y="2784"/>
                  </a:lnTo>
                  <a:lnTo>
                    <a:pt x="954" y="2784"/>
                  </a:lnTo>
                  <a:lnTo>
                    <a:pt x="948" y="2790"/>
                  </a:lnTo>
                  <a:lnTo>
                    <a:pt x="942" y="2790"/>
                  </a:lnTo>
                  <a:lnTo>
                    <a:pt x="936" y="2802"/>
                  </a:lnTo>
                  <a:lnTo>
                    <a:pt x="924" y="2802"/>
                  </a:lnTo>
                  <a:lnTo>
                    <a:pt x="918" y="2808"/>
                  </a:lnTo>
                  <a:lnTo>
                    <a:pt x="900" y="2808"/>
                  </a:lnTo>
                  <a:lnTo>
                    <a:pt x="894" y="2814"/>
                  </a:lnTo>
                  <a:lnTo>
                    <a:pt x="888" y="2814"/>
                  </a:lnTo>
                  <a:lnTo>
                    <a:pt x="876" y="2820"/>
                  </a:lnTo>
                  <a:lnTo>
                    <a:pt x="870" y="2820"/>
                  </a:lnTo>
                  <a:lnTo>
                    <a:pt x="864" y="2826"/>
                  </a:lnTo>
                  <a:lnTo>
                    <a:pt x="858" y="2832"/>
                  </a:lnTo>
                  <a:lnTo>
                    <a:pt x="840" y="2850"/>
                  </a:lnTo>
                  <a:lnTo>
                    <a:pt x="834" y="2844"/>
                  </a:lnTo>
                  <a:lnTo>
                    <a:pt x="834" y="2850"/>
                  </a:lnTo>
                  <a:lnTo>
                    <a:pt x="834" y="2856"/>
                  </a:lnTo>
                  <a:lnTo>
                    <a:pt x="828" y="2868"/>
                  </a:lnTo>
                  <a:lnTo>
                    <a:pt x="822" y="2868"/>
                  </a:lnTo>
                  <a:lnTo>
                    <a:pt x="816" y="2862"/>
                  </a:lnTo>
                  <a:lnTo>
                    <a:pt x="804" y="2850"/>
                  </a:lnTo>
                  <a:lnTo>
                    <a:pt x="798" y="2844"/>
                  </a:lnTo>
                  <a:lnTo>
                    <a:pt x="786" y="2832"/>
                  </a:lnTo>
                  <a:lnTo>
                    <a:pt x="786" y="2820"/>
                  </a:lnTo>
                  <a:lnTo>
                    <a:pt x="768" y="2802"/>
                  </a:lnTo>
                  <a:lnTo>
                    <a:pt x="768" y="2796"/>
                  </a:lnTo>
                  <a:lnTo>
                    <a:pt x="768" y="2790"/>
                  </a:lnTo>
                  <a:lnTo>
                    <a:pt x="774" y="2790"/>
                  </a:lnTo>
                  <a:lnTo>
                    <a:pt x="786" y="2784"/>
                  </a:lnTo>
                  <a:lnTo>
                    <a:pt x="786" y="2778"/>
                  </a:lnTo>
                  <a:lnTo>
                    <a:pt x="780" y="2754"/>
                  </a:lnTo>
                  <a:lnTo>
                    <a:pt x="774" y="2742"/>
                  </a:lnTo>
                  <a:lnTo>
                    <a:pt x="774" y="2736"/>
                  </a:lnTo>
                  <a:lnTo>
                    <a:pt x="774" y="2730"/>
                  </a:lnTo>
                  <a:lnTo>
                    <a:pt x="774" y="2724"/>
                  </a:lnTo>
                  <a:lnTo>
                    <a:pt x="774" y="2712"/>
                  </a:lnTo>
                  <a:lnTo>
                    <a:pt x="768" y="2706"/>
                  </a:lnTo>
                  <a:lnTo>
                    <a:pt x="768" y="2700"/>
                  </a:lnTo>
                  <a:lnTo>
                    <a:pt x="780" y="2688"/>
                  </a:lnTo>
                  <a:lnTo>
                    <a:pt x="780" y="2676"/>
                  </a:lnTo>
                  <a:lnTo>
                    <a:pt x="792" y="2670"/>
                  </a:lnTo>
                  <a:lnTo>
                    <a:pt x="798" y="2658"/>
                  </a:lnTo>
                  <a:lnTo>
                    <a:pt x="804" y="2658"/>
                  </a:lnTo>
                  <a:lnTo>
                    <a:pt x="804" y="2652"/>
                  </a:lnTo>
                  <a:lnTo>
                    <a:pt x="798" y="2652"/>
                  </a:lnTo>
                  <a:lnTo>
                    <a:pt x="786" y="2652"/>
                  </a:lnTo>
                  <a:lnTo>
                    <a:pt x="786" y="2658"/>
                  </a:lnTo>
                  <a:lnTo>
                    <a:pt x="768" y="2670"/>
                  </a:lnTo>
                  <a:lnTo>
                    <a:pt x="762" y="2676"/>
                  </a:lnTo>
                  <a:lnTo>
                    <a:pt x="756" y="2682"/>
                  </a:lnTo>
                  <a:lnTo>
                    <a:pt x="756" y="2694"/>
                  </a:lnTo>
                  <a:lnTo>
                    <a:pt x="756" y="2718"/>
                  </a:lnTo>
                  <a:lnTo>
                    <a:pt x="750" y="2742"/>
                  </a:lnTo>
                  <a:lnTo>
                    <a:pt x="756" y="2754"/>
                  </a:lnTo>
                  <a:lnTo>
                    <a:pt x="756" y="2766"/>
                  </a:lnTo>
                  <a:lnTo>
                    <a:pt x="756" y="2772"/>
                  </a:lnTo>
                  <a:lnTo>
                    <a:pt x="756" y="2796"/>
                  </a:lnTo>
                  <a:lnTo>
                    <a:pt x="756" y="2814"/>
                  </a:lnTo>
                  <a:lnTo>
                    <a:pt x="750" y="2814"/>
                  </a:lnTo>
                  <a:lnTo>
                    <a:pt x="750" y="2808"/>
                  </a:lnTo>
                  <a:lnTo>
                    <a:pt x="744" y="2802"/>
                  </a:lnTo>
                  <a:lnTo>
                    <a:pt x="744" y="2766"/>
                  </a:lnTo>
                  <a:lnTo>
                    <a:pt x="744" y="2742"/>
                  </a:lnTo>
                  <a:lnTo>
                    <a:pt x="738" y="2706"/>
                  </a:lnTo>
                  <a:lnTo>
                    <a:pt x="744" y="2640"/>
                  </a:lnTo>
                  <a:lnTo>
                    <a:pt x="744" y="2634"/>
                  </a:lnTo>
                  <a:lnTo>
                    <a:pt x="744" y="2628"/>
                  </a:lnTo>
                  <a:lnTo>
                    <a:pt x="744" y="2616"/>
                  </a:lnTo>
                  <a:lnTo>
                    <a:pt x="732" y="2586"/>
                  </a:lnTo>
                  <a:lnTo>
                    <a:pt x="720" y="2538"/>
                  </a:lnTo>
                  <a:lnTo>
                    <a:pt x="714" y="2526"/>
                  </a:lnTo>
                  <a:lnTo>
                    <a:pt x="702" y="2514"/>
                  </a:lnTo>
                  <a:lnTo>
                    <a:pt x="702" y="2508"/>
                  </a:lnTo>
                  <a:lnTo>
                    <a:pt x="708" y="2502"/>
                  </a:lnTo>
                  <a:lnTo>
                    <a:pt x="702" y="2496"/>
                  </a:lnTo>
                  <a:lnTo>
                    <a:pt x="690" y="2496"/>
                  </a:lnTo>
                  <a:lnTo>
                    <a:pt x="684" y="2496"/>
                  </a:lnTo>
                  <a:lnTo>
                    <a:pt x="678" y="2496"/>
                  </a:lnTo>
                  <a:lnTo>
                    <a:pt x="672" y="2490"/>
                  </a:lnTo>
                  <a:lnTo>
                    <a:pt x="666" y="2484"/>
                  </a:lnTo>
                  <a:lnTo>
                    <a:pt x="666" y="2478"/>
                  </a:lnTo>
                  <a:lnTo>
                    <a:pt x="654" y="2472"/>
                  </a:lnTo>
                  <a:lnTo>
                    <a:pt x="648" y="2460"/>
                  </a:lnTo>
                  <a:lnTo>
                    <a:pt x="648" y="2448"/>
                  </a:lnTo>
                  <a:lnTo>
                    <a:pt x="648" y="2442"/>
                  </a:lnTo>
                  <a:lnTo>
                    <a:pt x="642" y="2430"/>
                  </a:lnTo>
                  <a:lnTo>
                    <a:pt x="630" y="2406"/>
                  </a:lnTo>
                  <a:lnTo>
                    <a:pt x="612" y="2382"/>
                  </a:lnTo>
                  <a:lnTo>
                    <a:pt x="606" y="2376"/>
                  </a:lnTo>
                  <a:lnTo>
                    <a:pt x="588" y="2376"/>
                  </a:lnTo>
                  <a:lnTo>
                    <a:pt x="588" y="2370"/>
                  </a:lnTo>
                  <a:lnTo>
                    <a:pt x="588" y="2364"/>
                  </a:lnTo>
                  <a:lnTo>
                    <a:pt x="588" y="2346"/>
                  </a:lnTo>
                  <a:lnTo>
                    <a:pt x="588" y="2322"/>
                  </a:lnTo>
                  <a:lnTo>
                    <a:pt x="588" y="2310"/>
                  </a:lnTo>
                  <a:lnTo>
                    <a:pt x="582" y="2304"/>
                  </a:lnTo>
                  <a:lnTo>
                    <a:pt x="564" y="2274"/>
                  </a:lnTo>
                  <a:lnTo>
                    <a:pt x="540" y="2244"/>
                  </a:lnTo>
                  <a:lnTo>
                    <a:pt x="534" y="2244"/>
                  </a:lnTo>
                  <a:lnTo>
                    <a:pt x="528" y="2238"/>
                  </a:lnTo>
                  <a:lnTo>
                    <a:pt x="516" y="2220"/>
                  </a:lnTo>
                  <a:lnTo>
                    <a:pt x="492" y="2208"/>
                  </a:lnTo>
                  <a:lnTo>
                    <a:pt x="474" y="2208"/>
                  </a:lnTo>
                  <a:lnTo>
                    <a:pt x="468" y="2202"/>
                  </a:lnTo>
                  <a:lnTo>
                    <a:pt x="468" y="2196"/>
                  </a:lnTo>
                  <a:lnTo>
                    <a:pt x="462" y="2184"/>
                  </a:lnTo>
                  <a:lnTo>
                    <a:pt x="456" y="2184"/>
                  </a:lnTo>
                  <a:lnTo>
                    <a:pt x="450" y="2184"/>
                  </a:lnTo>
                  <a:lnTo>
                    <a:pt x="444" y="2172"/>
                  </a:lnTo>
                  <a:lnTo>
                    <a:pt x="438" y="2166"/>
                  </a:lnTo>
                  <a:lnTo>
                    <a:pt x="438" y="2148"/>
                  </a:lnTo>
                  <a:lnTo>
                    <a:pt x="432" y="2130"/>
                  </a:lnTo>
                  <a:lnTo>
                    <a:pt x="426" y="2118"/>
                  </a:lnTo>
                  <a:lnTo>
                    <a:pt x="414" y="2100"/>
                  </a:lnTo>
                  <a:lnTo>
                    <a:pt x="402" y="2100"/>
                  </a:lnTo>
                  <a:lnTo>
                    <a:pt x="396" y="2094"/>
                  </a:lnTo>
                  <a:lnTo>
                    <a:pt x="390" y="2088"/>
                  </a:lnTo>
                  <a:lnTo>
                    <a:pt x="390" y="2076"/>
                  </a:lnTo>
                  <a:lnTo>
                    <a:pt x="378" y="2058"/>
                  </a:lnTo>
                  <a:lnTo>
                    <a:pt x="372" y="2034"/>
                  </a:lnTo>
                  <a:lnTo>
                    <a:pt x="360" y="2022"/>
                  </a:lnTo>
                  <a:lnTo>
                    <a:pt x="324" y="1992"/>
                  </a:lnTo>
                  <a:lnTo>
                    <a:pt x="300" y="1968"/>
                  </a:lnTo>
                  <a:lnTo>
                    <a:pt x="282" y="1968"/>
                  </a:lnTo>
                  <a:lnTo>
                    <a:pt x="276" y="1962"/>
                  </a:lnTo>
                  <a:lnTo>
                    <a:pt x="270" y="1956"/>
                  </a:lnTo>
                  <a:lnTo>
                    <a:pt x="258" y="1950"/>
                  </a:lnTo>
                  <a:lnTo>
                    <a:pt x="252" y="1950"/>
                  </a:lnTo>
                  <a:lnTo>
                    <a:pt x="246" y="1950"/>
                  </a:lnTo>
                  <a:lnTo>
                    <a:pt x="234" y="1944"/>
                  </a:lnTo>
                  <a:lnTo>
                    <a:pt x="228" y="1938"/>
                  </a:lnTo>
                  <a:lnTo>
                    <a:pt x="216" y="1932"/>
                  </a:lnTo>
                  <a:lnTo>
                    <a:pt x="186" y="1926"/>
                  </a:lnTo>
                  <a:lnTo>
                    <a:pt x="174" y="1926"/>
                  </a:lnTo>
                  <a:lnTo>
                    <a:pt x="144" y="1932"/>
                  </a:lnTo>
                  <a:lnTo>
                    <a:pt x="120" y="1938"/>
                  </a:lnTo>
                  <a:lnTo>
                    <a:pt x="114" y="1938"/>
                  </a:lnTo>
                  <a:lnTo>
                    <a:pt x="108" y="1944"/>
                  </a:lnTo>
                  <a:lnTo>
                    <a:pt x="108" y="1950"/>
                  </a:lnTo>
                  <a:lnTo>
                    <a:pt x="108" y="1956"/>
                  </a:lnTo>
                  <a:lnTo>
                    <a:pt x="108" y="1962"/>
                  </a:lnTo>
                  <a:lnTo>
                    <a:pt x="102" y="1962"/>
                  </a:lnTo>
                  <a:lnTo>
                    <a:pt x="102" y="1968"/>
                  </a:lnTo>
                  <a:lnTo>
                    <a:pt x="96" y="1974"/>
                  </a:lnTo>
                  <a:lnTo>
                    <a:pt x="102" y="1980"/>
                  </a:lnTo>
                  <a:lnTo>
                    <a:pt x="108" y="1980"/>
                  </a:lnTo>
                  <a:lnTo>
                    <a:pt x="108" y="1986"/>
                  </a:lnTo>
                  <a:lnTo>
                    <a:pt x="102" y="1986"/>
                  </a:lnTo>
                  <a:lnTo>
                    <a:pt x="102" y="1992"/>
                  </a:lnTo>
                  <a:lnTo>
                    <a:pt x="102" y="1998"/>
                  </a:lnTo>
                  <a:lnTo>
                    <a:pt x="96" y="2004"/>
                  </a:lnTo>
                  <a:lnTo>
                    <a:pt x="96" y="2010"/>
                  </a:lnTo>
                  <a:lnTo>
                    <a:pt x="90" y="2010"/>
                  </a:lnTo>
                  <a:lnTo>
                    <a:pt x="90" y="2004"/>
                  </a:lnTo>
                  <a:lnTo>
                    <a:pt x="90" y="1998"/>
                  </a:lnTo>
                  <a:lnTo>
                    <a:pt x="90" y="1986"/>
                  </a:lnTo>
                  <a:lnTo>
                    <a:pt x="84" y="1986"/>
                  </a:lnTo>
                  <a:lnTo>
                    <a:pt x="78" y="1986"/>
                  </a:lnTo>
                  <a:lnTo>
                    <a:pt x="72" y="1986"/>
                  </a:lnTo>
                  <a:lnTo>
                    <a:pt x="72" y="1980"/>
                  </a:lnTo>
                  <a:lnTo>
                    <a:pt x="66" y="1980"/>
                  </a:lnTo>
                  <a:lnTo>
                    <a:pt x="60" y="1980"/>
                  </a:lnTo>
                  <a:lnTo>
                    <a:pt x="60" y="1974"/>
                  </a:lnTo>
                  <a:lnTo>
                    <a:pt x="54" y="1962"/>
                  </a:lnTo>
                  <a:lnTo>
                    <a:pt x="54" y="1956"/>
                  </a:lnTo>
                  <a:lnTo>
                    <a:pt x="48" y="1956"/>
                  </a:lnTo>
                  <a:lnTo>
                    <a:pt x="42" y="1944"/>
                  </a:lnTo>
                  <a:lnTo>
                    <a:pt x="36" y="1944"/>
                  </a:lnTo>
                  <a:lnTo>
                    <a:pt x="30" y="1944"/>
                  </a:lnTo>
                  <a:lnTo>
                    <a:pt x="24" y="1938"/>
                  </a:lnTo>
                  <a:lnTo>
                    <a:pt x="24" y="1932"/>
                  </a:lnTo>
                  <a:lnTo>
                    <a:pt x="24" y="1920"/>
                  </a:lnTo>
                  <a:lnTo>
                    <a:pt x="18" y="1920"/>
                  </a:lnTo>
                  <a:lnTo>
                    <a:pt x="12" y="1920"/>
                  </a:lnTo>
                  <a:lnTo>
                    <a:pt x="6" y="1914"/>
                  </a:lnTo>
                  <a:lnTo>
                    <a:pt x="0" y="1914"/>
                  </a:lnTo>
                  <a:lnTo>
                    <a:pt x="0" y="1908"/>
                  </a:lnTo>
                  <a:lnTo>
                    <a:pt x="6" y="1908"/>
                  </a:lnTo>
                  <a:lnTo>
                    <a:pt x="12" y="1914"/>
                  </a:lnTo>
                  <a:lnTo>
                    <a:pt x="18" y="1914"/>
                  </a:lnTo>
                  <a:lnTo>
                    <a:pt x="18" y="1908"/>
                  </a:lnTo>
                  <a:lnTo>
                    <a:pt x="24" y="1908"/>
                  </a:lnTo>
                  <a:lnTo>
                    <a:pt x="24" y="1902"/>
                  </a:lnTo>
                  <a:lnTo>
                    <a:pt x="30" y="1902"/>
                  </a:lnTo>
                  <a:lnTo>
                    <a:pt x="30" y="1896"/>
                  </a:lnTo>
                  <a:lnTo>
                    <a:pt x="36" y="1896"/>
                  </a:lnTo>
                  <a:lnTo>
                    <a:pt x="42" y="1896"/>
                  </a:lnTo>
                  <a:lnTo>
                    <a:pt x="48" y="1896"/>
                  </a:lnTo>
                  <a:lnTo>
                    <a:pt x="48" y="1890"/>
                  </a:lnTo>
                  <a:lnTo>
                    <a:pt x="54" y="1890"/>
                  </a:lnTo>
                  <a:lnTo>
                    <a:pt x="60" y="1890"/>
                  </a:lnTo>
                  <a:lnTo>
                    <a:pt x="66" y="1896"/>
                  </a:lnTo>
                  <a:lnTo>
                    <a:pt x="72" y="1896"/>
                  </a:lnTo>
                  <a:lnTo>
                    <a:pt x="78" y="1896"/>
                  </a:lnTo>
                  <a:lnTo>
                    <a:pt x="90" y="1890"/>
                  </a:lnTo>
                  <a:lnTo>
                    <a:pt x="96" y="1884"/>
                  </a:lnTo>
                  <a:lnTo>
                    <a:pt x="102" y="1884"/>
                  </a:lnTo>
                  <a:lnTo>
                    <a:pt x="108" y="1884"/>
                  </a:lnTo>
                  <a:lnTo>
                    <a:pt x="114" y="1878"/>
                  </a:lnTo>
                  <a:lnTo>
                    <a:pt x="132" y="1878"/>
                  </a:lnTo>
                  <a:lnTo>
                    <a:pt x="144" y="1866"/>
                  </a:lnTo>
                  <a:lnTo>
                    <a:pt x="150" y="1866"/>
                  </a:lnTo>
                  <a:lnTo>
                    <a:pt x="156" y="1866"/>
                  </a:lnTo>
                  <a:lnTo>
                    <a:pt x="168" y="1860"/>
                  </a:lnTo>
                  <a:lnTo>
                    <a:pt x="186" y="1848"/>
                  </a:lnTo>
                  <a:lnTo>
                    <a:pt x="198" y="1848"/>
                  </a:lnTo>
                  <a:lnTo>
                    <a:pt x="216" y="1842"/>
                  </a:lnTo>
                  <a:lnTo>
                    <a:pt x="222" y="1836"/>
                  </a:lnTo>
                  <a:lnTo>
                    <a:pt x="228" y="1836"/>
                  </a:lnTo>
                  <a:lnTo>
                    <a:pt x="234" y="1836"/>
                  </a:lnTo>
                  <a:lnTo>
                    <a:pt x="246" y="1830"/>
                  </a:lnTo>
                  <a:lnTo>
                    <a:pt x="264" y="1818"/>
                  </a:lnTo>
                  <a:lnTo>
                    <a:pt x="282" y="1812"/>
                  </a:lnTo>
                  <a:lnTo>
                    <a:pt x="312" y="1794"/>
                  </a:lnTo>
                  <a:lnTo>
                    <a:pt x="330" y="1782"/>
                  </a:lnTo>
                  <a:lnTo>
                    <a:pt x="342" y="1776"/>
                  </a:lnTo>
                  <a:lnTo>
                    <a:pt x="348" y="1776"/>
                  </a:lnTo>
                  <a:lnTo>
                    <a:pt x="354" y="1770"/>
                  </a:lnTo>
                  <a:lnTo>
                    <a:pt x="366" y="1764"/>
                  </a:lnTo>
                  <a:lnTo>
                    <a:pt x="384" y="1758"/>
                  </a:lnTo>
                  <a:lnTo>
                    <a:pt x="402" y="1740"/>
                  </a:lnTo>
                  <a:lnTo>
                    <a:pt x="408" y="1734"/>
                  </a:lnTo>
                  <a:lnTo>
                    <a:pt x="414" y="1716"/>
                  </a:lnTo>
                  <a:lnTo>
                    <a:pt x="420" y="1716"/>
                  </a:lnTo>
                  <a:lnTo>
                    <a:pt x="420" y="1704"/>
                  </a:lnTo>
                  <a:lnTo>
                    <a:pt x="426" y="1698"/>
                  </a:lnTo>
                  <a:lnTo>
                    <a:pt x="438" y="1686"/>
                  </a:lnTo>
                  <a:lnTo>
                    <a:pt x="450" y="1674"/>
                  </a:lnTo>
                  <a:lnTo>
                    <a:pt x="456" y="1662"/>
                  </a:lnTo>
                  <a:lnTo>
                    <a:pt x="462" y="1662"/>
                  </a:lnTo>
                  <a:lnTo>
                    <a:pt x="468" y="1650"/>
                  </a:lnTo>
                  <a:lnTo>
                    <a:pt x="480" y="1638"/>
                  </a:lnTo>
                  <a:lnTo>
                    <a:pt x="492" y="1626"/>
                  </a:lnTo>
                  <a:lnTo>
                    <a:pt x="498" y="1620"/>
                  </a:lnTo>
                  <a:lnTo>
                    <a:pt x="516" y="1602"/>
                  </a:lnTo>
                  <a:lnTo>
                    <a:pt x="528" y="1590"/>
                  </a:lnTo>
                  <a:lnTo>
                    <a:pt x="540" y="1578"/>
                  </a:lnTo>
                  <a:lnTo>
                    <a:pt x="540" y="1572"/>
                  </a:lnTo>
                  <a:lnTo>
                    <a:pt x="594" y="1500"/>
                  </a:lnTo>
                  <a:lnTo>
                    <a:pt x="618" y="1476"/>
                  </a:lnTo>
                  <a:lnTo>
                    <a:pt x="630" y="1464"/>
                  </a:lnTo>
                  <a:lnTo>
                    <a:pt x="660" y="1422"/>
                  </a:lnTo>
                  <a:lnTo>
                    <a:pt x="672" y="1404"/>
                  </a:lnTo>
                  <a:lnTo>
                    <a:pt x="684" y="1380"/>
                  </a:lnTo>
                  <a:lnTo>
                    <a:pt x="690" y="1374"/>
                  </a:lnTo>
                  <a:lnTo>
                    <a:pt x="738" y="1302"/>
                  </a:lnTo>
                  <a:lnTo>
                    <a:pt x="750" y="1284"/>
                  </a:lnTo>
                  <a:lnTo>
                    <a:pt x="756" y="1266"/>
                  </a:lnTo>
                  <a:lnTo>
                    <a:pt x="762" y="1248"/>
                  </a:lnTo>
                  <a:lnTo>
                    <a:pt x="798" y="1200"/>
                  </a:lnTo>
                  <a:lnTo>
                    <a:pt x="828" y="1164"/>
                  </a:lnTo>
                  <a:lnTo>
                    <a:pt x="840" y="1140"/>
                  </a:lnTo>
                  <a:lnTo>
                    <a:pt x="864" y="1110"/>
                  </a:lnTo>
                  <a:lnTo>
                    <a:pt x="894" y="1056"/>
                  </a:lnTo>
                  <a:lnTo>
                    <a:pt x="906" y="1038"/>
                  </a:lnTo>
                  <a:lnTo>
                    <a:pt x="918" y="1026"/>
                  </a:lnTo>
                  <a:lnTo>
                    <a:pt x="918" y="1014"/>
                  </a:lnTo>
                  <a:lnTo>
                    <a:pt x="930" y="984"/>
                  </a:lnTo>
                  <a:lnTo>
                    <a:pt x="936" y="978"/>
                  </a:lnTo>
                  <a:lnTo>
                    <a:pt x="954" y="948"/>
                  </a:lnTo>
                  <a:lnTo>
                    <a:pt x="954" y="942"/>
                  </a:lnTo>
                  <a:lnTo>
                    <a:pt x="966" y="930"/>
                  </a:lnTo>
                  <a:lnTo>
                    <a:pt x="972" y="918"/>
                  </a:lnTo>
                  <a:lnTo>
                    <a:pt x="978" y="900"/>
                  </a:lnTo>
                  <a:lnTo>
                    <a:pt x="984" y="888"/>
                  </a:lnTo>
                  <a:lnTo>
                    <a:pt x="984" y="882"/>
                  </a:lnTo>
                  <a:lnTo>
                    <a:pt x="978" y="876"/>
                  </a:lnTo>
                  <a:lnTo>
                    <a:pt x="984" y="870"/>
                  </a:lnTo>
                  <a:lnTo>
                    <a:pt x="990" y="852"/>
                  </a:lnTo>
                  <a:lnTo>
                    <a:pt x="990" y="846"/>
                  </a:lnTo>
                  <a:lnTo>
                    <a:pt x="990" y="816"/>
                  </a:lnTo>
                  <a:lnTo>
                    <a:pt x="996" y="780"/>
                  </a:lnTo>
                  <a:lnTo>
                    <a:pt x="996" y="756"/>
                  </a:lnTo>
                  <a:lnTo>
                    <a:pt x="1002" y="708"/>
                  </a:lnTo>
                  <a:lnTo>
                    <a:pt x="1002" y="690"/>
                  </a:lnTo>
                  <a:lnTo>
                    <a:pt x="1002" y="678"/>
                  </a:lnTo>
                  <a:lnTo>
                    <a:pt x="1020" y="678"/>
                  </a:lnTo>
                  <a:lnTo>
                    <a:pt x="1014" y="678"/>
                  </a:lnTo>
                  <a:lnTo>
                    <a:pt x="1014" y="618"/>
                  </a:lnTo>
                  <a:lnTo>
                    <a:pt x="1020" y="618"/>
                  </a:lnTo>
                  <a:lnTo>
                    <a:pt x="1026" y="606"/>
                  </a:lnTo>
                  <a:lnTo>
                    <a:pt x="1032" y="606"/>
                  </a:lnTo>
                  <a:lnTo>
                    <a:pt x="1044" y="606"/>
                  </a:lnTo>
                  <a:lnTo>
                    <a:pt x="1050" y="600"/>
                  </a:lnTo>
                  <a:lnTo>
                    <a:pt x="1056" y="594"/>
                  </a:lnTo>
                  <a:lnTo>
                    <a:pt x="1062" y="594"/>
                  </a:lnTo>
                  <a:lnTo>
                    <a:pt x="1068" y="594"/>
                  </a:lnTo>
                  <a:lnTo>
                    <a:pt x="1068" y="588"/>
                  </a:lnTo>
                  <a:lnTo>
                    <a:pt x="1068" y="582"/>
                  </a:lnTo>
                  <a:lnTo>
                    <a:pt x="1074" y="582"/>
                  </a:lnTo>
                  <a:lnTo>
                    <a:pt x="1080" y="576"/>
                  </a:lnTo>
                  <a:lnTo>
                    <a:pt x="1074" y="570"/>
                  </a:lnTo>
                  <a:lnTo>
                    <a:pt x="1062" y="564"/>
                  </a:lnTo>
                  <a:lnTo>
                    <a:pt x="1062" y="558"/>
                  </a:lnTo>
                  <a:lnTo>
                    <a:pt x="1068" y="546"/>
                  </a:lnTo>
                  <a:lnTo>
                    <a:pt x="1068" y="540"/>
                  </a:lnTo>
                  <a:lnTo>
                    <a:pt x="1068" y="534"/>
                  </a:lnTo>
                  <a:lnTo>
                    <a:pt x="1068" y="528"/>
                  </a:lnTo>
                  <a:lnTo>
                    <a:pt x="1068" y="522"/>
                  </a:lnTo>
                  <a:lnTo>
                    <a:pt x="1068" y="504"/>
                  </a:lnTo>
                  <a:lnTo>
                    <a:pt x="1074" y="492"/>
                  </a:lnTo>
                  <a:lnTo>
                    <a:pt x="1086" y="474"/>
                  </a:lnTo>
                  <a:lnTo>
                    <a:pt x="1104" y="462"/>
                  </a:lnTo>
                  <a:lnTo>
                    <a:pt x="1110" y="462"/>
                  </a:lnTo>
                  <a:lnTo>
                    <a:pt x="1116" y="468"/>
                  </a:lnTo>
                  <a:lnTo>
                    <a:pt x="1128" y="468"/>
                  </a:lnTo>
                  <a:lnTo>
                    <a:pt x="1134" y="462"/>
                  </a:lnTo>
                  <a:lnTo>
                    <a:pt x="1146" y="450"/>
                  </a:lnTo>
                  <a:lnTo>
                    <a:pt x="1152" y="426"/>
                  </a:lnTo>
                  <a:lnTo>
                    <a:pt x="1164" y="414"/>
                  </a:lnTo>
                  <a:lnTo>
                    <a:pt x="1164" y="408"/>
                  </a:lnTo>
                  <a:lnTo>
                    <a:pt x="1152" y="390"/>
                  </a:lnTo>
                  <a:lnTo>
                    <a:pt x="1152" y="378"/>
                  </a:lnTo>
                  <a:lnTo>
                    <a:pt x="1158" y="354"/>
                  </a:lnTo>
                  <a:lnTo>
                    <a:pt x="1164" y="348"/>
                  </a:lnTo>
                  <a:lnTo>
                    <a:pt x="1176" y="348"/>
                  </a:lnTo>
                  <a:lnTo>
                    <a:pt x="1188" y="330"/>
                  </a:lnTo>
                  <a:lnTo>
                    <a:pt x="1188" y="324"/>
                  </a:lnTo>
                  <a:lnTo>
                    <a:pt x="1182" y="300"/>
                  </a:lnTo>
                  <a:lnTo>
                    <a:pt x="1188" y="288"/>
                  </a:lnTo>
                  <a:lnTo>
                    <a:pt x="1194" y="282"/>
                  </a:lnTo>
                  <a:lnTo>
                    <a:pt x="1200" y="276"/>
                  </a:lnTo>
                  <a:lnTo>
                    <a:pt x="1206" y="276"/>
                  </a:lnTo>
                  <a:lnTo>
                    <a:pt x="1206" y="240"/>
                  </a:lnTo>
                  <a:lnTo>
                    <a:pt x="1212" y="228"/>
                  </a:lnTo>
                  <a:lnTo>
                    <a:pt x="1218" y="222"/>
                  </a:lnTo>
                  <a:lnTo>
                    <a:pt x="1230" y="216"/>
                  </a:lnTo>
                  <a:lnTo>
                    <a:pt x="1230" y="210"/>
                  </a:lnTo>
                  <a:lnTo>
                    <a:pt x="1230" y="198"/>
                  </a:lnTo>
                  <a:lnTo>
                    <a:pt x="1230" y="192"/>
                  </a:lnTo>
                  <a:lnTo>
                    <a:pt x="1236" y="180"/>
                  </a:lnTo>
                  <a:lnTo>
                    <a:pt x="1236" y="174"/>
                  </a:lnTo>
                  <a:lnTo>
                    <a:pt x="1242" y="174"/>
                  </a:lnTo>
                  <a:lnTo>
                    <a:pt x="1242" y="168"/>
                  </a:lnTo>
                  <a:lnTo>
                    <a:pt x="1248" y="168"/>
                  </a:lnTo>
                  <a:lnTo>
                    <a:pt x="1254" y="162"/>
                  </a:lnTo>
                  <a:lnTo>
                    <a:pt x="1266" y="162"/>
                  </a:lnTo>
                  <a:lnTo>
                    <a:pt x="1272" y="162"/>
                  </a:lnTo>
                  <a:lnTo>
                    <a:pt x="1284" y="162"/>
                  </a:lnTo>
                  <a:lnTo>
                    <a:pt x="1296" y="174"/>
                  </a:lnTo>
                  <a:lnTo>
                    <a:pt x="1302" y="174"/>
                  </a:lnTo>
                  <a:lnTo>
                    <a:pt x="1326" y="174"/>
                  </a:lnTo>
                  <a:lnTo>
                    <a:pt x="1338" y="162"/>
                  </a:lnTo>
                  <a:lnTo>
                    <a:pt x="1344" y="162"/>
                  </a:lnTo>
                  <a:lnTo>
                    <a:pt x="1344" y="156"/>
                  </a:lnTo>
                  <a:lnTo>
                    <a:pt x="1356" y="144"/>
                  </a:lnTo>
                  <a:lnTo>
                    <a:pt x="1362" y="138"/>
                  </a:lnTo>
                  <a:lnTo>
                    <a:pt x="1374" y="138"/>
                  </a:lnTo>
                  <a:lnTo>
                    <a:pt x="1398" y="132"/>
                  </a:lnTo>
                  <a:lnTo>
                    <a:pt x="1404" y="132"/>
                  </a:lnTo>
                  <a:lnTo>
                    <a:pt x="1410" y="138"/>
                  </a:lnTo>
                  <a:lnTo>
                    <a:pt x="1416" y="144"/>
                  </a:lnTo>
                  <a:lnTo>
                    <a:pt x="1416" y="150"/>
                  </a:lnTo>
                  <a:lnTo>
                    <a:pt x="1416" y="162"/>
                  </a:lnTo>
                  <a:lnTo>
                    <a:pt x="1416" y="168"/>
                  </a:lnTo>
                  <a:lnTo>
                    <a:pt x="1434" y="174"/>
                  </a:lnTo>
                  <a:lnTo>
                    <a:pt x="1452" y="192"/>
                  </a:lnTo>
                  <a:lnTo>
                    <a:pt x="1458" y="204"/>
                  </a:lnTo>
                  <a:lnTo>
                    <a:pt x="1464" y="210"/>
                  </a:lnTo>
                  <a:lnTo>
                    <a:pt x="1470" y="210"/>
                  </a:lnTo>
                  <a:lnTo>
                    <a:pt x="1482" y="204"/>
                  </a:lnTo>
                  <a:lnTo>
                    <a:pt x="1500" y="186"/>
                  </a:lnTo>
                  <a:lnTo>
                    <a:pt x="1506" y="186"/>
                  </a:lnTo>
                  <a:lnTo>
                    <a:pt x="1512" y="186"/>
                  </a:lnTo>
                  <a:lnTo>
                    <a:pt x="1518" y="186"/>
                  </a:lnTo>
                  <a:lnTo>
                    <a:pt x="1542" y="198"/>
                  </a:lnTo>
                  <a:lnTo>
                    <a:pt x="1554" y="198"/>
                  </a:lnTo>
                  <a:lnTo>
                    <a:pt x="1578" y="186"/>
                  </a:lnTo>
                  <a:lnTo>
                    <a:pt x="1596" y="174"/>
                  </a:lnTo>
                  <a:lnTo>
                    <a:pt x="1614" y="168"/>
                  </a:lnTo>
                  <a:lnTo>
                    <a:pt x="1626" y="168"/>
                  </a:lnTo>
                  <a:lnTo>
                    <a:pt x="1632" y="168"/>
                  </a:lnTo>
                  <a:lnTo>
                    <a:pt x="1644" y="174"/>
                  </a:lnTo>
                  <a:lnTo>
                    <a:pt x="1650" y="180"/>
                  </a:lnTo>
                  <a:lnTo>
                    <a:pt x="1650" y="192"/>
                  </a:lnTo>
                  <a:lnTo>
                    <a:pt x="1662" y="186"/>
                  </a:lnTo>
                  <a:lnTo>
                    <a:pt x="1680" y="180"/>
                  </a:lnTo>
                  <a:lnTo>
                    <a:pt x="1686" y="180"/>
                  </a:lnTo>
                  <a:lnTo>
                    <a:pt x="1692" y="180"/>
                  </a:lnTo>
                  <a:lnTo>
                    <a:pt x="1698" y="180"/>
                  </a:lnTo>
                  <a:lnTo>
                    <a:pt x="1722" y="192"/>
                  </a:lnTo>
                  <a:lnTo>
                    <a:pt x="1734" y="192"/>
                  </a:lnTo>
                  <a:lnTo>
                    <a:pt x="1746" y="192"/>
                  </a:lnTo>
                  <a:lnTo>
                    <a:pt x="1764" y="198"/>
                  </a:lnTo>
                  <a:lnTo>
                    <a:pt x="1776" y="198"/>
                  </a:lnTo>
                  <a:lnTo>
                    <a:pt x="1800" y="210"/>
                  </a:lnTo>
                  <a:lnTo>
                    <a:pt x="1806" y="210"/>
                  </a:lnTo>
                  <a:lnTo>
                    <a:pt x="1812" y="204"/>
                  </a:lnTo>
                  <a:lnTo>
                    <a:pt x="1854" y="198"/>
                  </a:lnTo>
                  <a:lnTo>
                    <a:pt x="1860" y="198"/>
                  </a:lnTo>
                  <a:lnTo>
                    <a:pt x="1872" y="198"/>
                  </a:lnTo>
                  <a:lnTo>
                    <a:pt x="1878" y="192"/>
                  </a:lnTo>
                  <a:lnTo>
                    <a:pt x="1878" y="186"/>
                  </a:lnTo>
                  <a:lnTo>
                    <a:pt x="1878" y="180"/>
                  </a:lnTo>
                  <a:lnTo>
                    <a:pt x="1872" y="168"/>
                  </a:lnTo>
                  <a:lnTo>
                    <a:pt x="1872" y="162"/>
                  </a:lnTo>
                  <a:lnTo>
                    <a:pt x="1878" y="156"/>
                  </a:lnTo>
                  <a:lnTo>
                    <a:pt x="1908" y="156"/>
                  </a:lnTo>
                  <a:lnTo>
                    <a:pt x="1920" y="162"/>
                  </a:lnTo>
                  <a:lnTo>
                    <a:pt x="1932" y="168"/>
                  </a:lnTo>
                  <a:lnTo>
                    <a:pt x="1944" y="174"/>
                  </a:lnTo>
                  <a:lnTo>
                    <a:pt x="1956" y="174"/>
                  </a:lnTo>
                  <a:lnTo>
                    <a:pt x="1974" y="168"/>
                  </a:lnTo>
                  <a:lnTo>
                    <a:pt x="1986" y="162"/>
                  </a:lnTo>
                  <a:lnTo>
                    <a:pt x="1986" y="156"/>
                  </a:lnTo>
                  <a:lnTo>
                    <a:pt x="1992" y="156"/>
                  </a:lnTo>
                  <a:lnTo>
                    <a:pt x="1992" y="150"/>
                  </a:lnTo>
                  <a:lnTo>
                    <a:pt x="1986" y="138"/>
                  </a:lnTo>
                  <a:lnTo>
                    <a:pt x="1980" y="132"/>
                  </a:lnTo>
                  <a:lnTo>
                    <a:pt x="1986" y="120"/>
                  </a:lnTo>
                  <a:lnTo>
                    <a:pt x="1998" y="114"/>
                  </a:lnTo>
                  <a:lnTo>
                    <a:pt x="2004" y="114"/>
                  </a:lnTo>
                  <a:lnTo>
                    <a:pt x="2016" y="108"/>
                  </a:lnTo>
                  <a:lnTo>
                    <a:pt x="2022" y="102"/>
                  </a:lnTo>
                  <a:lnTo>
                    <a:pt x="2028" y="96"/>
                  </a:lnTo>
                  <a:lnTo>
                    <a:pt x="2034" y="90"/>
                  </a:lnTo>
                  <a:lnTo>
                    <a:pt x="2040" y="90"/>
                  </a:lnTo>
                  <a:lnTo>
                    <a:pt x="2052" y="96"/>
                  </a:lnTo>
                  <a:lnTo>
                    <a:pt x="2064" y="114"/>
                  </a:lnTo>
                  <a:lnTo>
                    <a:pt x="2070" y="126"/>
                  </a:lnTo>
                  <a:lnTo>
                    <a:pt x="2070" y="132"/>
                  </a:lnTo>
                  <a:lnTo>
                    <a:pt x="2076" y="138"/>
                  </a:lnTo>
                  <a:lnTo>
                    <a:pt x="2082" y="144"/>
                  </a:lnTo>
                  <a:lnTo>
                    <a:pt x="2094" y="144"/>
                  </a:lnTo>
                  <a:lnTo>
                    <a:pt x="2112" y="138"/>
                  </a:lnTo>
                  <a:lnTo>
                    <a:pt x="2124" y="132"/>
                  </a:lnTo>
                  <a:lnTo>
                    <a:pt x="2130" y="120"/>
                  </a:lnTo>
                  <a:lnTo>
                    <a:pt x="2136" y="120"/>
                  </a:lnTo>
                  <a:lnTo>
                    <a:pt x="2154" y="120"/>
                  </a:lnTo>
                  <a:lnTo>
                    <a:pt x="2160" y="120"/>
                  </a:lnTo>
                  <a:lnTo>
                    <a:pt x="2166" y="120"/>
                  </a:lnTo>
                  <a:lnTo>
                    <a:pt x="2184" y="108"/>
                  </a:lnTo>
                  <a:lnTo>
                    <a:pt x="2190" y="102"/>
                  </a:lnTo>
                  <a:lnTo>
                    <a:pt x="2208" y="108"/>
                  </a:lnTo>
                  <a:lnTo>
                    <a:pt x="2220" y="114"/>
                  </a:lnTo>
                  <a:lnTo>
                    <a:pt x="2232" y="114"/>
                  </a:lnTo>
                  <a:lnTo>
                    <a:pt x="2238" y="108"/>
                  </a:lnTo>
                  <a:lnTo>
                    <a:pt x="2244" y="114"/>
                  </a:lnTo>
                  <a:lnTo>
                    <a:pt x="2250" y="120"/>
                  </a:lnTo>
                  <a:lnTo>
                    <a:pt x="2262" y="126"/>
                  </a:lnTo>
                  <a:lnTo>
                    <a:pt x="2268" y="126"/>
                  </a:lnTo>
                  <a:lnTo>
                    <a:pt x="2280" y="120"/>
                  </a:lnTo>
                  <a:lnTo>
                    <a:pt x="2298" y="108"/>
                  </a:lnTo>
                  <a:lnTo>
                    <a:pt x="2316" y="102"/>
                  </a:lnTo>
                  <a:lnTo>
                    <a:pt x="2322" y="90"/>
                  </a:lnTo>
                  <a:lnTo>
                    <a:pt x="2328" y="90"/>
                  </a:lnTo>
                  <a:lnTo>
                    <a:pt x="2340" y="90"/>
                  </a:lnTo>
                  <a:lnTo>
                    <a:pt x="2340" y="96"/>
                  </a:lnTo>
                  <a:lnTo>
                    <a:pt x="2346" y="96"/>
                  </a:lnTo>
                  <a:lnTo>
                    <a:pt x="2352" y="96"/>
                  </a:lnTo>
                  <a:lnTo>
                    <a:pt x="2358" y="102"/>
                  </a:lnTo>
                  <a:lnTo>
                    <a:pt x="2376" y="102"/>
                  </a:lnTo>
                  <a:lnTo>
                    <a:pt x="2388" y="96"/>
                  </a:lnTo>
                  <a:lnTo>
                    <a:pt x="2394" y="90"/>
                  </a:lnTo>
                  <a:lnTo>
                    <a:pt x="2400" y="90"/>
                  </a:lnTo>
                  <a:lnTo>
                    <a:pt x="2400" y="78"/>
                  </a:lnTo>
                  <a:lnTo>
                    <a:pt x="2400" y="72"/>
                  </a:lnTo>
                  <a:lnTo>
                    <a:pt x="2394" y="66"/>
                  </a:lnTo>
                  <a:lnTo>
                    <a:pt x="2388" y="66"/>
                  </a:lnTo>
                  <a:lnTo>
                    <a:pt x="2376" y="60"/>
                  </a:lnTo>
                  <a:lnTo>
                    <a:pt x="2370" y="54"/>
                  </a:lnTo>
                  <a:lnTo>
                    <a:pt x="2370" y="48"/>
                  </a:lnTo>
                  <a:lnTo>
                    <a:pt x="2376" y="42"/>
                  </a:lnTo>
                  <a:lnTo>
                    <a:pt x="2382" y="30"/>
                  </a:lnTo>
                  <a:lnTo>
                    <a:pt x="2394" y="18"/>
                  </a:lnTo>
                  <a:lnTo>
                    <a:pt x="2400" y="12"/>
                  </a:lnTo>
                  <a:lnTo>
                    <a:pt x="2406" y="12"/>
                  </a:lnTo>
                  <a:lnTo>
                    <a:pt x="2412" y="18"/>
                  </a:lnTo>
                  <a:lnTo>
                    <a:pt x="2418" y="18"/>
                  </a:lnTo>
                  <a:lnTo>
                    <a:pt x="2430" y="36"/>
                  </a:lnTo>
                  <a:lnTo>
                    <a:pt x="2442" y="54"/>
                  </a:lnTo>
                  <a:lnTo>
                    <a:pt x="2448" y="60"/>
                  </a:lnTo>
                  <a:lnTo>
                    <a:pt x="2454" y="60"/>
                  </a:lnTo>
                  <a:lnTo>
                    <a:pt x="2460" y="60"/>
                  </a:lnTo>
                  <a:lnTo>
                    <a:pt x="2466" y="60"/>
                  </a:lnTo>
                  <a:lnTo>
                    <a:pt x="2472" y="54"/>
                  </a:lnTo>
                  <a:lnTo>
                    <a:pt x="2490" y="42"/>
                  </a:lnTo>
                  <a:lnTo>
                    <a:pt x="2496" y="12"/>
                  </a:lnTo>
                  <a:lnTo>
                    <a:pt x="2502" y="6"/>
                  </a:lnTo>
                  <a:lnTo>
                    <a:pt x="2502" y="0"/>
                  </a:lnTo>
                  <a:lnTo>
                    <a:pt x="2514" y="0"/>
                  </a:lnTo>
                  <a:lnTo>
                    <a:pt x="2520" y="0"/>
                  </a:lnTo>
                  <a:lnTo>
                    <a:pt x="2526" y="6"/>
                  </a:lnTo>
                  <a:lnTo>
                    <a:pt x="2532" y="12"/>
                  </a:lnTo>
                  <a:lnTo>
                    <a:pt x="2538" y="18"/>
                  </a:lnTo>
                  <a:lnTo>
                    <a:pt x="2544" y="24"/>
                  </a:lnTo>
                  <a:lnTo>
                    <a:pt x="2544" y="30"/>
                  </a:lnTo>
                  <a:lnTo>
                    <a:pt x="2550" y="48"/>
                  </a:lnTo>
                  <a:lnTo>
                    <a:pt x="2550" y="54"/>
                  </a:lnTo>
                  <a:lnTo>
                    <a:pt x="2556" y="54"/>
                  </a:lnTo>
                  <a:lnTo>
                    <a:pt x="2562" y="54"/>
                  </a:lnTo>
                  <a:lnTo>
                    <a:pt x="2580" y="42"/>
                  </a:lnTo>
                  <a:lnTo>
                    <a:pt x="2586" y="36"/>
                  </a:lnTo>
                  <a:lnTo>
                    <a:pt x="2586" y="42"/>
                  </a:lnTo>
                  <a:lnTo>
                    <a:pt x="2586" y="54"/>
                  </a:lnTo>
                  <a:lnTo>
                    <a:pt x="2592" y="54"/>
                  </a:lnTo>
                  <a:lnTo>
                    <a:pt x="2598" y="54"/>
                  </a:lnTo>
                  <a:lnTo>
                    <a:pt x="2604" y="48"/>
                  </a:lnTo>
                  <a:lnTo>
                    <a:pt x="2610" y="30"/>
                  </a:lnTo>
                  <a:lnTo>
                    <a:pt x="2610" y="24"/>
                  </a:lnTo>
                  <a:lnTo>
                    <a:pt x="2616" y="30"/>
                  </a:lnTo>
                  <a:lnTo>
                    <a:pt x="2622" y="30"/>
                  </a:lnTo>
                  <a:lnTo>
                    <a:pt x="2640" y="48"/>
                  </a:lnTo>
                  <a:lnTo>
                    <a:pt x="2658" y="48"/>
                  </a:lnTo>
                  <a:lnTo>
                    <a:pt x="2664" y="54"/>
                  </a:lnTo>
                  <a:lnTo>
                    <a:pt x="2670" y="54"/>
                  </a:lnTo>
                  <a:lnTo>
                    <a:pt x="2670" y="42"/>
                  </a:lnTo>
                  <a:lnTo>
                    <a:pt x="2676" y="36"/>
                  </a:lnTo>
                  <a:lnTo>
                    <a:pt x="2682" y="36"/>
                  </a:lnTo>
                  <a:lnTo>
                    <a:pt x="2706" y="54"/>
                  </a:lnTo>
                  <a:lnTo>
                    <a:pt x="2724" y="36"/>
                  </a:lnTo>
                  <a:lnTo>
                    <a:pt x="2724" y="30"/>
                  </a:lnTo>
                  <a:lnTo>
                    <a:pt x="2730" y="30"/>
                  </a:lnTo>
                  <a:lnTo>
                    <a:pt x="2736" y="36"/>
                  </a:lnTo>
                  <a:lnTo>
                    <a:pt x="2742" y="42"/>
                  </a:lnTo>
                  <a:lnTo>
                    <a:pt x="2742" y="48"/>
                  </a:lnTo>
                  <a:lnTo>
                    <a:pt x="2742" y="60"/>
                  </a:lnTo>
                  <a:lnTo>
                    <a:pt x="2754" y="66"/>
                  </a:lnTo>
                  <a:lnTo>
                    <a:pt x="2754" y="60"/>
                  </a:lnTo>
                  <a:lnTo>
                    <a:pt x="2760" y="54"/>
                  </a:lnTo>
                  <a:lnTo>
                    <a:pt x="2766" y="54"/>
                  </a:lnTo>
                  <a:lnTo>
                    <a:pt x="2766" y="42"/>
                  </a:lnTo>
                  <a:lnTo>
                    <a:pt x="2772" y="42"/>
                  </a:lnTo>
                  <a:lnTo>
                    <a:pt x="2778" y="42"/>
                  </a:lnTo>
                  <a:lnTo>
                    <a:pt x="2778" y="48"/>
                  </a:lnTo>
                  <a:lnTo>
                    <a:pt x="2784" y="48"/>
                  </a:lnTo>
                  <a:lnTo>
                    <a:pt x="2790" y="48"/>
                  </a:lnTo>
                  <a:lnTo>
                    <a:pt x="2814" y="36"/>
                  </a:lnTo>
                  <a:lnTo>
                    <a:pt x="2826" y="42"/>
                  </a:lnTo>
                  <a:lnTo>
                    <a:pt x="2838" y="36"/>
                  </a:lnTo>
                  <a:lnTo>
                    <a:pt x="2850" y="36"/>
                  </a:lnTo>
                  <a:lnTo>
                    <a:pt x="2856" y="42"/>
                  </a:lnTo>
                  <a:lnTo>
                    <a:pt x="2856" y="48"/>
                  </a:lnTo>
                  <a:lnTo>
                    <a:pt x="2856" y="54"/>
                  </a:lnTo>
                  <a:lnTo>
                    <a:pt x="2850" y="54"/>
                  </a:lnTo>
                  <a:lnTo>
                    <a:pt x="2844" y="60"/>
                  </a:lnTo>
                  <a:lnTo>
                    <a:pt x="2850" y="66"/>
                  </a:lnTo>
                  <a:lnTo>
                    <a:pt x="2856" y="66"/>
                  </a:lnTo>
                  <a:lnTo>
                    <a:pt x="2862" y="60"/>
                  </a:lnTo>
                  <a:lnTo>
                    <a:pt x="2868" y="60"/>
                  </a:lnTo>
                  <a:lnTo>
                    <a:pt x="2868" y="54"/>
                  </a:lnTo>
                  <a:lnTo>
                    <a:pt x="2886" y="60"/>
                  </a:lnTo>
                  <a:lnTo>
                    <a:pt x="2892" y="66"/>
                  </a:lnTo>
                  <a:lnTo>
                    <a:pt x="2898" y="60"/>
                  </a:lnTo>
                  <a:lnTo>
                    <a:pt x="2904" y="60"/>
                  </a:lnTo>
                  <a:lnTo>
                    <a:pt x="2904" y="66"/>
                  </a:lnTo>
                  <a:lnTo>
                    <a:pt x="2922" y="60"/>
                  </a:lnTo>
                  <a:lnTo>
                    <a:pt x="2934" y="66"/>
                  </a:lnTo>
                  <a:lnTo>
                    <a:pt x="2940" y="48"/>
                  </a:lnTo>
                  <a:lnTo>
                    <a:pt x="2940" y="42"/>
                  </a:lnTo>
                  <a:lnTo>
                    <a:pt x="2946" y="42"/>
                  </a:lnTo>
                  <a:lnTo>
                    <a:pt x="2958" y="48"/>
                  </a:lnTo>
                  <a:lnTo>
                    <a:pt x="2964" y="54"/>
                  </a:lnTo>
                  <a:lnTo>
                    <a:pt x="2970" y="60"/>
                  </a:lnTo>
                  <a:lnTo>
                    <a:pt x="2976" y="60"/>
                  </a:lnTo>
                  <a:lnTo>
                    <a:pt x="2994" y="72"/>
                  </a:lnTo>
                  <a:lnTo>
                    <a:pt x="3000" y="66"/>
                  </a:lnTo>
                  <a:lnTo>
                    <a:pt x="3006" y="66"/>
                  </a:lnTo>
                  <a:lnTo>
                    <a:pt x="3012" y="60"/>
                  </a:lnTo>
                  <a:lnTo>
                    <a:pt x="3036" y="60"/>
                  </a:lnTo>
                  <a:lnTo>
                    <a:pt x="3042" y="60"/>
                  </a:lnTo>
                  <a:lnTo>
                    <a:pt x="3048" y="54"/>
                  </a:lnTo>
                  <a:lnTo>
                    <a:pt x="3054" y="42"/>
                  </a:lnTo>
                  <a:lnTo>
                    <a:pt x="3060" y="42"/>
                  </a:lnTo>
                  <a:lnTo>
                    <a:pt x="3066" y="36"/>
                  </a:lnTo>
                  <a:lnTo>
                    <a:pt x="3072" y="36"/>
                  </a:lnTo>
                  <a:lnTo>
                    <a:pt x="3084" y="48"/>
                  </a:lnTo>
                  <a:lnTo>
                    <a:pt x="3096" y="54"/>
                  </a:lnTo>
                  <a:lnTo>
                    <a:pt x="3108" y="48"/>
                  </a:lnTo>
                  <a:lnTo>
                    <a:pt x="3120" y="54"/>
                  </a:lnTo>
                  <a:lnTo>
                    <a:pt x="3126" y="54"/>
                  </a:lnTo>
                  <a:lnTo>
                    <a:pt x="3144" y="48"/>
                  </a:lnTo>
                  <a:lnTo>
                    <a:pt x="3150" y="48"/>
                  </a:lnTo>
                  <a:lnTo>
                    <a:pt x="3162" y="54"/>
                  </a:lnTo>
                  <a:lnTo>
                    <a:pt x="3162" y="60"/>
                  </a:lnTo>
                  <a:lnTo>
                    <a:pt x="3162" y="84"/>
                  </a:lnTo>
                  <a:lnTo>
                    <a:pt x="3156" y="102"/>
                  </a:lnTo>
                  <a:lnTo>
                    <a:pt x="3156" y="114"/>
                  </a:lnTo>
                  <a:lnTo>
                    <a:pt x="3162" y="120"/>
                  </a:lnTo>
                  <a:lnTo>
                    <a:pt x="3174" y="114"/>
                  </a:lnTo>
                  <a:lnTo>
                    <a:pt x="3186" y="114"/>
                  </a:lnTo>
                  <a:lnTo>
                    <a:pt x="3204" y="102"/>
                  </a:lnTo>
                  <a:lnTo>
                    <a:pt x="3210" y="102"/>
                  </a:lnTo>
                  <a:lnTo>
                    <a:pt x="3216" y="108"/>
                  </a:lnTo>
                  <a:lnTo>
                    <a:pt x="3216" y="114"/>
                  </a:lnTo>
                  <a:lnTo>
                    <a:pt x="3216" y="132"/>
                  </a:lnTo>
                  <a:lnTo>
                    <a:pt x="3222" y="150"/>
                  </a:lnTo>
                  <a:lnTo>
                    <a:pt x="3228" y="162"/>
                  </a:lnTo>
                  <a:lnTo>
                    <a:pt x="3228" y="168"/>
                  </a:lnTo>
                  <a:lnTo>
                    <a:pt x="3234" y="168"/>
                  </a:lnTo>
                  <a:lnTo>
                    <a:pt x="3228" y="156"/>
                  </a:lnTo>
                  <a:lnTo>
                    <a:pt x="3228" y="144"/>
                  </a:lnTo>
                  <a:lnTo>
                    <a:pt x="3240" y="138"/>
                  </a:lnTo>
                  <a:lnTo>
                    <a:pt x="3246" y="138"/>
                  </a:lnTo>
                  <a:lnTo>
                    <a:pt x="3252" y="138"/>
                  </a:lnTo>
                  <a:lnTo>
                    <a:pt x="3258" y="138"/>
                  </a:lnTo>
                  <a:lnTo>
                    <a:pt x="3276" y="144"/>
                  </a:lnTo>
                  <a:lnTo>
                    <a:pt x="3288" y="150"/>
                  </a:lnTo>
                  <a:lnTo>
                    <a:pt x="3288" y="156"/>
                  </a:lnTo>
                  <a:lnTo>
                    <a:pt x="3288" y="168"/>
                  </a:lnTo>
                  <a:lnTo>
                    <a:pt x="3288" y="174"/>
                  </a:lnTo>
                  <a:lnTo>
                    <a:pt x="3312" y="186"/>
                  </a:lnTo>
                  <a:lnTo>
                    <a:pt x="3318" y="192"/>
                  </a:lnTo>
                  <a:lnTo>
                    <a:pt x="3330" y="210"/>
                  </a:lnTo>
                  <a:lnTo>
                    <a:pt x="3336" y="210"/>
                  </a:lnTo>
                  <a:lnTo>
                    <a:pt x="3342" y="210"/>
                  </a:lnTo>
                  <a:lnTo>
                    <a:pt x="3348" y="210"/>
                  </a:lnTo>
                  <a:lnTo>
                    <a:pt x="3354" y="210"/>
                  </a:lnTo>
                  <a:lnTo>
                    <a:pt x="3360" y="210"/>
                  </a:lnTo>
                  <a:lnTo>
                    <a:pt x="3354" y="216"/>
                  </a:lnTo>
                  <a:lnTo>
                    <a:pt x="3348" y="222"/>
                  </a:lnTo>
                  <a:lnTo>
                    <a:pt x="3354" y="234"/>
                  </a:lnTo>
                  <a:lnTo>
                    <a:pt x="3360" y="234"/>
                  </a:lnTo>
                  <a:lnTo>
                    <a:pt x="3366" y="240"/>
                  </a:lnTo>
                  <a:lnTo>
                    <a:pt x="3372" y="246"/>
                  </a:lnTo>
                  <a:lnTo>
                    <a:pt x="3384" y="258"/>
                  </a:lnTo>
                  <a:lnTo>
                    <a:pt x="3402" y="270"/>
                  </a:lnTo>
                  <a:lnTo>
                    <a:pt x="3408" y="276"/>
                  </a:lnTo>
                  <a:lnTo>
                    <a:pt x="3420" y="288"/>
                  </a:lnTo>
                  <a:lnTo>
                    <a:pt x="3426" y="294"/>
                  </a:lnTo>
                  <a:lnTo>
                    <a:pt x="3432" y="294"/>
                  </a:lnTo>
                  <a:lnTo>
                    <a:pt x="3438" y="300"/>
                  </a:lnTo>
                  <a:lnTo>
                    <a:pt x="3444" y="306"/>
                  </a:lnTo>
                  <a:lnTo>
                    <a:pt x="3462" y="330"/>
                  </a:lnTo>
                  <a:lnTo>
                    <a:pt x="3468" y="336"/>
                  </a:lnTo>
                  <a:lnTo>
                    <a:pt x="3480" y="336"/>
                  </a:lnTo>
                  <a:lnTo>
                    <a:pt x="3486" y="336"/>
                  </a:lnTo>
                  <a:lnTo>
                    <a:pt x="3498" y="342"/>
                  </a:lnTo>
                  <a:lnTo>
                    <a:pt x="3510" y="348"/>
                  </a:lnTo>
                  <a:lnTo>
                    <a:pt x="3522" y="354"/>
                  </a:lnTo>
                  <a:lnTo>
                    <a:pt x="3522" y="366"/>
                  </a:lnTo>
                  <a:lnTo>
                    <a:pt x="3528" y="366"/>
                  </a:lnTo>
                  <a:lnTo>
                    <a:pt x="3528" y="372"/>
                  </a:lnTo>
                  <a:lnTo>
                    <a:pt x="3528" y="378"/>
                  </a:lnTo>
                  <a:lnTo>
                    <a:pt x="3522" y="384"/>
                  </a:lnTo>
                  <a:lnTo>
                    <a:pt x="3504" y="378"/>
                  </a:lnTo>
                  <a:lnTo>
                    <a:pt x="3498" y="384"/>
                  </a:lnTo>
                  <a:lnTo>
                    <a:pt x="3498" y="390"/>
                  </a:lnTo>
                  <a:lnTo>
                    <a:pt x="3504" y="408"/>
                  </a:lnTo>
                  <a:lnTo>
                    <a:pt x="3522" y="408"/>
                  </a:lnTo>
                  <a:lnTo>
                    <a:pt x="3534" y="414"/>
                  </a:lnTo>
                  <a:lnTo>
                    <a:pt x="3534" y="420"/>
                  </a:lnTo>
                  <a:lnTo>
                    <a:pt x="3522" y="426"/>
                  </a:lnTo>
                  <a:lnTo>
                    <a:pt x="3516" y="438"/>
                  </a:lnTo>
                  <a:lnTo>
                    <a:pt x="3516" y="450"/>
                  </a:lnTo>
                  <a:lnTo>
                    <a:pt x="3516" y="462"/>
                  </a:lnTo>
                  <a:lnTo>
                    <a:pt x="3534" y="450"/>
                  </a:lnTo>
                  <a:lnTo>
                    <a:pt x="3540" y="450"/>
                  </a:lnTo>
                  <a:lnTo>
                    <a:pt x="3546" y="450"/>
                  </a:lnTo>
                  <a:lnTo>
                    <a:pt x="3552" y="456"/>
                  </a:lnTo>
                  <a:lnTo>
                    <a:pt x="3564" y="450"/>
                  </a:lnTo>
                  <a:lnTo>
                    <a:pt x="3570" y="456"/>
                  </a:lnTo>
                  <a:lnTo>
                    <a:pt x="3570" y="462"/>
                  </a:lnTo>
                  <a:lnTo>
                    <a:pt x="3570" y="480"/>
                  </a:lnTo>
                  <a:lnTo>
                    <a:pt x="3576" y="486"/>
                  </a:lnTo>
                  <a:lnTo>
                    <a:pt x="3582" y="492"/>
                  </a:lnTo>
                  <a:lnTo>
                    <a:pt x="3588" y="486"/>
                  </a:lnTo>
                  <a:lnTo>
                    <a:pt x="3594" y="486"/>
                  </a:lnTo>
                  <a:lnTo>
                    <a:pt x="3600" y="486"/>
                  </a:lnTo>
                  <a:lnTo>
                    <a:pt x="3606" y="486"/>
                  </a:lnTo>
                  <a:lnTo>
                    <a:pt x="3612" y="492"/>
                  </a:lnTo>
                  <a:lnTo>
                    <a:pt x="3612" y="498"/>
                  </a:lnTo>
                  <a:lnTo>
                    <a:pt x="3612" y="504"/>
                  </a:lnTo>
                  <a:lnTo>
                    <a:pt x="3606" y="516"/>
                  </a:lnTo>
                  <a:lnTo>
                    <a:pt x="3606" y="522"/>
                  </a:lnTo>
                  <a:lnTo>
                    <a:pt x="3606" y="534"/>
                  </a:lnTo>
                  <a:lnTo>
                    <a:pt x="3618" y="546"/>
                  </a:lnTo>
                  <a:lnTo>
                    <a:pt x="3618" y="552"/>
                  </a:lnTo>
                  <a:lnTo>
                    <a:pt x="3630" y="558"/>
                  </a:lnTo>
                  <a:lnTo>
                    <a:pt x="3636" y="570"/>
                  </a:lnTo>
                  <a:lnTo>
                    <a:pt x="3636" y="576"/>
                  </a:lnTo>
                  <a:lnTo>
                    <a:pt x="3648" y="564"/>
                  </a:lnTo>
                  <a:lnTo>
                    <a:pt x="3660" y="546"/>
                  </a:lnTo>
                  <a:lnTo>
                    <a:pt x="3666" y="546"/>
                  </a:lnTo>
                  <a:lnTo>
                    <a:pt x="3672" y="540"/>
                  </a:lnTo>
                  <a:lnTo>
                    <a:pt x="3690" y="540"/>
                  </a:lnTo>
                  <a:lnTo>
                    <a:pt x="3714" y="540"/>
                  </a:lnTo>
                  <a:lnTo>
                    <a:pt x="3732" y="534"/>
                  </a:lnTo>
                  <a:lnTo>
                    <a:pt x="3738" y="528"/>
                  </a:lnTo>
                  <a:lnTo>
                    <a:pt x="3750" y="510"/>
                  </a:lnTo>
                  <a:lnTo>
                    <a:pt x="3762" y="504"/>
                  </a:lnTo>
                  <a:lnTo>
                    <a:pt x="3768" y="504"/>
                  </a:lnTo>
                  <a:lnTo>
                    <a:pt x="3774" y="510"/>
                  </a:lnTo>
                  <a:lnTo>
                    <a:pt x="3780" y="510"/>
                  </a:lnTo>
                  <a:lnTo>
                    <a:pt x="3780" y="522"/>
                  </a:lnTo>
                  <a:lnTo>
                    <a:pt x="3774" y="528"/>
                  </a:lnTo>
                  <a:lnTo>
                    <a:pt x="3768" y="540"/>
                  </a:lnTo>
                  <a:lnTo>
                    <a:pt x="3762" y="546"/>
                  </a:lnTo>
                  <a:lnTo>
                    <a:pt x="3762" y="552"/>
                  </a:lnTo>
                  <a:lnTo>
                    <a:pt x="3768" y="558"/>
                  </a:lnTo>
                  <a:lnTo>
                    <a:pt x="3774" y="570"/>
                  </a:lnTo>
                  <a:lnTo>
                    <a:pt x="3786" y="582"/>
                  </a:lnTo>
                  <a:lnTo>
                    <a:pt x="3792" y="588"/>
                  </a:lnTo>
                  <a:lnTo>
                    <a:pt x="3798" y="588"/>
                  </a:lnTo>
                  <a:lnTo>
                    <a:pt x="3816" y="576"/>
                  </a:lnTo>
                  <a:lnTo>
                    <a:pt x="3822" y="576"/>
                  </a:lnTo>
                  <a:lnTo>
                    <a:pt x="3840" y="576"/>
                  </a:lnTo>
                  <a:lnTo>
                    <a:pt x="3846" y="576"/>
                  </a:lnTo>
                  <a:lnTo>
                    <a:pt x="3852" y="570"/>
                  </a:lnTo>
                  <a:lnTo>
                    <a:pt x="3864" y="564"/>
                  </a:lnTo>
                  <a:lnTo>
                    <a:pt x="3882" y="552"/>
                  </a:lnTo>
                  <a:lnTo>
                    <a:pt x="3900" y="546"/>
                  </a:lnTo>
                  <a:lnTo>
                    <a:pt x="3906" y="546"/>
                  </a:lnTo>
                  <a:lnTo>
                    <a:pt x="3924" y="546"/>
                  </a:lnTo>
                  <a:lnTo>
                    <a:pt x="3948" y="552"/>
                  </a:lnTo>
                  <a:lnTo>
                    <a:pt x="3960" y="552"/>
                  </a:lnTo>
                  <a:lnTo>
                    <a:pt x="3966" y="552"/>
                  </a:lnTo>
                  <a:lnTo>
                    <a:pt x="3984" y="534"/>
                  </a:lnTo>
                  <a:lnTo>
                    <a:pt x="3990" y="534"/>
                  </a:lnTo>
                  <a:lnTo>
                    <a:pt x="4002" y="546"/>
                  </a:lnTo>
                  <a:lnTo>
                    <a:pt x="4002" y="552"/>
                  </a:lnTo>
                  <a:lnTo>
                    <a:pt x="4002" y="558"/>
                  </a:lnTo>
                  <a:lnTo>
                    <a:pt x="3996" y="558"/>
                  </a:lnTo>
                  <a:lnTo>
                    <a:pt x="3978" y="564"/>
                  </a:lnTo>
                  <a:lnTo>
                    <a:pt x="3972" y="570"/>
                  </a:lnTo>
                  <a:lnTo>
                    <a:pt x="3966" y="576"/>
                  </a:lnTo>
                  <a:lnTo>
                    <a:pt x="3960" y="582"/>
                  </a:lnTo>
                  <a:lnTo>
                    <a:pt x="3960" y="588"/>
                  </a:lnTo>
                  <a:lnTo>
                    <a:pt x="3966" y="594"/>
                  </a:lnTo>
                  <a:lnTo>
                    <a:pt x="3978" y="600"/>
                  </a:lnTo>
                  <a:lnTo>
                    <a:pt x="3984" y="600"/>
                  </a:lnTo>
                  <a:lnTo>
                    <a:pt x="3990" y="594"/>
                  </a:lnTo>
                  <a:lnTo>
                    <a:pt x="4002" y="576"/>
                  </a:lnTo>
                  <a:lnTo>
                    <a:pt x="4008" y="576"/>
                  </a:lnTo>
                  <a:lnTo>
                    <a:pt x="4014" y="576"/>
                  </a:lnTo>
                  <a:lnTo>
                    <a:pt x="4020" y="582"/>
                  </a:lnTo>
                  <a:lnTo>
                    <a:pt x="4026" y="594"/>
                  </a:lnTo>
                  <a:lnTo>
                    <a:pt x="4026" y="600"/>
                  </a:lnTo>
                  <a:lnTo>
                    <a:pt x="4038" y="600"/>
                  </a:lnTo>
                  <a:lnTo>
                    <a:pt x="4038" y="606"/>
                  </a:lnTo>
                  <a:lnTo>
                    <a:pt x="4068" y="612"/>
                  </a:lnTo>
                  <a:lnTo>
                    <a:pt x="4098" y="624"/>
                  </a:lnTo>
                  <a:lnTo>
                    <a:pt x="4098" y="630"/>
                  </a:lnTo>
                  <a:lnTo>
                    <a:pt x="4098" y="636"/>
                  </a:lnTo>
                  <a:lnTo>
                    <a:pt x="4098" y="660"/>
                  </a:lnTo>
                  <a:lnTo>
                    <a:pt x="4098" y="666"/>
                  </a:lnTo>
                  <a:lnTo>
                    <a:pt x="4098" y="678"/>
                  </a:lnTo>
                  <a:lnTo>
                    <a:pt x="4098" y="684"/>
                  </a:lnTo>
                  <a:lnTo>
                    <a:pt x="4098" y="708"/>
                  </a:lnTo>
                  <a:lnTo>
                    <a:pt x="4104" y="720"/>
                  </a:lnTo>
                  <a:lnTo>
                    <a:pt x="4116" y="732"/>
                  </a:lnTo>
                  <a:lnTo>
                    <a:pt x="4146" y="756"/>
                  </a:lnTo>
                  <a:lnTo>
                    <a:pt x="4146" y="762"/>
                  </a:lnTo>
                  <a:lnTo>
                    <a:pt x="4140" y="774"/>
                  </a:lnTo>
                  <a:lnTo>
                    <a:pt x="4134" y="786"/>
                  </a:lnTo>
                  <a:lnTo>
                    <a:pt x="4134" y="792"/>
                  </a:lnTo>
                  <a:lnTo>
                    <a:pt x="4140" y="798"/>
                  </a:lnTo>
                  <a:lnTo>
                    <a:pt x="4146" y="798"/>
                  </a:lnTo>
                  <a:lnTo>
                    <a:pt x="4152" y="804"/>
                  </a:lnTo>
                  <a:lnTo>
                    <a:pt x="4158" y="810"/>
                  </a:lnTo>
                  <a:lnTo>
                    <a:pt x="4164" y="816"/>
                  </a:lnTo>
                  <a:lnTo>
                    <a:pt x="4164" y="834"/>
                  </a:lnTo>
                  <a:lnTo>
                    <a:pt x="4164" y="846"/>
                  </a:lnTo>
                  <a:lnTo>
                    <a:pt x="4170" y="864"/>
                  </a:lnTo>
                  <a:lnTo>
                    <a:pt x="4182" y="876"/>
                  </a:lnTo>
                  <a:lnTo>
                    <a:pt x="4200" y="888"/>
                  </a:lnTo>
                  <a:lnTo>
                    <a:pt x="4200" y="894"/>
                  </a:lnTo>
                  <a:lnTo>
                    <a:pt x="4194" y="894"/>
                  </a:lnTo>
                  <a:lnTo>
                    <a:pt x="4182" y="888"/>
                  </a:lnTo>
                  <a:lnTo>
                    <a:pt x="4182" y="894"/>
                  </a:lnTo>
                  <a:lnTo>
                    <a:pt x="4176" y="894"/>
                  </a:lnTo>
                  <a:lnTo>
                    <a:pt x="4170" y="906"/>
                  </a:lnTo>
                  <a:lnTo>
                    <a:pt x="4176" y="918"/>
                  </a:lnTo>
                  <a:lnTo>
                    <a:pt x="4236" y="966"/>
                  </a:lnTo>
                  <a:lnTo>
                    <a:pt x="4248" y="978"/>
                  </a:lnTo>
                  <a:lnTo>
                    <a:pt x="4254" y="984"/>
                  </a:lnTo>
                  <a:lnTo>
                    <a:pt x="4254" y="996"/>
                  </a:lnTo>
                  <a:lnTo>
                    <a:pt x="4242" y="1002"/>
                  </a:lnTo>
                  <a:lnTo>
                    <a:pt x="4236" y="1008"/>
                  </a:lnTo>
                  <a:lnTo>
                    <a:pt x="4224" y="1002"/>
                  </a:lnTo>
                  <a:lnTo>
                    <a:pt x="4218" y="1002"/>
                  </a:lnTo>
                  <a:lnTo>
                    <a:pt x="4212" y="1008"/>
                  </a:lnTo>
                  <a:lnTo>
                    <a:pt x="4212" y="1014"/>
                  </a:lnTo>
                  <a:lnTo>
                    <a:pt x="4218" y="1032"/>
                  </a:lnTo>
                  <a:lnTo>
                    <a:pt x="4230" y="1056"/>
                  </a:lnTo>
                  <a:lnTo>
                    <a:pt x="4236" y="1062"/>
                  </a:lnTo>
                  <a:lnTo>
                    <a:pt x="4242" y="1068"/>
                  </a:lnTo>
                  <a:lnTo>
                    <a:pt x="4248" y="1068"/>
                  </a:lnTo>
                  <a:lnTo>
                    <a:pt x="4266" y="1056"/>
                  </a:lnTo>
                  <a:lnTo>
                    <a:pt x="4278" y="1050"/>
                  </a:lnTo>
                  <a:lnTo>
                    <a:pt x="4284" y="1056"/>
                  </a:lnTo>
                  <a:lnTo>
                    <a:pt x="4302" y="1062"/>
                  </a:lnTo>
                  <a:lnTo>
                    <a:pt x="4308" y="1068"/>
                  </a:lnTo>
                  <a:lnTo>
                    <a:pt x="4314" y="1068"/>
                  </a:lnTo>
                  <a:lnTo>
                    <a:pt x="4350" y="1086"/>
                  </a:lnTo>
                  <a:lnTo>
                    <a:pt x="4368" y="1098"/>
                  </a:lnTo>
                  <a:lnTo>
                    <a:pt x="4374" y="1104"/>
                  </a:lnTo>
                  <a:lnTo>
                    <a:pt x="4368" y="1110"/>
                  </a:lnTo>
                  <a:lnTo>
                    <a:pt x="4374" y="1116"/>
                  </a:lnTo>
                  <a:lnTo>
                    <a:pt x="4374" y="1128"/>
                  </a:lnTo>
                  <a:lnTo>
                    <a:pt x="4362" y="1158"/>
                  </a:lnTo>
                  <a:lnTo>
                    <a:pt x="4362" y="1164"/>
                  </a:lnTo>
                  <a:lnTo>
                    <a:pt x="4362" y="1170"/>
                  </a:lnTo>
                  <a:lnTo>
                    <a:pt x="4368" y="1182"/>
                  </a:lnTo>
                  <a:lnTo>
                    <a:pt x="4392" y="1194"/>
                  </a:lnTo>
                  <a:lnTo>
                    <a:pt x="4404" y="1200"/>
                  </a:lnTo>
                  <a:lnTo>
                    <a:pt x="4422" y="1200"/>
                  </a:lnTo>
                  <a:lnTo>
                    <a:pt x="4446" y="1194"/>
                  </a:lnTo>
                  <a:lnTo>
                    <a:pt x="4458" y="1182"/>
                  </a:lnTo>
                  <a:lnTo>
                    <a:pt x="4464" y="1182"/>
                  </a:lnTo>
                  <a:lnTo>
                    <a:pt x="4482" y="1176"/>
                  </a:lnTo>
                  <a:lnTo>
                    <a:pt x="4488" y="1176"/>
                  </a:lnTo>
                  <a:lnTo>
                    <a:pt x="4494" y="1170"/>
                  </a:lnTo>
                  <a:lnTo>
                    <a:pt x="4500" y="1170"/>
                  </a:lnTo>
                  <a:lnTo>
                    <a:pt x="4500" y="1176"/>
                  </a:lnTo>
                  <a:lnTo>
                    <a:pt x="4500" y="1188"/>
                  </a:lnTo>
                  <a:lnTo>
                    <a:pt x="4506" y="1200"/>
                  </a:lnTo>
                  <a:lnTo>
                    <a:pt x="4500" y="1218"/>
                  </a:lnTo>
                  <a:lnTo>
                    <a:pt x="4506" y="1224"/>
                  </a:lnTo>
                  <a:lnTo>
                    <a:pt x="4512" y="1230"/>
                  </a:lnTo>
                  <a:lnTo>
                    <a:pt x="4524" y="1230"/>
                  </a:lnTo>
                  <a:lnTo>
                    <a:pt x="4530" y="1230"/>
                  </a:lnTo>
                  <a:lnTo>
                    <a:pt x="4536" y="1236"/>
                  </a:lnTo>
                  <a:lnTo>
                    <a:pt x="4536" y="1242"/>
                  </a:lnTo>
                  <a:lnTo>
                    <a:pt x="4524" y="1254"/>
                  </a:lnTo>
                  <a:lnTo>
                    <a:pt x="4518" y="1272"/>
                  </a:lnTo>
                  <a:lnTo>
                    <a:pt x="4518" y="1278"/>
                  </a:lnTo>
                  <a:lnTo>
                    <a:pt x="4518" y="1296"/>
                  </a:lnTo>
                  <a:lnTo>
                    <a:pt x="4518" y="1314"/>
                  </a:lnTo>
                  <a:lnTo>
                    <a:pt x="4542" y="1332"/>
                  </a:lnTo>
                  <a:lnTo>
                    <a:pt x="4554" y="1332"/>
                  </a:lnTo>
                  <a:lnTo>
                    <a:pt x="4560" y="1332"/>
                  </a:lnTo>
                  <a:lnTo>
                    <a:pt x="4572" y="1338"/>
                  </a:lnTo>
                  <a:lnTo>
                    <a:pt x="4596" y="1350"/>
                  </a:lnTo>
                  <a:lnTo>
                    <a:pt x="4614" y="1368"/>
                  </a:lnTo>
                  <a:lnTo>
                    <a:pt x="4620" y="1374"/>
                  </a:lnTo>
                  <a:lnTo>
                    <a:pt x="4626" y="1386"/>
                  </a:lnTo>
                  <a:lnTo>
                    <a:pt x="4626" y="1404"/>
                  </a:lnTo>
                  <a:lnTo>
                    <a:pt x="4620" y="1410"/>
                  </a:lnTo>
                  <a:lnTo>
                    <a:pt x="4614" y="1410"/>
                  </a:lnTo>
                  <a:lnTo>
                    <a:pt x="4608" y="1416"/>
                  </a:lnTo>
                  <a:lnTo>
                    <a:pt x="4596" y="1410"/>
                  </a:lnTo>
                  <a:lnTo>
                    <a:pt x="4578" y="1404"/>
                  </a:lnTo>
                  <a:lnTo>
                    <a:pt x="4572" y="1404"/>
                  </a:lnTo>
                  <a:lnTo>
                    <a:pt x="4566" y="1410"/>
                  </a:lnTo>
                  <a:lnTo>
                    <a:pt x="4566" y="1416"/>
                  </a:lnTo>
                  <a:lnTo>
                    <a:pt x="4566" y="1422"/>
                  </a:lnTo>
                  <a:lnTo>
                    <a:pt x="4590" y="1440"/>
                  </a:lnTo>
                  <a:lnTo>
                    <a:pt x="4602" y="1452"/>
                  </a:lnTo>
                  <a:lnTo>
                    <a:pt x="4614" y="1470"/>
                  </a:lnTo>
                  <a:lnTo>
                    <a:pt x="4626" y="1470"/>
                  </a:lnTo>
                  <a:lnTo>
                    <a:pt x="4632" y="1464"/>
                  </a:lnTo>
                  <a:lnTo>
                    <a:pt x="4644" y="1458"/>
                  </a:lnTo>
                  <a:lnTo>
                    <a:pt x="4650" y="1458"/>
                  </a:lnTo>
                  <a:lnTo>
                    <a:pt x="4656" y="1458"/>
                  </a:lnTo>
                  <a:lnTo>
                    <a:pt x="4668" y="1464"/>
                  </a:lnTo>
                  <a:lnTo>
                    <a:pt x="4674" y="1476"/>
                  </a:lnTo>
                  <a:lnTo>
                    <a:pt x="4668" y="1488"/>
                  </a:lnTo>
                  <a:lnTo>
                    <a:pt x="4668" y="1506"/>
                  </a:lnTo>
                  <a:lnTo>
                    <a:pt x="4668" y="1518"/>
                  </a:lnTo>
                  <a:lnTo>
                    <a:pt x="4674" y="1518"/>
                  </a:lnTo>
                  <a:lnTo>
                    <a:pt x="4680" y="1524"/>
                  </a:lnTo>
                  <a:lnTo>
                    <a:pt x="4692" y="1530"/>
                  </a:lnTo>
                  <a:lnTo>
                    <a:pt x="4704" y="1536"/>
                  </a:lnTo>
                  <a:lnTo>
                    <a:pt x="4722" y="1548"/>
                  </a:lnTo>
                  <a:lnTo>
                    <a:pt x="4728" y="1560"/>
                  </a:lnTo>
                  <a:lnTo>
                    <a:pt x="4746" y="1566"/>
                  </a:lnTo>
                  <a:lnTo>
                    <a:pt x="4758" y="1572"/>
                  </a:lnTo>
                  <a:lnTo>
                    <a:pt x="4770" y="1584"/>
                  </a:lnTo>
                  <a:lnTo>
                    <a:pt x="4776" y="1584"/>
                  </a:lnTo>
                  <a:lnTo>
                    <a:pt x="4776" y="1572"/>
                  </a:lnTo>
                  <a:lnTo>
                    <a:pt x="4782" y="1566"/>
                  </a:lnTo>
                  <a:lnTo>
                    <a:pt x="4788" y="1566"/>
                  </a:lnTo>
                  <a:lnTo>
                    <a:pt x="4794" y="1566"/>
                  </a:lnTo>
                  <a:lnTo>
                    <a:pt x="4800" y="1566"/>
                  </a:lnTo>
                  <a:lnTo>
                    <a:pt x="4824" y="1572"/>
                  </a:lnTo>
                  <a:lnTo>
                    <a:pt x="4842" y="1584"/>
                  </a:lnTo>
                  <a:lnTo>
                    <a:pt x="4860" y="1596"/>
                  </a:lnTo>
                  <a:lnTo>
                    <a:pt x="4872" y="1608"/>
                  </a:lnTo>
                  <a:lnTo>
                    <a:pt x="4896" y="1632"/>
                  </a:lnTo>
                  <a:lnTo>
                    <a:pt x="4902" y="1638"/>
                  </a:lnTo>
                  <a:lnTo>
                    <a:pt x="4920" y="1644"/>
                  </a:lnTo>
                  <a:lnTo>
                    <a:pt x="4956" y="1650"/>
                  </a:lnTo>
                  <a:lnTo>
                    <a:pt x="4962" y="1656"/>
                  </a:lnTo>
                  <a:lnTo>
                    <a:pt x="4974" y="1662"/>
                  </a:lnTo>
                  <a:lnTo>
                    <a:pt x="4980" y="1668"/>
                  </a:lnTo>
                  <a:lnTo>
                    <a:pt x="4980" y="1674"/>
                  </a:lnTo>
                  <a:lnTo>
                    <a:pt x="4986" y="1680"/>
                  </a:lnTo>
                  <a:lnTo>
                    <a:pt x="4998" y="1710"/>
                  </a:lnTo>
                  <a:lnTo>
                    <a:pt x="5004" y="1764"/>
                  </a:lnTo>
                  <a:lnTo>
                    <a:pt x="5004" y="1770"/>
                  </a:lnTo>
                  <a:lnTo>
                    <a:pt x="5016" y="1782"/>
                  </a:lnTo>
                  <a:lnTo>
                    <a:pt x="5022" y="1794"/>
                  </a:lnTo>
                  <a:lnTo>
                    <a:pt x="5052" y="1812"/>
                  </a:lnTo>
                  <a:lnTo>
                    <a:pt x="5064" y="1824"/>
                  </a:lnTo>
                  <a:lnTo>
                    <a:pt x="5088" y="1836"/>
                  </a:lnTo>
                  <a:lnTo>
                    <a:pt x="5118" y="1836"/>
                  </a:lnTo>
                  <a:lnTo>
                    <a:pt x="5124" y="1842"/>
                  </a:lnTo>
                  <a:lnTo>
                    <a:pt x="5136" y="1848"/>
                  </a:lnTo>
                  <a:lnTo>
                    <a:pt x="5154" y="1866"/>
                  </a:lnTo>
                  <a:lnTo>
                    <a:pt x="5166" y="1884"/>
                  </a:lnTo>
                  <a:lnTo>
                    <a:pt x="5190" y="1896"/>
                  </a:lnTo>
                  <a:lnTo>
                    <a:pt x="5202" y="1896"/>
                  </a:lnTo>
                  <a:lnTo>
                    <a:pt x="5214" y="1902"/>
                  </a:lnTo>
                  <a:lnTo>
                    <a:pt x="5208" y="1908"/>
                  </a:lnTo>
                  <a:lnTo>
                    <a:pt x="5214" y="1920"/>
                  </a:lnTo>
                  <a:lnTo>
                    <a:pt x="5220" y="1926"/>
                  </a:lnTo>
                  <a:lnTo>
                    <a:pt x="5232" y="1926"/>
                  </a:lnTo>
                  <a:lnTo>
                    <a:pt x="5238" y="1932"/>
                  </a:lnTo>
                  <a:lnTo>
                    <a:pt x="5238" y="1938"/>
                  </a:lnTo>
                  <a:lnTo>
                    <a:pt x="5238" y="1944"/>
                  </a:lnTo>
                  <a:lnTo>
                    <a:pt x="5238" y="1956"/>
                  </a:lnTo>
                  <a:lnTo>
                    <a:pt x="5238" y="1962"/>
                  </a:lnTo>
                  <a:lnTo>
                    <a:pt x="5244" y="1968"/>
                  </a:lnTo>
                  <a:lnTo>
                    <a:pt x="5256" y="1968"/>
                  </a:lnTo>
                  <a:lnTo>
                    <a:pt x="5262" y="1968"/>
                  </a:lnTo>
                  <a:lnTo>
                    <a:pt x="5268" y="1974"/>
                  </a:lnTo>
                  <a:lnTo>
                    <a:pt x="5274" y="1974"/>
                  </a:lnTo>
                  <a:lnTo>
                    <a:pt x="5286" y="1974"/>
                  </a:lnTo>
                  <a:lnTo>
                    <a:pt x="5286" y="1980"/>
                  </a:lnTo>
                  <a:lnTo>
                    <a:pt x="5292" y="1980"/>
                  </a:lnTo>
                  <a:lnTo>
                    <a:pt x="5286" y="1986"/>
                  </a:lnTo>
                  <a:lnTo>
                    <a:pt x="5274" y="1992"/>
                  </a:lnTo>
                  <a:lnTo>
                    <a:pt x="5274" y="2004"/>
                  </a:lnTo>
                  <a:lnTo>
                    <a:pt x="5298" y="2010"/>
                  </a:lnTo>
                  <a:lnTo>
                    <a:pt x="5304" y="2016"/>
                  </a:lnTo>
                  <a:lnTo>
                    <a:pt x="5304" y="2022"/>
                  </a:lnTo>
                  <a:lnTo>
                    <a:pt x="5304" y="2040"/>
                  </a:lnTo>
                  <a:lnTo>
                    <a:pt x="5298" y="2046"/>
                  </a:lnTo>
                  <a:lnTo>
                    <a:pt x="5286" y="2046"/>
                  </a:lnTo>
                  <a:lnTo>
                    <a:pt x="5280" y="2052"/>
                  </a:lnTo>
                  <a:lnTo>
                    <a:pt x="5274" y="2052"/>
                  </a:lnTo>
                  <a:lnTo>
                    <a:pt x="5274" y="2070"/>
                  </a:lnTo>
                  <a:lnTo>
                    <a:pt x="5274" y="2076"/>
                  </a:lnTo>
                  <a:lnTo>
                    <a:pt x="5268" y="2088"/>
                  </a:lnTo>
                  <a:lnTo>
                    <a:pt x="5262" y="2100"/>
                  </a:lnTo>
                  <a:lnTo>
                    <a:pt x="5262" y="2106"/>
                  </a:lnTo>
                  <a:lnTo>
                    <a:pt x="5256" y="2112"/>
                  </a:lnTo>
                  <a:lnTo>
                    <a:pt x="5238" y="2112"/>
                  </a:lnTo>
                  <a:lnTo>
                    <a:pt x="5232" y="2112"/>
                  </a:lnTo>
                  <a:lnTo>
                    <a:pt x="5232" y="2118"/>
                  </a:lnTo>
                  <a:lnTo>
                    <a:pt x="5232" y="2130"/>
                  </a:lnTo>
                  <a:lnTo>
                    <a:pt x="5232" y="2142"/>
                  </a:lnTo>
                  <a:lnTo>
                    <a:pt x="5226" y="2160"/>
                  </a:lnTo>
                  <a:lnTo>
                    <a:pt x="5226" y="2166"/>
                  </a:lnTo>
                  <a:lnTo>
                    <a:pt x="5232" y="2178"/>
                  </a:lnTo>
                  <a:lnTo>
                    <a:pt x="5244" y="2184"/>
                  </a:lnTo>
                  <a:lnTo>
                    <a:pt x="5250" y="2184"/>
                  </a:lnTo>
                  <a:lnTo>
                    <a:pt x="5244" y="2196"/>
                  </a:lnTo>
                  <a:lnTo>
                    <a:pt x="5244" y="2202"/>
                  </a:lnTo>
                  <a:lnTo>
                    <a:pt x="5256" y="2226"/>
                  </a:lnTo>
                  <a:lnTo>
                    <a:pt x="5250" y="2238"/>
                  </a:lnTo>
                  <a:lnTo>
                    <a:pt x="5250" y="2250"/>
                  </a:lnTo>
                  <a:lnTo>
                    <a:pt x="5250" y="2256"/>
                  </a:lnTo>
                  <a:lnTo>
                    <a:pt x="5256" y="2256"/>
                  </a:lnTo>
                  <a:lnTo>
                    <a:pt x="5262" y="2262"/>
                  </a:lnTo>
                  <a:lnTo>
                    <a:pt x="5268" y="2262"/>
                  </a:lnTo>
                  <a:lnTo>
                    <a:pt x="5274" y="2262"/>
                  </a:lnTo>
                  <a:lnTo>
                    <a:pt x="5280" y="2262"/>
                  </a:lnTo>
                  <a:lnTo>
                    <a:pt x="5292" y="2274"/>
                  </a:lnTo>
                  <a:lnTo>
                    <a:pt x="5304" y="2274"/>
                  </a:lnTo>
                  <a:lnTo>
                    <a:pt x="5316" y="2268"/>
                  </a:lnTo>
                  <a:lnTo>
                    <a:pt x="5322" y="2268"/>
                  </a:lnTo>
                  <a:lnTo>
                    <a:pt x="5322" y="2280"/>
                  </a:lnTo>
                  <a:lnTo>
                    <a:pt x="5322" y="2286"/>
                  </a:lnTo>
                  <a:lnTo>
                    <a:pt x="5334" y="2280"/>
                  </a:lnTo>
                  <a:lnTo>
                    <a:pt x="5340" y="2286"/>
                  </a:lnTo>
                  <a:lnTo>
                    <a:pt x="5346" y="2286"/>
                  </a:lnTo>
                  <a:lnTo>
                    <a:pt x="5352" y="2286"/>
                  </a:lnTo>
                  <a:lnTo>
                    <a:pt x="5352" y="2292"/>
                  </a:lnTo>
                  <a:lnTo>
                    <a:pt x="5352" y="2298"/>
                  </a:lnTo>
                  <a:lnTo>
                    <a:pt x="5346" y="2304"/>
                  </a:lnTo>
                  <a:lnTo>
                    <a:pt x="5352" y="2322"/>
                  </a:lnTo>
                  <a:lnTo>
                    <a:pt x="5346" y="2322"/>
                  </a:lnTo>
                  <a:lnTo>
                    <a:pt x="5340" y="2322"/>
                  </a:lnTo>
                  <a:lnTo>
                    <a:pt x="5340" y="2328"/>
                  </a:lnTo>
                  <a:lnTo>
                    <a:pt x="5352" y="2328"/>
                  </a:lnTo>
                  <a:lnTo>
                    <a:pt x="5346" y="2340"/>
                  </a:lnTo>
                  <a:lnTo>
                    <a:pt x="5352" y="2346"/>
                  </a:lnTo>
                  <a:lnTo>
                    <a:pt x="5352" y="2352"/>
                  </a:lnTo>
                  <a:lnTo>
                    <a:pt x="5394" y="2364"/>
                  </a:lnTo>
                  <a:lnTo>
                    <a:pt x="5400" y="2364"/>
                  </a:lnTo>
                  <a:lnTo>
                    <a:pt x="5412" y="2370"/>
                  </a:lnTo>
                  <a:lnTo>
                    <a:pt x="5424" y="2370"/>
                  </a:lnTo>
                  <a:lnTo>
                    <a:pt x="5424" y="2388"/>
                  </a:lnTo>
                  <a:lnTo>
                    <a:pt x="5430" y="2400"/>
                  </a:lnTo>
                  <a:lnTo>
                    <a:pt x="5448" y="2442"/>
                  </a:lnTo>
                  <a:lnTo>
                    <a:pt x="5448" y="2448"/>
                  </a:lnTo>
                  <a:lnTo>
                    <a:pt x="5454" y="2460"/>
                  </a:lnTo>
                  <a:lnTo>
                    <a:pt x="5460" y="2484"/>
                  </a:lnTo>
                  <a:lnTo>
                    <a:pt x="5460" y="2490"/>
                  </a:lnTo>
                  <a:lnTo>
                    <a:pt x="5460" y="2496"/>
                  </a:lnTo>
                  <a:lnTo>
                    <a:pt x="5460" y="2526"/>
                  </a:lnTo>
                  <a:lnTo>
                    <a:pt x="5460" y="2550"/>
                  </a:lnTo>
                  <a:lnTo>
                    <a:pt x="5460" y="2556"/>
                  </a:lnTo>
                  <a:lnTo>
                    <a:pt x="5436" y="2604"/>
                  </a:lnTo>
                  <a:lnTo>
                    <a:pt x="5436" y="2610"/>
                  </a:lnTo>
                  <a:lnTo>
                    <a:pt x="5436" y="2622"/>
                  </a:lnTo>
                  <a:lnTo>
                    <a:pt x="5436" y="2646"/>
                  </a:lnTo>
                  <a:lnTo>
                    <a:pt x="5442" y="2664"/>
                  </a:lnTo>
                  <a:lnTo>
                    <a:pt x="5454" y="2682"/>
                  </a:lnTo>
                  <a:lnTo>
                    <a:pt x="5472" y="2694"/>
                  </a:lnTo>
                  <a:lnTo>
                    <a:pt x="5478" y="2700"/>
                  </a:lnTo>
                  <a:lnTo>
                    <a:pt x="5484" y="2706"/>
                  </a:lnTo>
                  <a:lnTo>
                    <a:pt x="5490" y="2706"/>
                  </a:lnTo>
                  <a:lnTo>
                    <a:pt x="5502" y="2718"/>
                  </a:lnTo>
                  <a:lnTo>
                    <a:pt x="5508" y="2724"/>
                  </a:lnTo>
                  <a:lnTo>
                    <a:pt x="5508" y="2748"/>
                  </a:lnTo>
                  <a:lnTo>
                    <a:pt x="5502" y="2772"/>
                  </a:lnTo>
                  <a:lnTo>
                    <a:pt x="5496" y="2784"/>
                  </a:lnTo>
                  <a:lnTo>
                    <a:pt x="5496" y="2796"/>
                  </a:lnTo>
                  <a:lnTo>
                    <a:pt x="5496" y="2814"/>
                  </a:lnTo>
                  <a:lnTo>
                    <a:pt x="5496" y="2820"/>
                  </a:lnTo>
                  <a:lnTo>
                    <a:pt x="5496" y="2826"/>
                  </a:lnTo>
                  <a:lnTo>
                    <a:pt x="5490" y="2832"/>
                  </a:lnTo>
                  <a:lnTo>
                    <a:pt x="5466" y="2862"/>
                  </a:lnTo>
                  <a:lnTo>
                    <a:pt x="5454" y="2868"/>
                  </a:lnTo>
                  <a:lnTo>
                    <a:pt x="5442" y="2880"/>
                  </a:lnTo>
                  <a:lnTo>
                    <a:pt x="5430" y="2892"/>
                  </a:lnTo>
                  <a:lnTo>
                    <a:pt x="5412" y="2904"/>
                  </a:lnTo>
                  <a:lnTo>
                    <a:pt x="5400" y="2910"/>
                  </a:lnTo>
                  <a:lnTo>
                    <a:pt x="5370" y="2928"/>
                  </a:lnTo>
                  <a:lnTo>
                    <a:pt x="5376" y="2946"/>
                  </a:lnTo>
                  <a:lnTo>
                    <a:pt x="5388" y="2958"/>
                  </a:lnTo>
                  <a:lnTo>
                    <a:pt x="5394" y="2964"/>
                  </a:lnTo>
                  <a:lnTo>
                    <a:pt x="5406" y="3012"/>
                  </a:lnTo>
                  <a:lnTo>
                    <a:pt x="5418" y="3030"/>
                  </a:lnTo>
                  <a:lnTo>
                    <a:pt x="5424" y="3036"/>
                  </a:lnTo>
                  <a:lnTo>
                    <a:pt x="5436" y="3048"/>
                  </a:lnTo>
                  <a:lnTo>
                    <a:pt x="5442" y="3054"/>
                  </a:lnTo>
                  <a:lnTo>
                    <a:pt x="5448" y="3072"/>
                  </a:lnTo>
                  <a:lnTo>
                    <a:pt x="5466" y="3096"/>
                  </a:lnTo>
                  <a:lnTo>
                    <a:pt x="5472" y="3108"/>
                  </a:lnTo>
                  <a:lnTo>
                    <a:pt x="5484" y="3114"/>
                  </a:lnTo>
                  <a:lnTo>
                    <a:pt x="5490" y="3120"/>
                  </a:lnTo>
                  <a:lnTo>
                    <a:pt x="5496" y="3120"/>
                  </a:lnTo>
                  <a:lnTo>
                    <a:pt x="5508" y="3126"/>
                  </a:lnTo>
                  <a:lnTo>
                    <a:pt x="5526" y="3138"/>
                  </a:lnTo>
                  <a:lnTo>
                    <a:pt x="5550" y="3162"/>
                  </a:lnTo>
                  <a:lnTo>
                    <a:pt x="5574" y="3180"/>
                  </a:lnTo>
                  <a:lnTo>
                    <a:pt x="5574" y="3186"/>
                  </a:lnTo>
                  <a:lnTo>
                    <a:pt x="5580" y="3198"/>
                  </a:lnTo>
                  <a:lnTo>
                    <a:pt x="5574" y="3204"/>
                  </a:lnTo>
                  <a:lnTo>
                    <a:pt x="5568" y="3216"/>
                  </a:lnTo>
                  <a:lnTo>
                    <a:pt x="5562" y="3228"/>
                  </a:lnTo>
                  <a:lnTo>
                    <a:pt x="5556" y="3246"/>
                  </a:lnTo>
                  <a:lnTo>
                    <a:pt x="5550" y="3258"/>
                  </a:lnTo>
                  <a:lnTo>
                    <a:pt x="5556" y="3258"/>
                  </a:lnTo>
                  <a:lnTo>
                    <a:pt x="5562" y="3258"/>
                  </a:lnTo>
                  <a:lnTo>
                    <a:pt x="5568" y="3264"/>
                  </a:lnTo>
                  <a:lnTo>
                    <a:pt x="5574" y="3270"/>
                  </a:lnTo>
                  <a:lnTo>
                    <a:pt x="5580" y="3276"/>
                  </a:lnTo>
                  <a:lnTo>
                    <a:pt x="5592" y="3288"/>
                  </a:lnTo>
                  <a:lnTo>
                    <a:pt x="5604" y="3306"/>
                  </a:lnTo>
                  <a:lnTo>
                    <a:pt x="5604" y="3312"/>
                  </a:lnTo>
                  <a:lnTo>
                    <a:pt x="5604" y="3318"/>
                  </a:lnTo>
                  <a:lnTo>
                    <a:pt x="5610" y="3330"/>
                  </a:lnTo>
                  <a:lnTo>
                    <a:pt x="5616" y="3336"/>
                  </a:lnTo>
                  <a:lnTo>
                    <a:pt x="5634" y="3336"/>
                  </a:lnTo>
                  <a:lnTo>
                    <a:pt x="5640" y="3330"/>
                  </a:lnTo>
                  <a:lnTo>
                    <a:pt x="5646" y="3324"/>
                  </a:lnTo>
                  <a:lnTo>
                    <a:pt x="5646" y="3312"/>
                  </a:lnTo>
                  <a:lnTo>
                    <a:pt x="5652" y="3306"/>
                  </a:lnTo>
                  <a:lnTo>
                    <a:pt x="5670" y="3300"/>
                  </a:lnTo>
                  <a:lnTo>
                    <a:pt x="5676" y="3282"/>
                  </a:lnTo>
                  <a:lnTo>
                    <a:pt x="5688" y="3264"/>
                  </a:lnTo>
                  <a:lnTo>
                    <a:pt x="5694" y="3258"/>
                  </a:lnTo>
                  <a:lnTo>
                    <a:pt x="5694" y="3252"/>
                  </a:lnTo>
                  <a:lnTo>
                    <a:pt x="5694" y="3240"/>
                  </a:lnTo>
                  <a:lnTo>
                    <a:pt x="5700" y="3228"/>
                  </a:lnTo>
                  <a:lnTo>
                    <a:pt x="5724" y="3234"/>
                  </a:lnTo>
                  <a:lnTo>
                    <a:pt x="5736" y="3234"/>
                  </a:lnTo>
                  <a:lnTo>
                    <a:pt x="5742" y="3240"/>
                  </a:lnTo>
                  <a:lnTo>
                    <a:pt x="5742" y="3252"/>
                  </a:lnTo>
                  <a:lnTo>
                    <a:pt x="5748" y="3258"/>
                  </a:lnTo>
                  <a:lnTo>
                    <a:pt x="5772" y="3258"/>
                  </a:lnTo>
                  <a:lnTo>
                    <a:pt x="5778" y="3258"/>
                  </a:lnTo>
                  <a:lnTo>
                    <a:pt x="5802" y="3252"/>
                  </a:lnTo>
                  <a:lnTo>
                    <a:pt x="5808" y="3252"/>
                  </a:lnTo>
                  <a:lnTo>
                    <a:pt x="5808" y="3258"/>
                  </a:lnTo>
                  <a:lnTo>
                    <a:pt x="5808" y="3264"/>
                  </a:lnTo>
                  <a:lnTo>
                    <a:pt x="5802" y="3270"/>
                  </a:lnTo>
                  <a:lnTo>
                    <a:pt x="5802" y="3276"/>
                  </a:lnTo>
                  <a:lnTo>
                    <a:pt x="5802" y="3282"/>
                  </a:lnTo>
                  <a:lnTo>
                    <a:pt x="5826" y="3288"/>
                  </a:lnTo>
                  <a:lnTo>
                    <a:pt x="5832" y="3282"/>
                  </a:lnTo>
                  <a:lnTo>
                    <a:pt x="5838" y="3282"/>
                  </a:lnTo>
                  <a:lnTo>
                    <a:pt x="5838" y="3288"/>
                  </a:lnTo>
                  <a:lnTo>
                    <a:pt x="5838" y="3294"/>
                  </a:lnTo>
                  <a:lnTo>
                    <a:pt x="5838" y="3306"/>
                  </a:lnTo>
                  <a:lnTo>
                    <a:pt x="5844" y="3312"/>
                  </a:lnTo>
                  <a:lnTo>
                    <a:pt x="5850" y="3324"/>
                  </a:lnTo>
                  <a:lnTo>
                    <a:pt x="5844" y="3336"/>
                  </a:lnTo>
                  <a:lnTo>
                    <a:pt x="5850" y="3336"/>
                  </a:lnTo>
                  <a:lnTo>
                    <a:pt x="5856" y="3342"/>
                  </a:lnTo>
                  <a:lnTo>
                    <a:pt x="5868" y="3354"/>
                  </a:lnTo>
                  <a:lnTo>
                    <a:pt x="5886" y="3354"/>
                  </a:lnTo>
                  <a:lnTo>
                    <a:pt x="5892" y="3360"/>
                  </a:lnTo>
                  <a:lnTo>
                    <a:pt x="5892" y="3366"/>
                  </a:lnTo>
                  <a:lnTo>
                    <a:pt x="5898" y="3378"/>
                  </a:lnTo>
                  <a:lnTo>
                    <a:pt x="5910" y="3384"/>
                  </a:lnTo>
                  <a:lnTo>
                    <a:pt x="5910" y="3390"/>
                  </a:lnTo>
                  <a:lnTo>
                    <a:pt x="5892" y="3408"/>
                  </a:lnTo>
                  <a:lnTo>
                    <a:pt x="5892" y="3420"/>
                  </a:lnTo>
                  <a:lnTo>
                    <a:pt x="5892" y="3432"/>
                  </a:lnTo>
                  <a:lnTo>
                    <a:pt x="5898" y="3444"/>
                  </a:lnTo>
                  <a:lnTo>
                    <a:pt x="5904" y="3444"/>
                  </a:lnTo>
                  <a:lnTo>
                    <a:pt x="5922" y="3444"/>
                  </a:lnTo>
                  <a:lnTo>
                    <a:pt x="5928" y="3450"/>
                  </a:lnTo>
                  <a:lnTo>
                    <a:pt x="5934" y="3450"/>
                  </a:lnTo>
                  <a:lnTo>
                    <a:pt x="5934" y="3462"/>
                  </a:lnTo>
                  <a:lnTo>
                    <a:pt x="5916" y="3486"/>
                  </a:lnTo>
                  <a:lnTo>
                    <a:pt x="5922" y="3492"/>
                  </a:lnTo>
                  <a:lnTo>
                    <a:pt x="5934" y="3498"/>
                  </a:lnTo>
                  <a:lnTo>
                    <a:pt x="5940" y="3522"/>
                  </a:lnTo>
                  <a:lnTo>
                    <a:pt x="5946" y="3522"/>
                  </a:lnTo>
                  <a:lnTo>
                    <a:pt x="5952" y="3528"/>
                  </a:lnTo>
                  <a:lnTo>
                    <a:pt x="5958" y="3540"/>
                  </a:lnTo>
                  <a:lnTo>
                    <a:pt x="5988" y="3540"/>
                  </a:lnTo>
                  <a:lnTo>
                    <a:pt x="5994" y="3540"/>
                  </a:lnTo>
                  <a:lnTo>
                    <a:pt x="5994" y="3546"/>
                  </a:lnTo>
                  <a:lnTo>
                    <a:pt x="6000" y="3552"/>
                  </a:lnTo>
                  <a:lnTo>
                    <a:pt x="6006" y="3552"/>
                  </a:lnTo>
                  <a:lnTo>
                    <a:pt x="6006" y="3558"/>
                  </a:lnTo>
                  <a:lnTo>
                    <a:pt x="6006" y="3570"/>
                  </a:lnTo>
                  <a:lnTo>
                    <a:pt x="6000" y="3576"/>
                  </a:lnTo>
                  <a:lnTo>
                    <a:pt x="6000" y="3582"/>
                  </a:lnTo>
                  <a:lnTo>
                    <a:pt x="6006" y="3588"/>
                  </a:lnTo>
                  <a:lnTo>
                    <a:pt x="6018" y="3600"/>
                  </a:lnTo>
                  <a:lnTo>
                    <a:pt x="6018" y="3612"/>
                  </a:lnTo>
                  <a:lnTo>
                    <a:pt x="6018" y="3618"/>
                  </a:lnTo>
                  <a:lnTo>
                    <a:pt x="6024" y="3624"/>
                  </a:lnTo>
                  <a:lnTo>
                    <a:pt x="6030" y="3624"/>
                  </a:lnTo>
                  <a:lnTo>
                    <a:pt x="6030" y="3630"/>
                  </a:lnTo>
                  <a:lnTo>
                    <a:pt x="6024" y="3630"/>
                  </a:lnTo>
                  <a:lnTo>
                    <a:pt x="6018" y="3636"/>
                  </a:lnTo>
                  <a:lnTo>
                    <a:pt x="6018" y="3642"/>
                  </a:lnTo>
                  <a:lnTo>
                    <a:pt x="6024" y="3654"/>
                  </a:lnTo>
                  <a:lnTo>
                    <a:pt x="6018" y="3666"/>
                  </a:lnTo>
                  <a:lnTo>
                    <a:pt x="6024" y="3666"/>
                  </a:lnTo>
                  <a:lnTo>
                    <a:pt x="6030" y="3666"/>
                  </a:lnTo>
                  <a:lnTo>
                    <a:pt x="6036" y="3666"/>
                  </a:lnTo>
                  <a:lnTo>
                    <a:pt x="6042" y="3672"/>
                  </a:lnTo>
                  <a:lnTo>
                    <a:pt x="6048" y="3672"/>
                  </a:lnTo>
                  <a:lnTo>
                    <a:pt x="6054" y="3660"/>
                  </a:lnTo>
                  <a:lnTo>
                    <a:pt x="6054" y="3648"/>
                  </a:lnTo>
                  <a:lnTo>
                    <a:pt x="6048" y="3648"/>
                  </a:lnTo>
                  <a:lnTo>
                    <a:pt x="6054" y="3642"/>
                  </a:lnTo>
                  <a:lnTo>
                    <a:pt x="6066" y="3648"/>
                  </a:lnTo>
                  <a:lnTo>
                    <a:pt x="6072" y="3648"/>
                  </a:lnTo>
                  <a:lnTo>
                    <a:pt x="6078" y="3660"/>
                  </a:lnTo>
                  <a:lnTo>
                    <a:pt x="6078" y="3678"/>
                  </a:lnTo>
                  <a:lnTo>
                    <a:pt x="6084" y="3690"/>
                  </a:lnTo>
                  <a:lnTo>
                    <a:pt x="6084" y="3696"/>
                  </a:lnTo>
                  <a:lnTo>
                    <a:pt x="6084" y="3702"/>
                  </a:lnTo>
                  <a:lnTo>
                    <a:pt x="6078" y="3702"/>
                  </a:lnTo>
                  <a:lnTo>
                    <a:pt x="6054" y="3708"/>
                  </a:lnTo>
                  <a:lnTo>
                    <a:pt x="6048" y="3708"/>
                  </a:lnTo>
                  <a:lnTo>
                    <a:pt x="6042" y="3702"/>
                  </a:lnTo>
                  <a:lnTo>
                    <a:pt x="6036" y="3702"/>
                  </a:lnTo>
                  <a:lnTo>
                    <a:pt x="6036" y="3708"/>
                  </a:lnTo>
                  <a:lnTo>
                    <a:pt x="6030" y="3714"/>
                  </a:lnTo>
                  <a:lnTo>
                    <a:pt x="6036" y="3720"/>
                  </a:lnTo>
                  <a:lnTo>
                    <a:pt x="6048" y="3726"/>
                  </a:lnTo>
                  <a:lnTo>
                    <a:pt x="6048" y="3732"/>
                  </a:lnTo>
                  <a:lnTo>
                    <a:pt x="6030" y="3750"/>
                  </a:lnTo>
                  <a:lnTo>
                    <a:pt x="6030" y="3756"/>
                  </a:lnTo>
                  <a:lnTo>
                    <a:pt x="6030" y="3762"/>
                  </a:lnTo>
                  <a:lnTo>
                    <a:pt x="6036" y="3768"/>
                  </a:lnTo>
                  <a:lnTo>
                    <a:pt x="6036" y="3774"/>
                  </a:lnTo>
                  <a:lnTo>
                    <a:pt x="6024" y="3786"/>
                  </a:lnTo>
                  <a:lnTo>
                    <a:pt x="6030" y="3792"/>
                  </a:lnTo>
                  <a:lnTo>
                    <a:pt x="6030" y="3804"/>
                  </a:lnTo>
                  <a:lnTo>
                    <a:pt x="6042" y="3804"/>
                  </a:lnTo>
                  <a:lnTo>
                    <a:pt x="6048" y="3804"/>
                  </a:lnTo>
                  <a:lnTo>
                    <a:pt x="6048" y="3810"/>
                  </a:lnTo>
                  <a:lnTo>
                    <a:pt x="6048" y="3816"/>
                  </a:lnTo>
                  <a:lnTo>
                    <a:pt x="6054" y="3834"/>
                  </a:lnTo>
                  <a:lnTo>
                    <a:pt x="6048" y="3840"/>
                  </a:lnTo>
                  <a:lnTo>
                    <a:pt x="6048" y="3852"/>
                  </a:lnTo>
                  <a:lnTo>
                    <a:pt x="6042" y="3858"/>
                  </a:lnTo>
                  <a:lnTo>
                    <a:pt x="6048" y="3870"/>
                  </a:lnTo>
                  <a:lnTo>
                    <a:pt x="6054" y="3876"/>
                  </a:lnTo>
                  <a:lnTo>
                    <a:pt x="6054" y="3882"/>
                  </a:lnTo>
                  <a:lnTo>
                    <a:pt x="6048" y="3882"/>
                  </a:lnTo>
                  <a:lnTo>
                    <a:pt x="6054" y="3888"/>
                  </a:lnTo>
                  <a:lnTo>
                    <a:pt x="6066" y="3894"/>
                  </a:lnTo>
                  <a:lnTo>
                    <a:pt x="6066" y="3900"/>
                  </a:lnTo>
                  <a:lnTo>
                    <a:pt x="6048" y="3906"/>
                  </a:lnTo>
                  <a:lnTo>
                    <a:pt x="6036" y="3900"/>
                  </a:lnTo>
                  <a:lnTo>
                    <a:pt x="6012" y="3900"/>
                  </a:lnTo>
                  <a:lnTo>
                    <a:pt x="6012" y="3906"/>
                  </a:lnTo>
                  <a:lnTo>
                    <a:pt x="6012" y="3924"/>
                  </a:lnTo>
                  <a:lnTo>
                    <a:pt x="6006" y="3930"/>
                  </a:lnTo>
                  <a:lnTo>
                    <a:pt x="6000" y="3930"/>
                  </a:lnTo>
                  <a:lnTo>
                    <a:pt x="5994" y="3948"/>
                  </a:lnTo>
                  <a:lnTo>
                    <a:pt x="5988" y="3954"/>
                  </a:lnTo>
                  <a:lnTo>
                    <a:pt x="5988" y="3960"/>
                  </a:lnTo>
                  <a:lnTo>
                    <a:pt x="5988" y="3966"/>
                  </a:lnTo>
                  <a:lnTo>
                    <a:pt x="5994" y="3966"/>
                  </a:lnTo>
                  <a:lnTo>
                    <a:pt x="6000" y="3966"/>
                  </a:lnTo>
                  <a:lnTo>
                    <a:pt x="6006" y="3966"/>
                  </a:lnTo>
                  <a:lnTo>
                    <a:pt x="6012" y="3966"/>
                  </a:lnTo>
                  <a:lnTo>
                    <a:pt x="6018" y="3972"/>
                  </a:lnTo>
                  <a:lnTo>
                    <a:pt x="6018" y="3978"/>
                  </a:lnTo>
                  <a:lnTo>
                    <a:pt x="6024" y="3996"/>
                  </a:lnTo>
                  <a:lnTo>
                    <a:pt x="6024" y="4002"/>
                  </a:lnTo>
                  <a:lnTo>
                    <a:pt x="6024" y="4008"/>
                  </a:lnTo>
                  <a:lnTo>
                    <a:pt x="6012" y="4014"/>
                  </a:lnTo>
                  <a:lnTo>
                    <a:pt x="6006" y="4014"/>
                  </a:lnTo>
                  <a:lnTo>
                    <a:pt x="6006" y="4020"/>
                  </a:lnTo>
                  <a:lnTo>
                    <a:pt x="6012" y="4026"/>
                  </a:lnTo>
                  <a:lnTo>
                    <a:pt x="6024" y="4038"/>
                  </a:lnTo>
                  <a:lnTo>
                    <a:pt x="6024" y="4062"/>
                  </a:lnTo>
                  <a:lnTo>
                    <a:pt x="6018" y="4062"/>
                  </a:lnTo>
                  <a:lnTo>
                    <a:pt x="6006" y="4062"/>
                  </a:lnTo>
                  <a:lnTo>
                    <a:pt x="6000" y="4062"/>
                  </a:lnTo>
                  <a:lnTo>
                    <a:pt x="5994" y="4062"/>
                  </a:lnTo>
                  <a:lnTo>
                    <a:pt x="5988" y="4080"/>
                  </a:lnTo>
                  <a:lnTo>
                    <a:pt x="5994" y="4086"/>
                  </a:lnTo>
                  <a:lnTo>
                    <a:pt x="6000" y="4080"/>
                  </a:lnTo>
                  <a:lnTo>
                    <a:pt x="6006" y="4080"/>
                  </a:lnTo>
                  <a:lnTo>
                    <a:pt x="6006" y="4086"/>
                  </a:lnTo>
                  <a:lnTo>
                    <a:pt x="6006" y="4098"/>
                  </a:lnTo>
                  <a:lnTo>
                    <a:pt x="6012" y="4098"/>
                  </a:lnTo>
                  <a:lnTo>
                    <a:pt x="6012" y="4104"/>
                  </a:lnTo>
                  <a:lnTo>
                    <a:pt x="6024" y="4104"/>
                  </a:lnTo>
                  <a:lnTo>
                    <a:pt x="6024" y="4092"/>
                  </a:lnTo>
                  <a:lnTo>
                    <a:pt x="6030" y="4092"/>
                  </a:lnTo>
                  <a:lnTo>
                    <a:pt x="6042" y="4092"/>
                  </a:lnTo>
                  <a:lnTo>
                    <a:pt x="6048" y="4092"/>
                  </a:lnTo>
                  <a:lnTo>
                    <a:pt x="6048" y="4098"/>
                  </a:lnTo>
                  <a:lnTo>
                    <a:pt x="6042" y="4098"/>
                  </a:lnTo>
                  <a:lnTo>
                    <a:pt x="6042" y="4104"/>
                  </a:lnTo>
                  <a:lnTo>
                    <a:pt x="6048" y="4110"/>
                  </a:lnTo>
                  <a:lnTo>
                    <a:pt x="6054" y="4116"/>
                  </a:lnTo>
                  <a:lnTo>
                    <a:pt x="6054" y="4128"/>
                  </a:lnTo>
                  <a:lnTo>
                    <a:pt x="6054" y="4134"/>
                  </a:lnTo>
                  <a:lnTo>
                    <a:pt x="6060" y="4140"/>
                  </a:lnTo>
                  <a:lnTo>
                    <a:pt x="6060" y="4134"/>
                  </a:lnTo>
                  <a:lnTo>
                    <a:pt x="6066" y="4128"/>
                  </a:lnTo>
                  <a:lnTo>
                    <a:pt x="6072" y="4122"/>
                  </a:lnTo>
                  <a:lnTo>
                    <a:pt x="6078" y="4128"/>
                  </a:lnTo>
                  <a:lnTo>
                    <a:pt x="6078" y="4134"/>
                  </a:lnTo>
                  <a:lnTo>
                    <a:pt x="6078" y="4140"/>
                  </a:lnTo>
                  <a:lnTo>
                    <a:pt x="6078" y="4146"/>
                  </a:lnTo>
                  <a:lnTo>
                    <a:pt x="6084" y="4158"/>
                  </a:lnTo>
                  <a:lnTo>
                    <a:pt x="6072" y="4164"/>
                  </a:lnTo>
                  <a:lnTo>
                    <a:pt x="6072" y="4170"/>
                  </a:lnTo>
                  <a:lnTo>
                    <a:pt x="6060" y="4176"/>
                  </a:lnTo>
                  <a:lnTo>
                    <a:pt x="6060" y="4182"/>
                  </a:lnTo>
                  <a:lnTo>
                    <a:pt x="6066" y="4194"/>
                  </a:lnTo>
                  <a:lnTo>
                    <a:pt x="6066" y="4200"/>
                  </a:lnTo>
                  <a:lnTo>
                    <a:pt x="6060" y="4212"/>
                  </a:lnTo>
                  <a:lnTo>
                    <a:pt x="6042" y="4206"/>
                  </a:lnTo>
                  <a:lnTo>
                    <a:pt x="6030" y="4206"/>
                  </a:lnTo>
                  <a:lnTo>
                    <a:pt x="6006" y="4194"/>
                  </a:lnTo>
                  <a:lnTo>
                    <a:pt x="5982" y="4182"/>
                  </a:lnTo>
                  <a:lnTo>
                    <a:pt x="5964" y="4182"/>
                  </a:lnTo>
                  <a:lnTo>
                    <a:pt x="5934" y="4182"/>
                  </a:lnTo>
                  <a:lnTo>
                    <a:pt x="5910" y="4182"/>
                  </a:lnTo>
                  <a:lnTo>
                    <a:pt x="5892" y="4182"/>
                  </a:lnTo>
                  <a:lnTo>
                    <a:pt x="5862" y="4188"/>
                  </a:lnTo>
                  <a:lnTo>
                    <a:pt x="5844" y="4194"/>
                  </a:lnTo>
                  <a:lnTo>
                    <a:pt x="5844" y="4200"/>
                  </a:lnTo>
                  <a:lnTo>
                    <a:pt x="5838" y="4200"/>
                  </a:lnTo>
                  <a:lnTo>
                    <a:pt x="5802" y="4200"/>
                  </a:lnTo>
                  <a:lnTo>
                    <a:pt x="5796" y="4200"/>
                  </a:lnTo>
                  <a:lnTo>
                    <a:pt x="5778" y="4200"/>
                  </a:lnTo>
                  <a:lnTo>
                    <a:pt x="5772" y="4206"/>
                  </a:lnTo>
                  <a:lnTo>
                    <a:pt x="5754" y="4212"/>
                  </a:lnTo>
                  <a:lnTo>
                    <a:pt x="5742" y="4224"/>
                  </a:lnTo>
                  <a:lnTo>
                    <a:pt x="5730" y="4230"/>
                  </a:lnTo>
                  <a:lnTo>
                    <a:pt x="5724" y="4230"/>
                  </a:lnTo>
                  <a:lnTo>
                    <a:pt x="5682" y="4236"/>
                  </a:lnTo>
                  <a:lnTo>
                    <a:pt x="5658" y="4230"/>
                  </a:lnTo>
                  <a:lnTo>
                    <a:pt x="5634" y="4230"/>
                  </a:lnTo>
                  <a:lnTo>
                    <a:pt x="5598" y="4224"/>
                  </a:lnTo>
                  <a:lnTo>
                    <a:pt x="5586" y="4224"/>
                  </a:lnTo>
                  <a:lnTo>
                    <a:pt x="5562" y="4206"/>
                  </a:lnTo>
                  <a:lnTo>
                    <a:pt x="5556" y="4194"/>
                  </a:lnTo>
                  <a:lnTo>
                    <a:pt x="5544" y="4194"/>
                  </a:lnTo>
                  <a:lnTo>
                    <a:pt x="5538" y="4194"/>
                  </a:lnTo>
                  <a:lnTo>
                    <a:pt x="5514" y="4200"/>
                  </a:lnTo>
                  <a:lnTo>
                    <a:pt x="5490" y="4218"/>
                  </a:lnTo>
                  <a:lnTo>
                    <a:pt x="5472" y="4224"/>
                  </a:lnTo>
                  <a:lnTo>
                    <a:pt x="5448" y="4224"/>
                  </a:lnTo>
                  <a:lnTo>
                    <a:pt x="5430" y="4224"/>
                  </a:lnTo>
                  <a:lnTo>
                    <a:pt x="5424" y="4224"/>
                  </a:lnTo>
                  <a:lnTo>
                    <a:pt x="5412" y="4218"/>
                  </a:lnTo>
                  <a:lnTo>
                    <a:pt x="5412" y="4212"/>
                  </a:lnTo>
                  <a:lnTo>
                    <a:pt x="5400" y="4200"/>
                  </a:lnTo>
                  <a:lnTo>
                    <a:pt x="5376" y="4206"/>
                  </a:lnTo>
                  <a:lnTo>
                    <a:pt x="5370" y="4200"/>
                  </a:lnTo>
                  <a:lnTo>
                    <a:pt x="5364" y="4200"/>
                  </a:lnTo>
                  <a:lnTo>
                    <a:pt x="5352" y="4200"/>
                  </a:lnTo>
                  <a:lnTo>
                    <a:pt x="5340" y="4212"/>
                  </a:lnTo>
                  <a:lnTo>
                    <a:pt x="5322" y="4230"/>
                  </a:lnTo>
                  <a:lnTo>
                    <a:pt x="5310" y="4236"/>
                  </a:lnTo>
                  <a:lnTo>
                    <a:pt x="5292" y="4254"/>
                  </a:lnTo>
                  <a:lnTo>
                    <a:pt x="5286" y="4254"/>
                  </a:lnTo>
                  <a:lnTo>
                    <a:pt x="5280" y="4260"/>
                  </a:lnTo>
                  <a:lnTo>
                    <a:pt x="5274" y="4260"/>
                  </a:lnTo>
                  <a:lnTo>
                    <a:pt x="5268" y="4260"/>
                  </a:lnTo>
                  <a:lnTo>
                    <a:pt x="5262" y="4266"/>
                  </a:lnTo>
                  <a:lnTo>
                    <a:pt x="5256" y="4266"/>
                  </a:lnTo>
                  <a:lnTo>
                    <a:pt x="5244" y="4266"/>
                  </a:lnTo>
                  <a:lnTo>
                    <a:pt x="5220" y="4266"/>
                  </a:lnTo>
                  <a:lnTo>
                    <a:pt x="5160" y="4290"/>
                  </a:lnTo>
                  <a:lnTo>
                    <a:pt x="5154" y="4296"/>
                  </a:lnTo>
                  <a:lnTo>
                    <a:pt x="5148" y="4296"/>
                  </a:lnTo>
                  <a:lnTo>
                    <a:pt x="5142" y="4302"/>
                  </a:lnTo>
                  <a:lnTo>
                    <a:pt x="5124" y="4308"/>
                  </a:lnTo>
                  <a:lnTo>
                    <a:pt x="5112" y="4314"/>
                  </a:lnTo>
                  <a:lnTo>
                    <a:pt x="5100" y="4314"/>
                  </a:lnTo>
                  <a:lnTo>
                    <a:pt x="5094" y="4308"/>
                  </a:lnTo>
                  <a:lnTo>
                    <a:pt x="5088" y="4302"/>
                  </a:lnTo>
                  <a:lnTo>
                    <a:pt x="5088" y="4296"/>
                  </a:lnTo>
                  <a:lnTo>
                    <a:pt x="5076" y="4290"/>
                  </a:lnTo>
                  <a:lnTo>
                    <a:pt x="5076" y="4284"/>
                  </a:lnTo>
                  <a:lnTo>
                    <a:pt x="5064" y="4266"/>
                  </a:lnTo>
                  <a:lnTo>
                    <a:pt x="5058" y="4260"/>
                  </a:lnTo>
                  <a:lnTo>
                    <a:pt x="5052" y="4254"/>
                  </a:lnTo>
                  <a:lnTo>
                    <a:pt x="5046" y="4254"/>
                  </a:lnTo>
                  <a:lnTo>
                    <a:pt x="5040" y="4248"/>
                  </a:lnTo>
                  <a:lnTo>
                    <a:pt x="5022" y="4242"/>
                  </a:lnTo>
                  <a:lnTo>
                    <a:pt x="5004" y="4230"/>
                  </a:lnTo>
                  <a:lnTo>
                    <a:pt x="4980" y="4224"/>
                  </a:lnTo>
                  <a:lnTo>
                    <a:pt x="4968" y="4224"/>
                  </a:lnTo>
                  <a:lnTo>
                    <a:pt x="4962" y="4224"/>
                  </a:lnTo>
                  <a:lnTo>
                    <a:pt x="4950" y="4224"/>
                  </a:lnTo>
                  <a:lnTo>
                    <a:pt x="4938" y="4236"/>
                  </a:lnTo>
                  <a:lnTo>
                    <a:pt x="4914" y="4254"/>
                  </a:lnTo>
                  <a:lnTo>
                    <a:pt x="4902" y="4254"/>
                  </a:lnTo>
                  <a:lnTo>
                    <a:pt x="4896" y="4254"/>
                  </a:lnTo>
                  <a:lnTo>
                    <a:pt x="4890" y="4248"/>
                  </a:lnTo>
                  <a:lnTo>
                    <a:pt x="4884" y="4242"/>
                  </a:lnTo>
                  <a:lnTo>
                    <a:pt x="4872" y="4230"/>
                  </a:lnTo>
                  <a:lnTo>
                    <a:pt x="4866" y="4224"/>
                  </a:lnTo>
                  <a:lnTo>
                    <a:pt x="4854" y="4218"/>
                  </a:lnTo>
                  <a:lnTo>
                    <a:pt x="4842" y="4206"/>
                  </a:lnTo>
                  <a:lnTo>
                    <a:pt x="4836" y="4200"/>
                  </a:lnTo>
                  <a:lnTo>
                    <a:pt x="4824" y="4194"/>
                  </a:lnTo>
                  <a:lnTo>
                    <a:pt x="4812" y="4194"/>
                  </a:lnTo>
                  <a:lnTo>
                    <a:pt x="4794" y="4188"/>
                  </a:lnTo>
                  <a:lnTo>
                    <a:pt x="4788" y="4188"/>
                  </a:lnTo>
                  <a:lnTo>
                    <a:pt x="4746" y="4194"/>
                  </a:lnTo>
                  <a:lnTo>
                    <a:pt x="4740" y="4194"/>
                  </a:lnTo>
                  <a:lnTo>
                    <a:pt x="4722" y="4194"/>
                  </a:lnTo>
                  <a:lnTo>
                    <a:pt x="4704" y="4188"/>
                  </a:lnTo>
                  <a:lnTo>
                    <a:pt x="4704" y="4182"/>
                  </a:lnTo>
                  <a:lnTo>
                    <a:pt x="4698" y="4164"/>
                  </a:lnTo>
                  <a:lnTo>
                    <a:pt x="4692" y="4158"/>
                  </a:lnTo>
                  <a:lnTo>
                    <a:pt x="4692" y="4152"/>
                  </a:lnTo>
                  <a:lnTo>
                    <a:pt x="4686" y="4152"/>
                  </a:lnTo>
                  <a:lnTo>
                    <a:pt x="4680" y="4146"/>
                  </a:lnTo>
                  <a:lnTo>
                    <a:pt x="4674" y="4152"/>
                  </a:lnTo>
                  <a:lnTo>
                    <a:pt x="4662" y="4152"/>
                  </a:lnTo>
                  <a:lnTo>
                    <a:pt x="4650" y="4146"/>
                  </a:lnTo>
                  <a:lnTo>
                    <a:pt x="4626" y="4140"/>
                  </a:lnTo>
                  <a:lnTo>
                    <a:pt x="4626" y="4134"/>
                  </a:lnTo>
                  <a:lnTo>
                    <a:pt x="4620" y="4128"/>
                  </a:lnTo>
                  <a:lnTo>
                    <a:pt x="4620" y="4116"/>
                  </a:lnTo>
                  <a:lnTo>
                    <a:pt x="4614" y="4110"/>
                  </a:lnTo>
                  <a:lnTo>
                    <a:pt x="4596" y="4104"/>
                  </a:lnTo>
                  <a:lnTo>
                    <a:pt x="4590" y="4098"/>
                  </a:lnTo>
                  <a:lnTo>
                    <a:pt x="4584" y="4092"/>
                  </a:lnTo>
                  <a:lnTo>
                    <a:pt x="4578" y="4086"/>
                  </a:lnTo>
                  <a:lnTo>
                    <a:pt x="4572" y="4086"/>
                  </a:lnTo>
                  <a:lnTo>
                    <a:pt x="4566" y="4086"/>
                  </a:lnTo>
                  <a:lnTo>
                    <a:pt x="4560" y="4086"/>
                  </a:lnTo>
                  <a:lnTo>
                    <a:pt x="4542" y="4086"/>
                  </a:lnTo>
                  <a:lnTo>
                    <a:pt x="4530" y="4098"/>
                  </a:lnTo>
                  <a:lnTo>
                    <a:pt x="4530" y="4104"/>
                  </a:lnTo>
                  <a:lnTo>
                    <a:pt x="4524" y="4140"/>
                  </a:lnTo>
                  <a:lnTo>
                    <a:pt x="4518" y="4146"/>
                  </a:lnTo>
                  <a:lnTo>
                    <a:pt x="4500" y="4164"/>
                  </a:lnTo>
                  <a:lnTo>
                    <a:pt x="4494" y="4164"/>
                  </a:lnTo>
                  <a:lnTo>
                    <a:pt x="4488" y="4158"/>
                  </a:lnTo>
                  <a:lnTo>
                    <a:pt x="4464" y="4152"/>
                  </a:lnTo>
                  <a:lnTo>
                    <a:pt x="4458" y="4152"/>
                  </a:lnTo>
                  <a:lnTo>
                    <a:pt x="4446" y="4146"/>
                  </a:lnTo>
                  <a:lnTo>
                    <a:pt x="4434" y="4146"/>
                  </a:lnTo>
                  <a:lnTo>
                    <a:pt x="4428" y="4152"/>
                  </a:lnTo>
                  <a:lnTo>
                    <a:pt x="4416" y="4152"/>
                  </a:lnTo>
                  <a:lnTo>
                    <a:pt x="4410" y="4146"/>
                  </a:lnTo>
                  <a:lnTo>
                    <a:pt x="4404" y="4146"/>
                  </a:lnTo>
                  <a:lnTo>
                    <a:pt x="4398" y="4140"/>
                  </a:lnTo>
                  <a:lnTo>
                    <a:pt x="4392" y="4134"/>
                  </a:lnTo>
                  <a:lnTo>
                    <a:pt x="4392" y="4122"/>
                  </a:lnTo>
                  <a:lnTo>
                    <a:pt x="4392" y="4110"/>
                  </a:lnTo>
                  <a:lnTo>
                    <a:pt x="4392" y="4098"/>
                  </a:lnTo>
                  <a:lnTo>
                    <a:pt x="4392" y="4092"/>
                  </a:lnTo>
                  <a:lnTo>
                    <a:pt x="4398" y="4086"/>
                  </a:lnTo>
                  <a:lnTo>
                    <a:pt x="4404" y="4068"/>
                  </a:lnTo>
                  <a:lnTo>
                    <a:pt x="4416" y="4050"/>
                  </a:lnTo>
                  <a:lnTo>
                    <a:pt x="4416" y="4044"/>
                  </a:lnTo>
                  <a:lnTo>
                    <a:pt x="4416" y="4038"/>
                  </a:lnTo>
                  <a:lnTo>
                    <a:pt x="4410" y="4014"/>
                  </a:lnTo>
                  <a:lnTo>
                    <a:pt x="4410" y="4008"/>
                  </a:lnTo>
                  <a:lnTo>
                    <a:pt x="4398" y="4002"/>
                  </a:lnTo>
                  <a:lnTo>
                    <a:pt x="4392" y="3990"/>
                  </a:lnTo>
                  <a:lnTo>
                    <a:pt x="4386" y="3990"/>
                  </a:lnTo>
                  <a:lnTo>
                    <a:pt x="4380" y="3996"/>
                  </a:lnTo>
                  <a:lnTo>
                    <a:pt x="4368" y="4002"/>
                  </a:lnTo>
                  <a:lnTo>
                    <a:pt x="4362" y="3996"/>
                  </a:lnTo>
                  <a:lnTo>
                    <a:pt x="4356" y="3990"/>
                  </a:lnTo>
                  <a:lnTo>
                    <a:pt x="4350" y="3990"/>
                  </a:lnTo>
                  <a:lnTo>
                    <a:pt x="4338" y="3990"/>
                  </a:lnTo>
                  <a:lnTo>
                    <a:pt x="4338" y="3984"/>
                  </a:lnTo>
                  <a:lnTo>
                    <a:pt x="4332" y="3984"/>
                  </a:lnTo>
                  <a:lnTo>
                    <a:pt x="4326" y="3984"/>
                  </a:lnTo>
                  <a:lnTo>
                    <a:pt x="4320" y="3990"/>
                  </a:lnTo>
                  <a:lnTo>
                    <a:pt x="4314" y="3990"/>
                  </a:lnTo>
                  <a:lnTo>
                    <a:pt x="4296" y="3990"/>
                  </a:lnTo>
                  <a:lnTo>
                    <a:pt x="4290" y="3990"/>
                  </a:lnTo>
                  <a:lnTo>
                    <a:pt x="4284" y="4002"/>
                  </a:lnTo>
                  <a:lnTo>
                    <a:pt x="4278" y="4002"/>
                  </a:lnTo>
                  <a:lnTo>
                    <a:pt x="4272" y="3990"/>
                  </a:lnTo>
                  <a:lnTo>
                    <a:pt x="4260" y="3984"/>
                  </a:lnTo>
                  <a:lnTo>
                    <a:pt x="4260" y="3978"/>
                  </a:lnTo>
                  <a:lnTo>
                    <a:pt x="4254" y="3978"/>
                  </a:lnTo>
                  <a:lnTo>
                    <a:pt x="4248" y="3978"/>
                  </a:lnTo>
                  <a:lnTo>
                    <a:pt x="4236" y="3990"/>
                  </a:lnTo>
                  <a:lnTo>
                    <a:pt x="4230" y="3990"/>
                  </a:lnTo>
                  <a:lnTo>
                    <a:pt x="4224" y="3984"/>
                  </a:lnTo>
                  <a:lnTo>
                    <a:pt x="4212" y="3978"/>
                  </a:lnTo>
                  <a:lnTo>
                    <a:pt x="4206" y="3978"/>
                  </a:lnTo>
                  <a:lnTo>
                    <a:pt x="4194" y="3978"/>
                  </a:lnTo>
                  <a:lnTo>
                    <a:pt x="4182" y="3978"/>
                  </a:lnTo>
                  <a:lnTo>
                    <a:pt x="4176" y="3978"/>
                  </a:lnTo>
                  <a:lnTo>
                    <a:pt x="4170" y="3978"/>
                  </a:lnTo>
                  <a:lnTo>
                    <a:pt x="4164" y="3984"/>
                  </a:lnTo>
                  <a:lnTo>
                    <a:pt x="4146" y="3984"/>
                  </a:lnTo>
                  <a:lnTo>
                    <a:pt x="4134" y="3984"/>
                  </a:lnTo>
                  <a:lnTo>
                    <a:pt x="4134" y="3978"/>
                  </a:lnTo>
                  <a:lnTo>
                    <a:pt x="4134" y="3972"/>
                  </a:lnTo>
                  <a:lnTo>
                    <a:pt x="4128" y="3972"/>
                  </a:lnTo>
                  <a:lnTo>
                    <a:pt x="4122" y="3978"/>
                  </a:lnTo>
                  <a:lnTo>
                    <a:pt x="4122" y="3972"/>
                  </a:lnTo>
                  <a:lnTo>
                    <a:pt x="4122" y="3966"/>
                  </a:lnTo>
                  <a:lnTo>
                    <a:pt x="4080" y="3966"/>
                  </a:lnTo>
                  <a:lnTo>
                    <a:pt x="4020" y="3960"/>
                  </a:lnTo>
                  <a:lnTo>
                    <a:pt x="4014" y="3960"/>
                  </a:lnTo>
                  <a:lnTo>
                    <a:pt x="4008" y="3960"/>
                  </a:lnTo>
                  <a:lnTo>
                    <a:pt x="4002" y="3960"/>
                  </a:lnTo>
                  <a:lnTo>
                    <a:pt x="3990" y="3960"/>
                  </a:lnTo>
                  <a:lnTo>
                    <a:pt x="3894" y="3954"/>
                  </a:lnTo>
                  <a:lnTo>
                    <a:pt x="3858" y="3954"/>
                  </a:lnTo>
                  <a:lnTo>
                    <a:pt x="3828" y="3954"/>
                  </a:lnTo>
                  <a:lnTo>
                    <a:pt x="3768" y="3954"/>
                  </a:lnTo>
                  <a:lnTo>
                    <a:pt x="3738" y="3954"/>
                  </a:lnTo>
                  <a:lnTo>
                    <a:pt x="3672" y="3954"/>
                  </a:lnTo>
                  <a:lnTo>
                    <a:pt x="3654" y="3948"/>
                  </a:lnTo>
                  <a:lnTo>
                    <a:pt x="3654" y="3954"/>
                  </a:lnTo>
                  <a:lnTo>
                    <a:pt x="3636" y="3954"/>
                  </a:lnTo>
                  <a:lnTo>
                    <a:pt x="3618" y="3954"/>
                  </a:lnTo>
                  <a:lnTo>
                    <a:pt x="3612" y="3954"/>
                  </a:lnTo>
                  <a:lnTo>
                    <a:pt x="3486" y="3954"/>
                  </a:lnTo>
                  <a:lnTo>
                    <a:pt x="3480" y="3954"/>
                  </a:lnTo>
                  <a:lnTo>
                    <a:pt x="3474" y="3948"/>
                  </a:lnTo>
                  <a:lnTo>
                    <a:pt x="3402" y="3954"/>
                  </a:lnTo>
                  <a:lnTo>
                    <a:pt x="3396" y="3954"/>
                  </a:lnTo>
                  <a:lnTo>
                    <a:pt x="3366" y="3954"/>
                  </a:lnTo>
                  <a:lnTo>
                    <a:pt x="3360" y="3948"/>
                  </a:lnTo>
                  <a:lnTo>
                    <a:pt x="3330" y="3954"/>
                  </a:lnTo>
                  <a:lnTo>
                    <a:pt x="3324" y="3954"/>
                  </a:lnTo>
                  <a:lnTo>
                    <a:pt x="3312" y="3954"/>
                  </a:lnTo>
                  <a:lnTo>
                    <a:pt x="3234" y="3954"/>
                  </a:lnTo>
                  <a:lnTo>
                    <a:pt x="3216" y="3948"/>
                  </a:lnTo>
                  <a:lnTo>
                    <a:pt x="3174" y="3954"/>
                  </a:lnTo>
                  <a:lnTo>
                    <a:pt x="3168" y="3954"/>
                  </a:lnTo>
                  <a:lnTo>
                    <a:pt x="3156" y="3954"/>
                  </a:lnTo>
                  <a:lnTo>
                    <a:pt x="3150" y="3954"/>
                  </a:lnTo>
                  <a:lnTo>
                    <a:pt x="3144" y="3954"/>
                  </a:lnTo>
                  <a:lnTo>
                    <a:pt x="3108" y="3954"/>
                  </a:lnTo>
                  <a:lnTo>
                    <a:pt x="2982" y="3948"/>
                  </a:lnTo>
                  <a:lnTo>
                    <a:pt x="2856" y="3948"/>
                  </a:lnTo>
                  <a:lnTo>
                    <a:pt x="2724" y="3948"/>
                  </a:lnTo>
                  <a:lnTo>
                    <a:pt x="2712" y="3954"/>
                  </a:lnTo>
                  <a:lnTo>
                    <a:pt x="2646" y="3948"/>
                  </a:lnTo>
                  <a:lnTo>
                    <a:pt x="2598" y="3948"/>
                  </a:lnTo>
                  <a:lnTo>
                    <a:pt x="2592" y="3948"/>
                  </a:lnTo>
                  <a:lnTo>
                    <a:pt x="2586" y="3948"/>
                  </a:lnTo>
                  <a:lnTo>
                    <a:pt x="2580" y="3948"/>
                  </a:lnTo>
                  <a:lnTo>
                    <a:pt x="2550" y="3948"/>
                  </a:lnTo>
                  <a:lnTo>
                    <a:pt x="2496" y="3948"/>
                  </a:lnTo>
                  <a:lnTo>
                    <a:pt x="2472" y="3948"/>
                  </a:lnTo>
                  <a:lnTo>
                    <a:pt x="2460" y="3948"/>
                  </a:lnTo>
                  <a:lnTo>
                    <a:pt x="2442" y="3948"/>
                  </a:lnTo>
                  <a:lnTo>
                    <a:pt x="2424" y="3948"/>
                  </a:lnTo>
                  <a:lnTo>
                    <a:pt x="2394" y="3948"/>
                  </a:lnTo>
                  <a:lnTo>
                    <a:pt x="2388" y="3948"/>
                  </a:lnTo>
                  <a:lnTo>
                    <a:pt x="2382" y="3948"/>
                  </a:lnTo>
                  <a:lnTo>
                    <a:pt x="2370" y="3948"/>
                  </a:lnTo>
                  <a:lnTo>
                    <a:pt x="2364" y="3948"/>
                  </a:lnTo>
                  <a:lnTo>
                    <a:pt x="2346" y="3948"/>
                  </a:lnTo>
                  <a:lnTo>
                    <a:pt x="2334" y="3948"/>
                  </a:lnTo>
                  <a:lnTo>
                    <a:pt x="2322" y="3948"/>
                  </a:lnTo>
                  <a:lnTo>
                    <a:pt x="2310" y="3948"/>
                  </a:lnTo>
                  <a:lnTo>
                    <a:pt x="2304" y="3948"/>
                  </a:lnTo>
                  <a:lnTo>
                    <a:pt x="2262" y="3966"/>
                  </a:lnTo>
                  <a:lnTo>
                    <a:pt x="2232" y="3990"/>
                  </a:lnTo>
                  <a:lnTo>
                    <a:pt x="2226" y="3990"/>
                  </a:lnTo>
                  <a:lnTo>
                    <a:pt x="2208" y="4002"/>
                  </a:lnTo>
                  <a:lnTo>
                    <a:pt x="2172" y="4014"/>
                  </a:lnTo>
                  <a:lnTo>
                    <a:pt x="2154" y="4026"/>
                  </a:lnTo>
                  <a:lnTo>
                    <a:pt x="2136" y="4044"/>
                  </a:lnTo>
                  <a:lnTo>
                    <a:pt x="2124" y="4050"/>
                  </a:lnTo>
                  <a:lnTo>
                    <a:pt x="2112" y="4062"/>
                  </a:lnTo>
                  <a:lnTo>
                    <a:pt x="2100" y="4068"/>
                  </a:lnTo>
                  <a:lnTo>
                    <a:pt x="2094" y="4074"/>
                  </a:lnTo>
                  <a:lnTo>
                    <a:pt x="2076" y="4092"/>
                  </a:lnTo>
                  <a:lnTo>
                    <a:pt x="2064" y="4098"/>
                  </a:lnTo>
                  <a:lnTo>
                    <a:pt x="2058" y="4098"/>
                  </a:lnTo>
                  <a:lnTo>
                    <a:pt x="2052" y="4104"/>
                  </a:lnTo>
                  <a:lnTo>
                    <a:pt x="2034" y="4110"/>
                  </a:lnTo>
                  <a:lnTo>
                    <a:pt x="2022" y="4116"/>
                  </a:lnTo>
                  <a:lnTo>
                    <a:pt x="2016" y="4116"/>
                  </a:lnTo>
                  <a:lnTo>
                    <a:pt x="2010" y="4116"/>
                  </a:lnTo>
                  <a:lnTo>
                    <a:pt x="2004" y="4122"/>
                  </a:lnTo>
                  <a:lnTo>
                    <a:pt x="1998" y="4122"/>
                  </a:lnTo>
                  <a:lnTo>
                    <a:pt x="1974" y="4134"/>
                  </a:lnTo>
                  <a:lnTo>
                    <a:pt x="1962" y="4140"/>
                  </a:lnTo>
                  <a:lnTo>
                    <a:pt x="1902" y="4170"/>
                  </a:lnTo>
                  <a:lnTo>
                    <a:pt x="1896" y="4170"/>
                  </a:lnTo>
                  <a:lnTo>
                    <a:pt x="1890" y="4176"/>
                  </a:lnTo>
                  <a:lnTo>
                    <a:pt x="1878" y="4182"/>
                  </a:lnTo>
                  <a:lnTo>
                    <a:pt x="1842" y="4194"/>
                  </a:lnTo>
                  <a:lnTo>
                    <a:pt x="1818" y="4200"/>
                  </a:lnTo>
                  <a:lnTo>
                    <a:pt x="1806" y="4200"/>
                  </a:lnTo>
                  <a:lnTo>
                    <a:pt x="1782" y="4200"/>
                  </a:lnTo>
                  <a:lnTo>
                    <a:pt x="1746" y="4194"/>
                  </a:lnTo>
                  <a:lnTo>
                    <a:pt x="1740" y="4194"/>
                  </a:lnTo>
                  <a:lnTo>
                    <a:pt x="1728" y="4194"/>
                  </a:lnTo>
                  <a:lnTo>
                    <a:pt x="1722" y="4188"/>
                  </a:lnTo>
                  <a:lnTo>
                    <a:pt x="1710" y="4188"/>
                  </a:lnTo>
                  <a:lnTo>
                    <a:pt x="1692" y="4188"/>
                  </a:lnTo>
                  <a:lnTo>
                    <a:pt x="1650" y="4182"/>
                  </a:lnTo>
                  <a:lnTo>
                    <a:pt x="1626" y="4182"/>
                  </a:lnTo>
                  <a:lnTo>
                    <a:pt x="1620" y="4182"/>
                  </a:lnTo>
                  <a:lnTo>
                    <a:pt x="1614" y="4182"/>
                  </a:lnTo>
                  <a:lnTo>
                    <a:pt x="1578" y="4182"/>
                  </a:lnTo>
                  <a:lnTo>
                    <a:pt x="1560" y="4182"/>
                  </a:lnTo>
                  <a:lnTo>
                    <a:pt x="1554" y="4182"/>
                  </a:lnTo>
                  <a:lnTo>
                    <a:pt x="1536" y="4176"/>
                  </a:lnTo>
                  <a:lnTo>
                    <a:pt x="1488" y="4164"/>
                  </a:lnTo>
                  <a:lnTo>
                    <a:pt x="1470" y="4158"/>
                  </a:lnTo>
                  <a:lnTo>
                    <a:pt x="1458" y="4158"/>
                  </a:lnTo>
                  <a:lnTo>
                    <a:pt x="1452" y="4158"/>
                  </a:lnTo>
                  <a:lnTo>
                    <a:pt x="1410" y="4164"/>
                  </a:lnTo>
                  <a:lnTo>
                    <a:pt x="1380" y="4170"/>
                  </a:lnTo>
                  <a:lnTo>
                    <a:pt x="1362" y="4170"/>
                  </a:lnTo>
                  <a:lnTo>
                    <a:pt x="1362" y="4176"/>
                  </a:lnTo>
                  <a:lnTo>
                    <a:pt x="1350" y="4176"/>
                  </a:lnTo>
                  <a:lnTo>
                    <a:pt x="1344" y="4176"/>
                  </a:lnTo>
                  <a:lnTo>
                    <a:pt x="1326" y="4170"/>
                  </a:lnTo>
                  <a:lnTo>
                    <a:pt x="1314" y="4170"/>
                  </a:lnTo>
                  <a:lnTo>
                    <a:pt x="1302" y="4170"/>
                  </a:lnTo>
                  <a:lnTo>
                    <a:pt x="1290" y="4170"/>
                  </a:lnTo>
                  <a:lnTo>
                    <a:pt x="1272" y="4182"/>
                  </a:lnTo>
                  <a:lnTo>
                    <a:pt x="1266" y="4188"/>
                  </a:lnTo>
                  <a:lnTo>
                    <a:pt x="1230" y="4206"/>
                  </a:lnTo>
                  <a:lnTo>
                    <a:pt x="1224" y="4206"/>
                  </a:lnTo>
                  <a:lnTo>
                    <a:pt x="1212" y="4218"/>
                  </a:lnTo>
                  <a:lnTo>
                    <a:pt x="1188" y="4230"/>
                  </a:lnTo>
                  <a:lnTo>
                    <a:pt x="1158" y="4242"/>
                  </a:lnTo>
                  <a:lnTo>
                    <a:pt x="1146" y="4254"/>
                  </a:lnTo>
                  <a:lnTo>
                    <a:pt x="1134" y="4260"/>
                  </a:lnTo>
                  <a:lnTo>
                    <a:pt x="1128" y="4260"/>
                  </a:lnTo>
                  <a:lnTo>
                    <a:pt x="1122" y="4260"/>
                  </a:lnTo>
                  <a:lnTo>
                    <a:pt x="1092" y="4266"/>
                  </a:lnTo>
                  <a:lnTo>
                    <a:pt x="1086" y="4266"/>
                  </a:lnTo>
                  <a:lnTo>
                    <a:pt x="1050" y="4266"/>
                  </a:lnTo>
                  <a:lnTo>
                    <a:pt x="1026" y="4272"/>
                  </a:lnTo>
                  <a:lnTo>
                    <a:pt x="1014" y="4272"/>
                  </a:lnTo>
                  <a:lnTo>
                    <a:pt x="1008" y="4272"/>
                  </a:lnTo>
                  <a:lnTo>
                    <a:pt x="996" y="4272"/>
                  </a:lnTo>
                  <a:lnTo>
                    <a:pt x="972" y="4266"/>
                  </a:lnTo>
                  <a:lnTo>
                    <a:pt x="966" y="4266"/>
                  </a:lnTo>
                  <a:lnTo>
                    <a:pt x="960" y="4272"/>
                  </a:lnTo>
                  <a:lnTo>
                    <a:pt x="936" y="4278"/>
                  </a:lnTo>
                  <a:lnTo>
                    <a:pt x="930" y="4278"/>
                  </a:lnTo>
                  <a:lnTo>
                    <a:pt x="918" y="4278"/>
                  </a:lnTo>
                  <a:lnTo>
                    <a:pt x="876" y="4266"/>
                  </a:lnTo>
                  <a:lnTo>
                    <a:pt x="870" y="4266"/>
                  </a:lnTo>
                  <a:lnTo>
                    <a:pt x="852" y="4266"/>
                  </a:lnTo>
                  <a:lnTo>
                    <a:pt x="840" y="4266"/>
                  </a:lnTo>
                  <a:lnTo>
                    <a:pt x="828" y="4278"/>
                  </a:lnTo>
                  <a:lnTo>
                    <a:pt x="810" y="4290"/>
                  </a:lnTo>
                  <a:lnTo>
                    <a:pt x="804" y="4296"/>
                  </a:lnTo>
                  <a:lnTo>
                    <a:pt x="798" y="4296"/>
                  </a:lnTo>
                  <a:lnTo>
                    <a:pt x="792" y="4284"/>
                  </a:lnTo>
                  <a:lnTo>
                    <a:pt x="786" y="4278"/>
                  </a:lnTo>
                  <a:lnTo>
                    <a:pt x="780" y="4272"/>
                  </a:lnTo>
                  <a:lnTo>
                    <a:pt x="780" y="4254"/>
                  </a:lnTo>
                  <a:lnTo>
                    <a:pt x="774" y="4248"/>
                  </a:lnTo>
                  <a:lnTo>
                    <a:pt x="762" y="4236"/>
                  </a:lnTo>
                  <a:lnTo>
                    <a:pt x="750" y="4230"/>
                  </a:lnTo>
                  <a:lnTo>
                    <a:pt x="744" y="4212"/>
                  </a:lnTo>
                  <a:lnTo>
                    <a:pt x="732" y="4182"/>
                  </a:lnTo>
                  <a:lnTo>
                    <a:pt x="732" y="4170"/>
                  </a:lnTo>
                  <a:lnTo>
                    <a:pt x="726" y="4164"/>
                  </a:lnTo>
                  <a:lnTo>
                    <a:pt x="726" y="4152"/>
                  </a:lnTo>
                  <a:lnTo>
                    <a:pt x="726" y="4140"/>
                  </a:lnTo>
                  <a:lnTo>
                    <a:pt x="738" y="4122"/>
                  </a:lnTo>
                  <a:lnTo>
                    <a:pt x="744" y="4104"/>
                  </a:lnTo>
                  <a:lnTo>
                    <a:pt x="762" y="4080"/>
                  </a:lnTo>
                  <a:lnTo>
                    <a:pt x="768" y="4080"/>
                  </a:lnTo>
                  <a:lnTo>
                    <a:pt x="774" y="4086"/>
                  </a:lnTo>
                  <a:lnTo>
                    <a:pt x="780" y="4086"/>
                  </a:lnTo>
                  <a:lnTo>
                    <a:pt x="780" y="4080"/>
                  </a:lnTo>
                  <a:lnTo>
                    <a:pt x="780" y="4074"/>
                  </a:lnTo>
                  <a:lnTo>
                    <a:pt x="798" y="4074"/>
                  </a:lnTo>
                  <a:lnTo>
                    <a:pt x="810" y="4068"/>
                  </a:lnTo>
                  <a:lnTo>
                    <a:pt x="816" y="4068"/>
                  </a:lnTo>
                  <a:lnTo>
                    <a:pt x="822" y="4074"/>
                  </a:lnTo>
                  <a:lnTo>
                    <a:pt x="816" y="4086"/>
                  </a:lnTo>
                  <a:lnTo>
                    <a:pt x="822" y="4086"/>
                  </a:lnTo>
                  <a:lnTo>
                    <a:pt x="834" y="4080"/>
                  </a:lnTo>
                  <a:lnTo>
                    <a:pt x="834" y="4086"/>
                  </a:lnTo>
                  <a:lnTo>
                    <a:pt x="840" y="4086"/>
                  </a:lnTo>
                  <a:lnTo>
                    <a:pt x="840" y="4080"/>
                  </a:lnTo>
                  <a:lnTo>
                    <a:pt x="846" y="4068"/>
                  </a:lnTo>
                  <a:lnTo>
                    <a:pt x="864" y="4062"/>
                  </a:lnTo>
                  <a:lnTo>
                    <a:pt x="870" y="4056"/>
                  </a:lnTo>
                  <a:lnTo>
                    <a:pt x="876" y="4056"/>
                  </a:lnTo>
                  <a:lnTo>
                    <a:pt x="888" y="4044"/>
                  </a:lnTo>
                  <a:lnTo>
                    <a:pt x="900" y="4026"/>
                  </a:lnTo>
                  <a:lnTo>
                    <a:pt x="906" y="4014"/>
                  </a:lnTo>
                  <a:lnTo>
                    <a:pt x="918" y="4002"/>
                  </a:lnTo>
                  <a:lnTo>
                    <a:pt x="924" y="4002"/>
                  </a:lnTo>
                  <a:lnTo>
                    <a:pt x="930" y="3996"/>
                  </a:lnTo>
                  <a:lnTo>
                    <a:pt x="936" y="3990"/>
                  </a:lnTo>
                  <a:lnTo>
                    <a:pt x="936" y="3996"/>
                  </a:lnTo>
                  <a:lnTo>
                    <a:pt x="942" y="3996"/>
                  </a:lnTo>
                  <a:lnTo>
                    <a:pt x="954" y="4002"/>
                  </a:lnTo>
                  <a:lnTo>
                    <a:pt x="966" y="4008"/>
                  </a:lnTo>
                  <a:lnTo>
                    <a:pt x="972" y="4014"/>
                  </a:lnTo>
                  <a:lnTo>
                    <a:pt x="972" y="4026"/>
                  </a:lnTo>
                  <a:lnTo>
                    <a:pt x="978" y="4032"/>
                  </a:lnTo>
                  <a:lnTo>
                    <a:pt x="984" y="4038"/>
                  </a:lnTo>
                  <a:lnTo>
                    <a:pt x="990" y="4038"/>
                  </a:lnTo>
                  <a:lnTo>
                    <a:pt x="990" y="4032"/>
                  </a:lnTo>
                  <a:lnTo>
                    <a:pt x="996" y="4032"/>
                  </a:lnTo>
                  <a:lnTo>
                    <a:pt x="1008" y="4032"/>
                  </a:lnTo>
                  <a:lnTo>
                    <a:pt x="1014" y="4032"/>
                  </a:lnTo>
                  <a:lnTo>
                    <a:pt x="1020" y="4032"/>
                  </a:lnTo>
                  <a:lnTo>
                    <a:pt x="1044" y="4032"/>
                  </a:lnTo>
                  <a:lnTo>
                    <a:pt x="1056" y="4038"/>
                  </a:lnTo>
                  <a:lnTo>
                    <a:pt x="1092" y="4062"/>
                  </a:lnTo>
                  <a:lnTo>
                    <a:pt x="1104" y="4068"/>
                  </a:lnTo>
                  <a:lnTo>
                    <a:pt x="1116" y="4068"/>
                  </a:lnTo>
                  <a:lnTo>
                    <a:pt x="1116" y="4056"/>
                  </a:lnTo>
                  <a:lnTo>
                    <a:pt x="1104" y="4050"/>
                  </a:lnTo>
                  <a:lnTo>
                    <a:pt x="1092" y="4044"/>
                  </a:lnTo>
                  <a:lnTo>
                    <a:pt x="1092" y="4038"/>
                  </a:lnTo>
                  <a:lnTo>
                    <a:pt x="1092" y="4026"/>
                  </a:lnTo>
                  <a:lnTo>
                    <a:pt x="1086" y="4032"/>
                  </a:lnTo>
                  <a:lnTo>
                    <a:pt x="1080" y="4032"/>
                  </a:lnTo>
                  <a:lnTo>
                    <a:pt x="1068" y="4014"/>
                  </a:lnTo>
                  <a:lnTo>
                    <a:pt x="1050" y="4008"/>
                  </a:lnTo>
                  <a:lnTo>
                    <a:pt x="1044" y="4008"/>
                  </a:lnTo>
                  <a:lnTo>
                    <a:pt x="1044" y="4002"/>
                  </a:lnTo>
                  <a:lnTo>
                    <a:pt x="1038" y="4002"/>
                  </a:lnTo>
                  <a:lnTo>
                    <a:pt x="1032" y="4002"/>
                  </a:lnTo>
                  <a:lnTo>
                    <a:pt x="1026" y="3996"/>
                  </a:lnTo>
                  <a:lnTo>
                    <a:pt x="1026" y="3990"/>
                  </a:lnTo>
                  <a:lnTo>
                    <a:pt x="1020" y="3990"/>
                  </a:lnTo>
                  <a:lnTo>
                    <a:pt x="1014" y="3990"/>
                  </a:lnTo>
                  <a:lnTo>
                    <a:pt x="1014" y="3996"/>
                  </a:lnTo>
                  <a:lnTo>
                    <a:pt x="1020" y="4008"/>
                  </a:lnTo>
                  <a:lnTo>
                    <a:pt x="1002" y="3990"/>
                  </a:lnTo>
                  <a:lnTo>
                    <a:pt x="990" y="3978"/>
                  </a:lnTo>
                  <a:lnTo>
                    <a:pt x="960" y="3960"/>
                  </a:lnTo>
                  <a:lnTo>
                    <a:pt x="948" y="3960"/>
                  </a:lnTo>
                  <a:lnTo>
                    <a:pt x="942" y="3960"/>
                  </a:lnTo>
                  <a:lnTo>
                    <a:pt x="936" y="3960"/>
                  </a:lnTo>
                  <a:lnTo>
                    <a:pt x="930" y="3960"/>
                  </a:lnTo>
                  <a:lnTo>
                    <a:pt x="924" y="3960"/>
                  </a:lnTo>
                  <a:lnTo>
                    <a:pt x="906" y="3972"/>
                  </a:lnTo>
                  <a:lnTo>
                    <a:pt x="900" y="3972"/>
                  </a:lnTo>
                  <a:lnTo>
                    <a:pt x="888" y="3984"/>
                  </a:lnTo>
                  <a:lnTo>
                    <a:pt x="882" y="3996"/>
                  </a:lnTo>
                  <a:lnTo>
                    <a:pt x="864" y="4008"/>
                  </a:lnTo>
                  <a:lnTo>
                    <a:pt x="858" y="4014"/>
                  </a:lnTo>
                  <a:lnTo>
                    <a:pt x="840" y="4020"/>
                  </a:lnTo>
                  <a:lnTo>
                    <a:pt x="840" y="4026"/>
                  </a:lnTo>
                  <a:lnTo>
                    <a:pt x="816" y="4038"/>
                  </a:lnTo>
                  <a:lnTo>
                    <a:pt x="798" y="4044"/>
                  </a:lnTo>
                  <a:lnTo>
                    <a:pt x="792" y="4044"/>
                  </a:lnTo>
                  <a:lnTo>
                    <a:pt x="786" y="4050"/>
                  </a:lnTo>
                  <a:lnTo>
                    <a:pt x="768" y="4062"/>
                  </a:lnTo>
                  <a:lnTo>
                    <a:pt x="762" y="4062"/>
                  </a:lnTo>
                  <a:lnTo>
                    <a:pt x="756" y="4062"/>
                  </a:lnTo>
                  <a:lnTo>
                    <a:pt x="756" y="4056"/>
                  </a:lnTo>
                  <a:lnTo>
                    <a:pt x="750" y="4056"/>
                  </a:lnTo>
                  <a:lnTo>
                    <a:pt x="750" y="4044"/>
                  </a:lnTo>
                  <a:lnTo>
                    <a:pt x="750" y="4020"/>
                  </a:lnTo>
                  <a:lnTo>
                    <a:pt x="750" y="4008"/>
                  </a:lnTo>
                  <a:lnTo>
                    <a:pt x="750" y="4002"/>
                  </a:lnTo>
                  <a:lnTo>
                    <a:pt x="744" y="3990"/>
                  </a:lnTo>
                  <a:lnTo>
                    <a:pt x="744" y="3966"/>
                  </a:lnTo>
                  <a:lnTo>
                    <a:pt x="744" y="3942"/>
                  </a:lnTo>
                  <a:lnTo>
                    <a:pt x="750" y="3936"/>
                  </a:lnTo>
                  <a:lnTo>
                    <a:pt x="744" y="3924"/>
                  </a:lnTo>
                  <a:lnTo>
                    <a:pt x="738" y="3924"/>
                  </a:lnTo>
                  <a:lnTo>
                    <a:pt x="738" y="3918"/>
                  </a:lnTo>
                  <a:lnTo>
                    <a:pt x="744" y="3906"/>
                  </a:lnTo>
                  <a:lnTo>
                    <a:pt x="744" y="3900"/>
                  </a:lnTo>
                  <a:lnTo>
                    <a:pt x="732" y="3888"/>
                  </a:lnTo>
                  <a:lnTo>
                    <a:pt x="744" y="3852"/>
                  </a:lnTo>
                  <a:lnTo>
                    <a:pt x="750" y="3846"/>
                  </a:lnTo>
                  <a:lnTo>
                    <a:pt x="750" y="3840"/>
                  </a:lnTo>
                  <a:lnTo>
                    <a:pt x="750" y="3834"/>
                  </a:lnTo>
                  <a:lnTo>
                    <a:pt x="750" y="3822"/>
                  </a:lnTo>
                  <a:lnTo>
                    <a:pt x="744" y="3822"/>
                  </a:lnTo>
                  <a:lnTo>
                    <a:pt x="750" y="3816"/>
                  </a:lnTo>
                  <a:lnTo>
                    <a:pt x="750" y="3798"/>
                  </a:lnTo>
                  <a:lnTo>
                    <a:pt x="744" y="3798"/>
                  </a:lnTo>
                  <a:lnTo>
                    <a:pt x="744" y="3810"/>
                  </a:lnTo>
                  <a:lnTo>
                    <a:pt x="738" y="3840"/>
                  </a:lnTo>
                  <a:lnTo>
                    <a:pt x="738" y="3852"/>
                  </a:lnTo>
                  <a:lnTo>
                    <a:pt x="738" y="3858"/>
                  </a:lnTo>
                  <a:lnTo>
                    <a:pt x="738" y="3864"/>
                  </a:lnTo>
                  <a:lnTo>
                    <a:pt x="732" y="3858"/>
                  </a:lnTo>
                  <a:lnTo>
                    <a:pt x="732" y="3834"/>
                  </a:lnTo>
                  <a:lnTo>
                    <a:pt x="738" y="3828"/>
                  </a:lnTo>
                  <a:lnTo>
                    <a:pt x="732" y="3822"/>
                  </a:lnTo>
                  <a:lnTo>
                    <a:pt x="738" y="3810"/>
                  </a:lnTo>
                  <a:lnTo>
                    <a:pt x="744" y="3798"/>
                  </a:lnTo>
                  <a:lnTo>
                    <a:pt x="738" y="3786"/>
                  </a:lnTo>
                  <a:lnTo>
                    <a:pt x="756" y="3750"/>
                  </a:lnTo>
                  <a:lnTo>
                    <a:pt x="756" y="3744"/>
                  </a:lnTo>
                  <a:lnTo>
                    <a:pt x="762" y="3714"/>
                  </a:lnTo>
                  <a:lnTo>
                    <a:pt x="762" y="3696"/>
                  </a:lnTo>
                  <a:lnTo>
                    <a:pt x="762" y="3690"/>
                  </a:lnTo>
                  <a:lnTo>
                    <a:pt x="774" y="3666"/>
                  </a:lnTo>
                  <a:lnTo>
                    <a:pt x="774" y="3630"/>
                  </a:lnTo>
                  <a:lnTo>
                    <a:pt x="774" y="3612"/>
                  </a:lnTo>
                  <a:lnTo>
                    <a:pt x="774" y="3594"/>
                  </a:lnTo>
                  <a:lnTo>
                    <a:pt x="768" y="3576"/>
                  </a:lnTo>
                  <a:lnTo>
                    <a:pt x="768" y="3570"/>
                  </a:lnTo>
                  <a:lnTo>
                    <a:pt x="774" y="3570"/>
                  </a:lnTo>
                  <a:lnTo>
                    <a:pt x="780" y="3564"/>
                  </a:lnTo>
                  <a:lnTo>
                    <a:pt x="780" y="3558"/>
                  </a:lnTo>
                  <a:lnTo>
                    <a:pt x="786" y="3540"/>
                  </a:lnTo>
                  <a:lnTo>
                    <a:pt x="780" y="3528"/>
                  </a:lnTo>
                  <a:lnTo>
                    <a:pt x="780" y="3522"/>
                  </a:lnTo>
                  <a:lnTo>
                    <a:pt x="786" y="3516"/>
                  </a:lnTo>
                  <a:lnTo>
                    <a:pt x="792" y="3516"/>
                  </a:lnTo>
                  <a:lnTo>
                    <a:pt x="792" y="3522"/>
                  </a:lnTo>
                  <a:lnTo>
                    <a:pt x="798" y="3516"/>
                  </a:lnTo>
                  <a:lnTo>
                    <a:pt x="804" y="3510"/>
                  </a:lnTo>
                  <a:lnTo>
                    <a:pt x="810" y="3504"/>
                  </a:lnTo>
                  <a:lnTo>
                    <a:pt x="810" y="3498"/>
                  </a:lnTo>
                  <a:lnTo>
                    <a:pt x="810" y="3492"/>
                  </a:lnTo>
                  <a:lnTo>
                    <a:pt x="810" y="3486"/>
                  </a:lnTo>
                  <a:lnTo>
                    <a:pt x="816" y="3480"/>
                  </a:lnTo>
                  <a:lnTo>
                    <a:pt x="834" y="3474"/>
                  </a:lnTo>
                  <a:lnTo>
                    <a:pt x="846" y="3474"/>
                  </a:lnTo>
                  <a:lnTo>
                    <a:pt x="852" y="3474"/>
                  </a:lnTo>
                  <a:lnTo>
                    <a:pt x="870" y="3474"/>
                  </a:lnTo>
                  <a:lnTo>
                    <a:pt x="882" y="3474"/>
                  </a:lnTo>
                  <a:lnTo>
                    <a:pt x="936" y="3474"/>
                  </a:lnTo>
                  <a:lnTo>
                    <a:pt x="1008" y="3474"/>
                  </a:lnTo>
                  <a:lnTo>
                    <a:pt x="1092" y="3474"/>
                  </a:lnTo>
                  <a:lnTo>
                    <a:pt x="1110" y="3474"/>
                  </a:lnTo>
                  <a:lnTo>
                    <a:pt x="1122" y="3474"/>
                  </a:lnTo>
                  <a:lnTo>
                    <a:pt x="1128" y="3474"/>
                  </a:lnTo>
                  <a:lnTo>
                    <a:pt x="1134" y="3474"/>
                  </a:lnTo>
                  <a:lnTo>
                    <a:pt x="1146" y="3474"/>
                  </a:lnTo>
                  <a:lnTo>
                    <a:pt x="1230" y="3474"/>
                  </a:lnTo>
                  <a:lnTo>
                    <a:pt x="1266" y="3474"/>
                  </a:lnTo>
                  <a:lnTo>
                    <a:pt x="1296" y="3474"/>
                  </a:lnTo>
                  <a:lnTo>
                    <a:pt x="1356" y="3474"/>
                  </a:lnTo>
                  <a:lnTo>
                    <a:pt x="1392" y="3474"/>
                  </a:lnTo>
                  <a:lnTo>
                    <a:pt x="1398" y="3474"/>
                  </a:lnTo>
                  <a:lnTo>
                    <a:pt x="1434" y="3474"/>
                  </a:lnTo>
                  <a:lnTo>
                    <a:pt x="1440" y="3474"/>
                  </a:lnTo>
                  <a:lnTo>
                    <a:pt x="1458" y="3474"/>
                  </a:lnTo>
                  <a:lnTo>
                    <a:pt x="1494" y="3474"/>
                  </a:lnTo>
                  <a:lnTo>
                    <a:pt x="1506" y="3474"/>
                  </a:lnTo>
                  <a:lnTo>
                    <a:pt x="1512" y="3474"/>
                  </a:lnTo>
                  <a:lnTo>
                    <a:pt x="1518" y="3474"/>
                  </a:lnTo>
                  <a:lnTo>
                    <a:pt x="1524" y="3474"/>
                  </a:lnTo>
                  <a:lnTo>
                    <a:pt x="1608" y="3474"/>
                  </a:lnTo>
                  <a:lnTo>
                    <a:pt x="1620" y="3474"/>
                  </a:lnTo>
                  <a:lnTo>
                    <a:pt x="1644" y="3474"/>
                  </a:lnTo>
                  <a:lnTo>
                    <a:pt x="1698" y="3474"/>
                  </a:lnTo>
                  <a:lnTo>
                    <a:pt x="1698" y="3396"/>
                  </a:lnTo>
                  <a:lnTo>
                    <a:pt x="1698" y="3384"/>
                  </a:lnTo>
                  <a:lnTo>
                    <a:pt x="1698" y="3378"/>
                  </a:lnTo>
                  <a:lnTo>
                    <a:pt x="1704" y="3300"/>
                  </a:lnTo>
                  <a:lnTo>
                    <a:pt x="1716" y="3300"/>
                  </a:lnTo>
                  <a:lnTo>
                    <a:pt x="1740" y="3300"/>
                  </a:lnTo>
                  <a:lnTo>
                    <a:pt x="1764" y="3294"/>
                  </a:lnTo>
                  <a:lnTo>
                    <a:pt x="1776" y="3294"/>
                  </a:lnTo>
                  <a:lnTo>
                    <a:pt x="1782" y="3294"/>
                  </a:lnTo>
                  <a:lnTo>
                    <a:pt x="1818" y="3282"/>
                  </a:lnTo>
                  <a:lnTo>
                    <a:pt x="1836" y="3282"/>
                  </a:lnTo>
                  <a:lnTo>
                    <a:pt x="1854" y="3288"/>
                  </a:lnTo>
                  <a:lnTo>
                    <a:pt x="1860" y="3288"/>
                  </a:lnTo>
                  <a:lnTo>
                    <a:pt x="1878" y="3294"/>
                  </a:lnTo>
                  <a:lnTo>
                    <a:pt x="1884" y="3294"/>
                  </a:lnTo>
                  <a:lnTo>
                    <a:pt x="1902" y="3300"/>
                  </a:lnTo>
                  <a:lnTo>
                    <a:pt x="1920" y="3300"/>
                  </a:lnTo>
                  <a:lnTo>
                    <a:pt x="1932" y="3294"/>
                  </a:lnTo>
                  <a:lnTo>
                    <a:pt x="1968" y="3264"/>
                  </a:lnTo>
                  <a:lnTo>
                    <a:pt x="1986" y="3258"/>
                  </a:lnTo>
                  <a:lnTo>
                    <a:pt x="1992" y="3252"/>
                  </a:lnTo>
                  <a:lnTo>
                    <a:pt x="2004" y="3252"/>
                  </a:lnTo>
                  <a:lnTo>
                    <a:pt x="2022" y="3258"/>
                  </a:lnTo>
                  <a:lnTo>
                    <a:pt x="2034" y="3264"/>
                  </a:lnTo>
                  <a:lnTo>
                    <a:pt x="2040" y="3264"/>
                  </a:lnTo>
                  <a:lnTo>
                    <a:pt x="2052" y="3270"/>
                  </a:lnTo>
                  <a:lnTo>
                    <a:pt x="2070" y="3276"/>
                  </a:lnTo>
                  <a:lnTo>
                    <a:pt x="2082" y="3276"/>
                  </a:lnTo>
                  <a:lnTo>
                    <a:pt x="2088" y="3276"/>
                  </a:lnTo>
                  <a:lnTo>
                    <a:pt x="2100" y="3282"/>
                  </a:lnTo>
                  <a:lnTo>
                    <a:pt x="2112" y="3288"/>
                  </a:lnTo>
                  <a:lnTo>
                    <a:pt x="2118" y="3294"/>
                  </a:lnTo>
                  <a:lnTo>
                    <a:pt x="2130" y="3294"/>
                  </a:lnTo>
                  <a:lnTo>
                    <a:pt x="2148" y="3294"/>
                  </a:lnTo>
                  <a:lnTo>
                    <a:pt x="2160" y="3294"/>
                  </a:lnTo>
                  <a:lnTo>
                    <a:pt x="2160" y="3288"/>
                  </a:lnTo>
                  <a:lnTo>
                    <a:pt x="2202" y="3276"/>
                  </a:lnTo>
                  <a:lnTo>
                    <a:pt x="2220" y="3270"/>
                  </a:lnTo>
                  <a:lnTo>
                    <a:pt x="2226" y="3264"/>
                  </a:lnTo>
                  <a:lnTo>
                    <a:pt x="2226" y="3258"/>
                  </a:lnTo>
                  <a:lnTo>
                    <a:pt x="2238" y="3252"/>
                  </a:lnTo>
                  <a:lnTo>
                    <a:pt x="2262" y="3228"/>
                  </a:lnTo>
                  <a:lnTo>
                    <a:pt x="2274" y="3216"/>
                  </a:lnTo>
                  <a:lnTo>
                    <a:pt x="2274" y="3210"/>
                  </a:lnTo>
                  <a:lnTo>
                    <a:pt x="2280" y="3198"/>
                  </a:lnTo>
                  <a:lnTo>
                    <a:pt x="2280" y="3186"/>
                  </a:lnTo>
                  <a:lnTo>
                    <a:pt x="2280" y="3162"/>
                  </a:lnTo>
                  <a:lnTo>
                    <a:pt x="2286" y="3156"/>
                  </a:lnTo>
                  <a:lnTo>
                    <a:pt x="2286" y="3144"/>
                  </a:lnTo>
                  <a:lnTo>
                    <a:pt x="2292" y="3120"/>
                  </a:lnTo>
                  <a:lnTo>
                    <a:pt x="2298" y="3108"/>
                  </a:lnTo>
                  <a:lnTo>
                    <a:pt x="2310" y="3102"/>
                  </a:lnTo>
                  <a:lnTo>
                    <a:pt x="2316" y="3090"/>
                  </a:lnTo>
                  <a:lnTo>
                    <a:pt x="2322" y="3090"/>
                  </a:lnTo>
                  <a:lnTo>
                    <a:pt x="2334" y="3078"/>
                  </a:lnTo>
                  <a:lnTo>
                    <a:pt x="2358" y="3066"/>
                  </a:lnTo>
                  <a:lnTo>
                    <a:pt x="2388" y="3054"/>
                  </a:lnTo>
                  <a:lnTo>
                    <a:pt x="2394" y="3054"/>
                  </a:lnTo>
                  <a:lnTo>
                    <a:pt x="2400" y="3054"/>
                  </a:lnTo>
                  <a:lnTo>
                    <a:pt x="2406" y="3072"/>
                  </a:lnTo>
                  <a:lnTo>
                    <a:pt x="2412" y="3078"/>
                  </a:lnTo>
                  <a:lnTo>
                    <a:pt x="2424" y="3090"/>
                  </a:lnTo>
                  <a:lnTo>
                    <a:pt x="2430" y="3102"/>
                  </a:lnTo>
                  <a:lnTo>
                    <a:pt x="2448" y="3120"/>
                  </a:lnTo>
                  <a:lnTo>
                    <a:pt x="2496" y="3150"/>
                  </a:lnTo>
                  <a:lnTo>
                    <a:pt x="2502" y="3156"/>
                  </a:lnTo>
                  <a:lnTo>
                    <a:pt x="2526" y="3168"/>
                  </a:lnTo>
                  <a:lnTo>
                    <a:pt x="2538" y="3174"/>
                  </a:lnTo>
                  <a:lnTo>
                    <a:pt x="2556" y="3186"/>
                  </a:lnTo>
                  <a:lnTo>
                    <a:pt x="2568" y="3186"/>
                  </a:lnTo>
                  <a:lnTo>
                    <a:pt x="2574" y="3186"/>
                  </a:lnTo>
                  <a:lnTo>
                    <a:pt x="2586" y="3192"/>
                  </a:lnTo>
                  <a:lnTo>
                    <a:pt x="2604" y="3198"/>
                  </a:lnTo>
                  <a:lnTo>
                    <a:pt x="2622" y="3198"/>
                  </a:lnTo>
                  <a:lnTo>
                    <a:pt x="2628" y="3198"/>
                  </a:lnTo>
                  <a:lnTo>
                    <a:pt x="2640" y="3198"/>
                  </a:lnTo>
                  <a:lnTo>
                    <a:pt x="2664" y="3216"/>
                  </a:lnTo>
                  <a:lnTo>
                    <a:pt x="2676" y="3222"/>
                  </a:lnTo>
                  <a:lnTo>
                    <a:pt x="2688" y="3222"/>
                  </a:lnTo>
                  <a:lnTo>
                    <a:pt x="2712" y="3228"/>
                  </a:lnTo>
                  <a:lnTo>
                    <a:pt x="2718" y="3222"/>
                  </a:lnTo>
                  <a:lnTo>
                    <a:pt x="2724" y="3228"/>
                  </a:lnTo>
                  <a:lnTo>
                    <a:pt x="2730" y="3234"/>
                  </a:lnTo>
                  <a:lnTo>
                    <a:pt x="2736" y="3234"/>
                  </a:lnTo>
                  <a:lnTo>
                    <a:pt x="2742" y="3252"/>
                  </a:lnTo>
                  <a:lnTo>
                    <a:pt x="2760" y="3264"/>
                  </a:lnTo>
                  <a:lnTo>
                    <a:pt x="2784" y="3282"/>
                  </a:lnTo>
                  <a:lnTo>
                    <a:pt x="2832" y="3306"/>
                  </a:lnTo>
                  <a:lnTo>
                    <a:pt x="2838" y="3306"/>
                  </a:lnTo>
                  <a:lnTo>
                    <a:pt x="2850" y="3306"/>
                  </a:lnTo>
                  <a:lnTo>
                    <a:pt x="2868" y="3306"/>
                  </a:lnTo>
                  <a:lnTo>
                    <a:pt x="2886" y="3294"/>
                  </a:lnTo>
                  <a:lnTo>
                    <a:pt x="2904" y="3294"/>
                  </a:lnTo>
                  <a:lnTo>
                    <a:pt x="2910" y="3294"/>
                  </a:lnTo>
                  <a:lnTo>
                    <a:pt x="2922" y="3312"/>
                  </a:lnTo>
                  <a:lnTo>
                    <a:pt x="2934" y="3324"/>
                  </a:lnTo>
                  <a:lnTo>
                    <a:pt x="2940" y="3330"/>
                  </a:lnTo>
                  <a:lnTo>
                    <a:pt x="2946" y="3330"/>
                  </a:lnTo>
                  <a:lnTo>
                    <a:pt x="2958" y="3330"/>
                  </a:lnTo>
                  <a:lnTo>
                    <a:pt x="2976" y="3336"/>
                  </a:lnTo>
                  <a:lnTo>
                    <a:pt x="2988" y="3336"/>
                  </a:lnTo>
                  <a:lnTo>
                    <a:pt x="2988" y="3342"/>
                  </a:lnTo>
                  <a:lnTo>
                    <a:pt x="3018" y="3342"/>
                  </a:lnTo>
                  <a:lnTo>
                    <a:pt x="3024" y="3342"/>
                  </a:lnTo>
                  <a:lnTo>
                    <a:pt x="3042" y="3366"/>
                  </a:lnTo>
                  <a:lnTo>
                    <a:pt x="3054" y="3378"/>
                  </a:lnTo>
                  <a:lnTo>
                    <a:pt x="3060" y="3378"/>
                  </a:lnTo>
                  <a:lnTo>
                    <a:pt x="3078" y="3390"/>
                  </a:lnTo>
                  <a:lnTo>
                    <a:pt x="3102" y="3402"/>
                  </a:lnTo>
                  <a:lnTo>
                    <a:pt x="3120" y="3408"/>
                  </a:lnTo>
                  <a:lnTo>
                    <a:pt x="3132" y="3408"/>
                  </a:lnTo>
                  <a:lnTo>
                    <a:pt x="3138" y="3408"/>
                  </a:lnTo>
                  <a:lnTo>
                    <a:pt x="3144" y="3408"/>
                  </a:lnTo>
                  <a:lnTo>
                    <a:pt x="3174" y="3402"/>
                  </a:lnTo>
                  <a:lnTo>
                    <a:pt x="3186" y="3402"/>
                  </a:lnTo>
                  <a:lnTo>
                    <a:pt x="3204" y="3402"/>
                  </a:lnTo>
                  <a:lnTo>
                    <a:pt x="3222" y="3402"/>
                  </a:lnTo>
                  <a:lnTo>
                    <a:pt x="3240" y="3420"/>
                  </a:lnTo>
                  <a:lnTo>
                    <a:pt x="3246" y="3420"/>
                  </a:lnTo>
                  <a:lnTo>
                    <a:pt x="3288" y="3420"/>
                  </a:lnTo>
                  <a:lnTo>
                    <a:pt x="3294" y="3420"/>
                  </a:lnTo>
                  <a:lnTo>
                    <a:pt x="3312" y="3420"/>
                  </a:lnTo>
                  <a:lnTo>
                    <a:pt x="3324" y="3414"/>
                  </a:lnTo>
                  <a:lnTo>
                    <a:pt x="3330" y="3414"/>
                  </a:lnTo>
                  <a:lnTo>
                    <a:pt x="3342" y="3414"/>
                  </a:lnTo>
                  <a:lnTo>
                    <a:pt x="3348" y="3408"/>
                  </a:lnTo>
                  <a:lnTo>
                    <a:pt x="3354" y="3402"/>
                  </a:lnTo>
                  <a:lnTo>
                    <a:pt x="3360" y="3366"/>
                  </a:lnTo>
                  <a:lnTo>
                    <a:pt x="3366" y="3360"/>
                  </a:lnTo>
                  <a:lnTo>
                    <a:pt x="3384" y="3354"/>
                  </a:lnTo>
                  <a:lnTo>
                    <a:pt x="3408" y="3354"/>
                  </a:lnTo>
                  <a:lnTo>
                    <a:pt x="3420" y="3354"/>
                  </a:lnTo>
                  <a:lnTo>
                    <a:pt x="3426" y="3354"/>
                  </a:lnTo>
                  <a:lnTo>
                    <a:pt x="3432" y="3354"/>
                  </a:lnTo>
                  <a:lnTo>
                    <a:pt x="3444" y="3354"/>
                  </a:lnTo>
                  <a:lnTo>
                    <a:pt x="3456" y="3354"/>
                  </a:lnTo>
                  <a:lnTo>
                    <a:pt x="3462" y="3348"/>
                  </a:lnTo>
                  <a:lnTo>
                    <a:pt x="3480" y="3348"/>
                  </a:lnTo>
                  <a:lnTo>
                    <a:pt x="3498" y="3342"/>
                  </a:lnTo>
                  <a:lnTo>
                    <a:pt x="3516" y="3330"/>
                  </a:lnTo>
                  <a:lnTo>
                    <a:pt x="3534" y="3324"/>
                  </a:lnTo>
                  <a:lnTo>
                    <a:pt x="3546" y="3324"/>
                  </a:lnTo>
                  <a:lnTo>
                    <a:pt x="3558" y="3324"/>
                  </a:lnTo>
                  <a:lnTo>
                    <a:pt x="3576" y="3324"/>
                  </a:lnTo>
                  <a:lnTo>
                    <a:pt x="3588" y="3324"/>
                  </a:lnTo>
                  <a:lnTo>
                    <a:pt x="3612" y="3318"/>
                  </a:lnTo>
                  <a:lnTo>
                    <a:pt x="3636" y="3300"/>
                  </a:lnTo>
                  <a:lnTo>
                    <a:pt x="3648" y="3288"/>
                  </a:lnTo>
                  <a:lnTo>
                    <a:pt x="3660" y="3270"/>
                  </a:lnTo>
                  <a:lnTo>
                    <a:pt x="3672" y="3252"/>
                  </a:lnTo>
                  <a:lnTo>
                    <a:pt x="3678" y="3234"/>
                  </a:lnTo>
                  <a:lnTo>
                    <a:pt x="3678" y="3216"/>
                  </a:lnTo>
                  <a:lnTo>
                    <a:pt x="3678" y="3204"/>
                  </a:lnTo>
                  <a:lnTo>
                    <a:pt x="3672" y="3192"/>
                  </a:lnTo>
                  <a:lnTo>
                    <a:pt x="3660" y="3186"/>
                  </a:lnTo>
                  <a:lnTo>
                    <a:pt x="3660" y="3180"/>
                  </a:lnTo>
                  <a:lnTo>
                    <a:pt x="3648" y="3162"/>
                  </a:lnTo>
                  <a:lnTo>
                    <a:pt x="3624" y="3144"/>
                  </a:lnTo>
                  <a:lnTo>
                    <a:pt x="3618" y="3138"/>
                  </a:lnTo>
                  <a:lnTo>
                    <a:pt x="3618" y="3132"/>
                  </a:lnTo>
                  <a:lnTo>
                    <a:pt x="3600" y="3114"/>
                  </a:lnTo>
                  <a:lnTo>
                    <a:pt x="3588" y="3102"/>
                  </a:lnTo>
                  <a:lnTo>
                    <a:pt x="3558" y="3084"/>
                  </a:lnTo>
                  <a:lnTo>
                    <a:pt x="3522" y="3072"/>
                  </a:lnTo>
                  <a:lnTo>
                    <a:pt x="3522" y="3066"/>
                  </a:lnTo>
                  <a:lnTo>
                    <a:pt x="3516" y="3066"/>
                  </a:lnTo>
                  <a:lnTo>
                    <a:pt x="3492" y="3072"/>
                  </a:lnTo>
                  <a:lnTo>
                    <a:pt x="3474" y="3084"/>
                  </a:lnTo>
                  <a:lnTo>
                    <a:pt x="3444" y="3090"/>
                  </a:lnTo>
                  <a:lnTo>
                    <a:pt x="3426" y="3090"/>
                  </a:lnTo>
                  <a:lnTo>
                    <a:pt x="3402" y="3090"/>
                  </a:lnTo>
                  <a:lnTo>
                    <a:pt x="3396" y="3090"/>
                  </a:lnTo>
                  <a:lnTo>
                    <a:pt x="3360" y="3096"/>
                  </a:lnTo>
                  <a:lnTo>
                    <a:pt x="3354" y="3102"/>
                  </a:lnTo>
                  <a:lnTo>
                    <a:pt x="3348" y="3102"/>
                  </a:lnTo>
                  <a:lnTo>
                    <a:pt x="3336" y="3108"/>
                  </a:lnTo>
                  <a:lnTo>
                    <a:pt x="3312" y="3120"/>
                  </a:lnTo>
                  <a:lnTo>
                    <a:pt x="3282" y="3132"/>
                  </a:lnTo>
                  <a:lnTo>
                    <a:pt x="3276" y="3138"/>
                  </a:lnTo>
                  <a:lnTo>
                    <a:pt x="3270" y="3144"/>
                  </a:lnTo>
                  <a:lnTo>
                    <a:pt x="3252" y="3156"/>
                  </a:lnTo>
                  <a:lnTo>
                    <a:pt x="3246" y="3162"/>
                  </a:lnTo>
                  <a:lnTo>
                    <a:pt x="3240" y="3162"/>
                  </a:lnTo>
                  <a:lnTo>
                    <a:pt x="3174" y="3180"/>
                  </a:lnTo>
                  <a:lnTo>
                    <a:pt x="3150" y="3186"/>
                  </a:lnTo>
                  <a:lnTo>
                    <a:pt x="3138" y="3180"/>
                  </a:lnTo>
                  <a:lnTo>
                    <a:pt x="3120" y="3168"/>
                  </a:lnTo>
                  <a:lnTo>
                    <a:pt x="3102" y="3162"/>
                  </a:lnTo>
                  <a:lnTo>
                    <a:pt x="3096" y="3156"/>
                  </a:lnTo>
                  <a:lnTo>
                    <a:pt x="3060" y="3138"/>
                  </a:lnTo>
                  <a:lnTo>
                    <a:pt x="3042" y="3126"/>
                  </a:lnTo>
                  <a:lnTo>
                    <a:pt x="3030" y="3114"/>
                  </a:lnTo>
                  <a:lnTo>
                    <a:pt x="3018" y="3096"/>
                  </a:lnTo>
                  <a:lnTo>
                    <a:pt x="3000" y="3048"/>
                  </a:lnTo>
                  <a:lnTo>
                    <a:pt x="2988" y="3036"/>
                  </a:lnTo>
                  <a:lnTo>
                    <a:pt x="2976" y="3024"/>
                  </a:lnTo>
                  <a:lnTo>
                    <a:pt x="2958" y="3006"/>
                  </a:lnTo>
                  <a:lnTo>
                    <a:pt x="2946" y="3000"/>
                  </a:lnTo>
                  <a:lnTo>
                    <a:pt x="2922" y="2994"/>
                  </a:lnTo>
                  <a:lnTo>
                    <a:pt x="2910" y="2988"/>
                  </a:lnTo>
                  <a:lnTo>
                    <a:pt x="2904" y="2988"/>
                  </a:lnTo>
                  <a:lnTo>
                    <a:pt x="2892" y="2988"/>
                  </a:lnTo>
                  <a:lnTo>
                    <a:pt x="2874" y="2988"/>
                  </a:lnTo>
                  <a:lnTo>
                    <a:pt x="2844" y="2994"/>
                  </a:lnTo>
                  <a:lnTo>
                    <a:pt x="2826" y="3006"/>
                  </a:lnTo>
                  <a:lnTo>
                    <a:pt x="2814" y="3012"/>
                  </a:lnTo>
                  <a:lnTo>
                    <a:pt x="2790" y="3024"/>
                  </a:lnTo>
                  <a:lnTo>
                    <a:pt x="2784" y="3030"/>
                  </a:lnTo>
                  <a:lnTo>
                    <a:pt x="2772" y="3030"/>
                  </a:lnTo>
                  <a:lnTo>
                    <a:pt x="2754" y="3018"/>
                  </a:lnTo>
                  <a:lnTo>
                    <a:pt x="2730" y="3006"/>
                  </a:lnTo>
                  <a:lnTo>
                    <a:pt x="2718" y="2994"/>
                  </a:lnTo>
                  <a:lnTo>
                    <a:pt x="2712" y="2994"/>
                  </a:lnTo>
                  <a:lnTo>
                    <a:pt x="2706" y="2982"/>
                  </a:lnTo>
                  <a:lnTo>
                    <a:pt x="2700" y="2976"/>
                  </a:lnTo>
                  <a:lnTo>
                    <a:pt x="2700" y="2952"/>
                  </a:lnTo>
                  <a:lnTo>
                    <a:pt x="2694" y="2922"/>
                  </a:lnTo>
                  <a:lnTo>
                    <a:pt x="2682" y="2904"/>
                  </a:lnTo>
                  <a:lnTo>
                    <a:pt x="2676" y="2898"/>
                  </a:lnTo>
                  <a:lnTo>
                    <a:pt x="2664" y="2886"/>
                  </a:lnTo>
                  <a:close/>
                  <a:moveTo>
                    <a:pt x="846" y="2862"/>
                  </a:moveTo>
                  <a:lnTo>
                    <a:pt x="858" y="2844"/>
                  </a:lnTo>
                  <a:lnTo>
                    <a:pt x="870" y="2832"/>
                  </a:lnTo>
                  <a:lnTo>
                    <a:pt x="888" y="2826"/>
                  </a:lnTo>
                  <a:lnTo>
                    <a:pt x="900" y="2820"/>
                  </a:lnTo>
                  <a:lnTo>
                    <a:pt x="912" y="2820"/>
                  </a:lnTo>
                  <a:lnTo>
                    <a:pt x="918" y="2820"/>
                  </a:lnTo>
                  <a:lnTo>
                    <a:pt x="918" y="2826"/>
                  </a:lnTo>
                  <a:lnTo>
                    <a:pt x="912" y="2832"/>
                  </a:lnTo>
                  <a:lnTo>
                    <a:pt x="906" y="2838"/>
                  </a:lnTo>
                  <a:lnTo>
                    <a:pt x="858" y="2868"/>
                  </a:lnTo>
                  <a:lnTo>
                    <a:pt x="864" y="2856"/>
                  </a:lnTo>
                  <a:lnTo>
                    <a:pt x="864" y="2850"/>
                  </a:lnTo>
                  <a:lnTo>
                    <a:pt x="852" y="2862"/>
                  </a:lnTo>
                  <a:lnTo>
                    <a:pt x="846" y="2862"/>
                  </a:lnTo>
                  <a:close/>
                  <a:moveTo>
                    <a:pt x="870" y="2970"/>
                  </a:moveTo>
                  <a:lnTo>
                    <a:pt x="870" y="2952"/>
                  </a:lnTo>
                  <a:lnTo>
                    <a:pt x="876" y="2952"/>
                  </a:lnTo>
                  <a:lnTo>
                    <a:pt x="882" y="2976"/>
                  </a:lnTo>
                  <a:lnTo>
                    <a:pt x="876" y="2988"/>
                  </a:lnTo>
                  <a:lnTo>
                    <a:pt x="870" y="2988"/>
                  </a:lnTo>
                  <a:lnTo>
                    <a:pt x="870" y="2970"/>
                  </a:lnTo>
                  <a:close/>
                  <a:moveTo>
                    <a:pt x="840" y="2982"/>
                  </a:moveTo>
                  <a:lnTo>
                    <a:pt x="846" y="2982"/>
                  </a:lnTo>
                  <a:lnTo>
                    <a:pt x="852" y="2994"/>
                  </a:lnTo>
                  <a:lnTo>
                    <a:pt x="864" y="3000"/>
                  </a:lnTo>
                  <a:lnTo>
                    <a:pt x="864" y="3006"/>
                  </a:lnTo>
                  <a:lnTo>
                    <a:pt x="858" y="3006"/>
                  </a:lnTo>
                  <a:lnTo>
                    <a:pt x="852" y="3000"/>
                  </a:lnTo>
                  <a:lnTo>
                    <a:pt x="840" y="2988"/>
                  </a:lnTo>
                  <a:lnTo>
                    <a:pt x="840" y="2982"/>
                  </a:lnTo>
                  <a:close/>
                  <a:moveTo>
                    <a:pt x="762" y="2730"/>
                  </a:moveTo>
                  <a:lnTo>
                    <a:pt x="762" y="2724"/>
                  </a:lnTo>
                  <a:lnTo>
                    <a:pt x="768" y="2718"/>
                  </a:lnTo>
                  <a:lnTo>
                    <a:pt x="768" y="2724"/>
                  </a:lnTo>
                  <a:lnTo>
                    <a:pt x="768" y="2730"/>
                  </a:lnTo>
                  <a:lnTo>
                    <a:pt x="762" y="2730"/>
                  </a:lnTo>
                  <a:close/>
                  <a:moveTo>
                    <a:pt x="54" y="1998"/>
                  </a:moveTo>
                  <a:lnTo>
                    <a:pt x="66" y="1998"/>
                  </a:lnTo>
                  <a:lnTo>
                    <a:pt x="72" y="2004"/>
                  </a:lnTo>
                  <a:lnTo>
                    <a:pt x="66" y="2010"/>
                  </a:lnTo>
                  <a:lnTo>
                    <a:pt x="60" y="2010"/>
                  </a:lnTo>
                  <a:lnTo>
                    <a:pt x="54" y="2004"/>
                  </a:lnTo>
                  <a:lnTo>
                    <a:pt x="54" y="1998"/>
                  </a:lnTo>
                  <a:close/>
                </a:path>
              </a:pathLst>
            </a:custGeom>
            <a:noFill/>
            <a:ln w="12700">
              <a:solidFill>
                <a:srgbClr val="FFFFFF">
                  <a:lumMod val="65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43" name="Freeform 15"/>
            <p:cNvSpPr/>
            <p:nvPr>
              <p:custDataLst>
                <p:tags r:id="rId3"/>
              </p:custDataLst>
            </p:nvPr>
          </p:nvSpPr>
          <p:spPr bwMode="gray">
            <a:xfrm>
              <a:off x="1937909" y="1003079"/>
              <a:ext cx="5102360" cy="2348173"/>
            </a:xfrm>
            <a:custGeom>
              <a:avLst/>
              <a:gdLst>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76725 w 5553075"/>
                <a:gd name="connsiteY125" fmla="*/ 1344305 h 2634942"/>
                <a:gd name="connsiteX126" fmla="*/ 4271963 w 5553075"/>
                <a:gd name="connsiteY126" fmla="*/ 1387167 h 2634942"/>
                <a:gd name="connsiteX127" fmla="*/ 4229100 w 5553075"/>
                <a:gd name="connsiteY127" fmla="*/ 1396692 h 2634942"/>
                <a:gd name="connsiteX128" fmla="*/ 4271963 w 5553075"/>
                <a:gd name="connsiteY128" fmla="*/ 1482417 h 2634942"/>
                <a:gd name="connsiteX129" fmla="*/ 4310063 w 5553075"/>
                <a:gd name="connsiteY129" fmla="*/ 1458605 h 2634942"/>
                <a:gd name="connsiteX130" fmla="*/ 4438650 w 5553075"/>
                <a:gd name="connsiteY130" fmla="*/ 1510992 h 2634942"/>
                <a:gd name="connsiteX131" fmla="*/ 4438650 w 5553075"/>
                <a:gd name="connsiteY131" fmla="*/ 1563380 h 2634942"/>
                <a:gd name="connsiteX132" fmla="*/ 4419600 w 5553075"/>
                <a:gd name="connsiteY132" fmla="*/ 1620530 h 2634942"/>
                <a:gd name="connsiteX133" fmla="*/ 4500563 w 5553075"/>
                <a:gd name="connsiteY133" fmla="*/ 1672917 h 2634942"/>
                <a:gd name="connsiteX134" fmla="*/ 4572000 w 5553075"/>
                <a:gd name="connsiteY134" fmla="*/ 1634817 h 2634942"/>
                <a:gd name="connsiteX135" fmla="*/ 4605338 w 5553075"/>
                <a:gd name="connsiteY135" fmla="*/ 1639580 h 2634942"/>
                <a:gd name="connsiteX136" fmla="*/ 4619625 w 5553075"/>
                <a:gd name="connsiteY136" fmla="*/ 1687205 h 2634942"/>
                <a:gd name="connsiteX137" fmla="*/ 4657725 w 5553075"/>
                <a:gd name="connsiteY137" fmla="*/ 1711017 h 2634942"/>
                <a:gd name="connsiteX138" fmla="*/ 4629150 w 5553075"/>
                <a:gd name="connsiteY138" fmla="*/ 1758642 h 2634942"/>
                <a:gd name="connsiteX139" fmla="*/ 4652963 w 5553075"/>
                <a:gd name="connsiteY139" fmla="*/ 1815792 h 2634942"/>
                <a:gd name="connsiteX140" fmla="*/ 4681538 w 5553075"/>
                <a:gd name="connsiteY140" fmla="*/ 1849130 h 2634942"/>
                <a:gd name="connsiteX141" fmla="*/ 4767263 w 5553075"/>
                <a:gd name="connsiteY141" fmla="*/ 1891992 h 2634942"/>
                <a:gd name="connsiteX142" fmla="*/ 4776788 w 5553075"/>
                <a:gd name="connsiteY142" fmla="*/ 1968192 h 2634942"/>
                <a:gd name="connsiteX143" fmla="*/ 4705350 w 5553075"/>
                <a:gd name="connsiteY143" fmla="*/ 1939617 h 2634942"/>
                <a:gd name="connsiteX144" fmla="*/ 4695825 w 5553075"/>
                <a:gd name="connsiteY144" fmla="*/ 1972955 h 2634942"/>
                <a:gd name="connsiteX145" fmla="*/ 4743450 w 5553075"/>
                <a:gd name="connsiteY145" fmla="*/ 2015817 h 2634942"/>
                <a:gd name="connsiteX146" fmla="*/ 4776788 w 5553075"/>
                <a:gd name="connsiteY146" fmla="*/ 2034867 h 2634942"/>
                <a:gd name="connsiteX147" fmla="*/ 4810125 w 5553075"/>
                <a:gd name="connsiteY147" fmla="*/ 2011055 h 2634942"/>
                <a:gd name="connsiteX148" fmla="*/ 4843463 w 5553075"/>
                <a:gd name="connsiteY148" fmla="*/ 2025342 h 2634942"/>
                <a:gd name="connsiteX149" fmla="*/ 4838700 w 5553075"/>
                <a:gd name="connsiteY149" fmla="*/ 2096780 h 2634942"/>
                <a:gd name="connsiteX150" fmla="*/ 4972050 w 5553075"/>
                <a:gd name="connsiteY150" fmla="*/ 2192030 h 2634942"/>
                <a:gd name="connsiteX151" fmla="*/ 4995863 w 5553075"/>
                <a:gd name="connsiteY151" fmla="*/ 2168217 h 2634942"/>
                <a:gd name="connsiteX152" fmla="*/ 5081588 w 5553075"/>
                <a:gd name="connsiteY152" fmla="*/ 2187267 h 2634942"/>
                <a:gd name="connsiteX153" fmla="*/ 5124450 w 5553075"/>
                <a:gd name="connsiteY153" fmla="*/ 2253942 h 2634942"/>
                <a:gd name="connsiteX154" fmla="*/ 5248275 w 5553075"/>
                <a:gd name="connsiteY154" fmla="*/ 2296805 h 2634942"/>
                <a:gd name="connsiteX155" fmla="*/ 5281613 w 5553075"/>
                <a:gd name="connsiteY155" fmla="*/ 2363480 h 2634942"/>
                <a:gd name="connsiteX156" fmla="*/ 5276850 w 5553075"/>
                <a:gd name="connsiteY156" fmla="*/ 2444442 h 2634942"/>
                <a:gd name="connsiteX157" fmla="*/ 5353050 w 5553075"/>
                <a:gd name="connsiteY157" fmla="*/ 2515880 h 2634942"/>
                <a:gd name="connsiteX158" fmla="*/ 5438775 w 5553075"/>
                <a:gd name="connsiteY158" fmla="*/ 2534930 h 2634942"/>
                <a:gd name="connsiteX159" fmla="*/ 5486400 w 5553075"/>
                <a:gd name="connsiteY159" fmla="*/ 2596842 h 2634942"/>
                <a:gd name="connsiteX160" fmla="*/ 5553075 w 5553075"/>
                <a:gd name="connsiteY160"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76725 w 5553075"/>
                <a:gd name="connsiteY125" fmla="*/ 1344305 h 2634942"/>
                <a:gd name="connsiteX126" fmla="*/ 4271963 w 5553075"/>
                <a:gd name="connsiteY126" fmla="*/ 1387167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438650 w 5553075"/>
                <a:gd name="connsiteY130" fmla="*/ 1510992 h 2634942"/>
                <a:gd name="connsiteX131" fmla="*/ 4438650 w 5553075"/>
                <a:gd name="connsiteY131" fmla="*/ 1563380 h 2634942"/>
                <a:gd name="connsiteX132" fmla="*/ 4419600 w 5553075"/>
                <a:gd name="connsiteY132" fmla="*/ 1620530 h 2634942"/>
                <a:gd name="connsiteX133" fmla="*/ 4500563 w 5553075"/>
                <a:gd name="connsiteY133" fmla="*/ 1672917 h 2634942"/>
                <a:gd name="connsiteX134" fmla="*/ 4572000 w 5553075"/>
                <a:gd name="connsiteY134" fmla="*/ 1634817 h 2634942"/>
                <a:gd name="connsiteX135" fmla="*/ 4605338 w 5553075"/>
                <a:gd name="connsiteY135" fmla="*/ 1639580 h 2634942"/>
                <a:gd name="connsiteX136" fmla="*/ 4619625 w 5553075"/>
                <a:gd name="connsiteY136" fmla="*/ 1687205 h 2634942"/>
                <a:gd name="connsiteX137" fmla="*/ 4657725 w 5553075"/>
                <a:gd name="connsiteY137" fmla="*/ 1711017 h 2634942"/>
                <a:gd name="connsiteX138" fmla="*/ 4629150 w 5553075"/>
                <a:gd name="connsiteY138" fmla="*/ 1758642 h 2634942"/>
                <a:gd name="connsiteX139" fmla="*/ 4652963 w 5553075"/>
                <a:gd name="connsiteY139" fmla="*/ 1815792 h 2634942"/>
                <a:gd name="connsiteX140" fmla="*/ 4681538 w 5553075"/>
                <a:gd name="connsiteY140" fmla="*/ 1849130 h 2634942"/>
                <a:gd name="connsiteX141" fmla="*/ 4767263 w 5553075"/>
                <a:gd name="connsiteY141" fmla="*/ 1891992 h 2634942"/>
                <a:gd name="connsiteX142" fmla="*/ 4776788 w 5553075"/>
                <a:gd name="connsiteY142" fmla="*/ 1968192 h 2634942"/>
                <a:gd name="connsiteX143" fmla="*/ 4705350 w 5553075"/>
                <a:gd name="connsiteY143" fmla="*/ 1939617 h 2634942"/>
                <a:gd name="connsiteX144" fmla="*/ 4695825 w 5553075"/>
                <a:gd name="connsiteY144" fmla="*/ 1972955 h 2634942"/>
                <a:gd name="connsiteX145" fmla="*/ 4743450 w 5553075"/>
                <a:gd name="connsiteY145" fmla="*/ 2015817 h 2634942"/>
                <a:gd name="connsiteX146" fmla="*/ 4776788 w 5553075"/>
                <a:gd name="connsiteY146" fmla="*/ 2034867 h 2634942"/>
                <a:gd name="connsiteX147" fmla="*/ 4810125 w 5553075"/>
                <a:gd name="connsiteY147" fmla="*/ 2011055 h 2634942"/>
                <a:gd name="connsiteX148" fmla="*/ 4843463 w 5553075"/>
                <a:gd name="connsiteY148" fmla="*/ 2025342 h 2634942"/>
                <a:gd name="connsiteX149" fmla="*/ 4838700 w 5553075"/>
                <a:gd name="connsiteY149" fmla="*/ 2096780 h 2634942"/>
                <a:gd name="connsiteX150" fmla="*/ 4972050 w 5553075"/>
                <a:gd name="connsiteY150" fmla="*/ 2192030 h 2634942"/>
                <a:gd name="connsiteX151" fmla="*/ 4995863 w 5553075"/>
                <a:gd name="connsiteY151" fmla="*/ 2168217 h 2634942"/>
                <a:gd name="connsiteX152" fmla="*/ 5081588 w 5553075"/>
                <a:gd name="connsiteY152" fmla="*/ 2187267 h 2634942"/>
                <a:gd name="connsiteX153" fmla="*/ 5124450 w 5553075"/>
                <a:gd name="connsiteY153" fmla="*/ 2253942 h 2634942"/>
                <a:gd name="connsiteX154" fmla="*/ 5248275 w 5553075"/>
                <a:gd name="connsiteY154" fmla="*/ 2296805 h 2634942"/>
                <a:gd name="connsiteX155" fmla="*/ 5281613 w 5553075"/>
                <a:gd name="connsiteY155" fmla="*/ 2363480 h 2634942"/>
                <a:gd name="connsiteX156" fmla="*/ 5276850 w 5553075"/>
                <a:gd name="connsiteY156" fmla="*/ 2444442 h 2634942"/>
                <a:gd name="connsiteX157" fmla="*/ 5353050 w 5553075"/>
                <a:gd name="connsiteY157" fmla="*/ 2515880 h 2634942"/>
                <a:gd name="connsiteX158" fmla="*/ 5438775 w 5553075"/>
                <a:gd name="connsiteY158" fmla="*/ 2534930 h 2634942"/>
                <a:gd name="connsiteX159" fmla="*/ 5486400 w 5553075"/>
                <a:gd name="connsiteY159" fmla="*/ 2596842 h 2634942"/>
                <a:gd name="connsiteX160" fmla="*/ 5553075 w 5553075"/>
                <a:gd name="connsiteY160"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76725 w 5553075"/>
                <a:gd name="connsiteY125" fmla="*/ 1344305 h 2634942"/>
                <a:gd name="connsiteX126" fmla="*/ 4271963 w 5553075"/>
                <a:gd name="connsiteY126" fmla="*/ 1387167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38650 w 5553075"/>
                <a:gd name="connsiteY131" fmla="*/ 1510992 h 2634942"/>
                <a:gd name="connsiteX132" fmla="*/ 4438650 w 5553075"/>
                <a:gd name="connsiteY132" fmla="*/ 1563380 h 2634942"/>
                <a:gd name="connsiteX133" fmla="*/ 4419600 w 5553075"/>
                <a:gd name="connsiteY133" fmla="*/ 1620530 h 2634942"/>
                <a:gd name="connsiteX134" fmla="*/ 4500563 w 5553075"/>
                <a:gd name="connsiteY134" fmla="*/ 1672917 h 2634942"/>
                <a:gd name="connsiteX135" fmla="*/ 4572000 w 5553075"/>
                <a:gd name="connsiteY135" fmla="*/ 163481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76725 w 5553075"/>
                <a:gd name="connsiteY125" fmla="*/ 1344305 h 2634942"/>
                <a:gd name="connsiteX126" fmla="*/ 4271963 w 5553075"/>
                <a:gd name="connsiteY126" fmla="*/ 1387167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19600 w 5553075"/>
                <a:gd name="connsiteY133" fmla="*/ 1620530 h 2634942"/>
                <a:gd name="connsiteX134" fmla="*/ 4500563 w 5553075"/>
                <a:gd name="connsiteY134" fmla="*/ 1672917 h 2634942"/>
                <a:gd name="connsiteX135" fmla="*/ 4572000 w 5553075"/>
                <a:gd name="connsiteY135" fmla="*/ 163481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76725 w 5553075"/>
                <a:gd name="connsiteY125" fmla="*/ 1344305 h 2634942"/>
                <a:gd name="connsiteX126" fmla="*/ 4271963 w 5553075"/>
                <a:gd name="connsiteY126" fmla="*/ 1387167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32300 w 5553075"/>
                <a:gd name="connsiteY133" fmla="*/ 1633230 h 2634942"/>
                <a:gd name="connsiteX134" fmla="*/ 4500563 w 5553075"/>
                <a:gd name="connsiteY134" fmla="*/ 1672917 h 2634942"/>
                <a:gd name="connsiteX135" fmla="*/ 4572000 w 5553075"/>
                <a:gd name="connsiteY135" fmla="*/ 163481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76725 w 5553075"/>
                <a:gd name="connsiteY125" fmla="*/ 1344305 h 2634942"/>
                <a:gd name="connsiteX126" fmla="*/ 4271963 w 5553075"/>
                <a:gd name="connsiteY126" fmla="*/ 1387167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32300 w 5553075"/>
                <a:gd name="connsiteY133" fmla="*/ 1633230 h 2634942"/>
                <a:gd name="connsiteX134" fmla="*/ 4500563 w 5553075"/>
                <a:gd name="connsiteY134" fmla="*/ 1672917 h 2634942"/>
                <a:gd name="connsiteX135" fmla="*/ 4565650 w 5553075"/>
                <a:gd name="connsiteY135" fmla="*/ 165386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86250 w 5553075"/>
                <a:gd name="connsiteY125" fmla="*/ 1357005 h 2634942"/>
                <a:gd name="connsiteX126" fmla="*/ 4271963 w 5553075"/>
                <a:gd name="connsiteY126" fmla="*/ 1387167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32300 w 5553075"/>
                <a:gd name="connsiteY133" fmla="*/ 1633230 h 2634942"/>
                <a:gd name="connsiteX134" fmla="*/ 4500563 w 5553075"/>
                <a:gd name="connsiteY134" fmla="*/ 1672917 h 2634942"/>
                <a:gd name="connsiteX135" fmla="*/ 4565650 w 5553075"/>
                <a:gd name="connsiteY135" fmla="*/ 165386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1938 w 5553075"/>
                <a:gd name="connsiteY116" fmla="*/ 87758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86250 w 5553075"/>
                <a:gd name="connsiteY125" fmla="*/ 1357005 h 2634942"/>
                <a:gd name="connsiteX126" fmla="*/ 4275138 w 5553075"/>
                <a:gd name="connsiteY126" fmla="*/ 1396692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32300 w 5553075"/>
                <a:gd name="connsiteY133" fmla="*/ 1633230 h 2634942"/>
                <a:gd name="connsiteX134" fmla="*/ 4500563 w 5553075"/>
                <a:gd name="connsiteY134" fmla="*/ 1672917 h 2634942"/>
                <a:gd name="connsiteX135" fmla="*/ 4565650 w 5553075"/>
                <a:gd name="connsiteY135" fmla="*/ 165386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8288 w 5553075"/>
                <a:gd name="connsiteY116" fmla="*/ 896630 h 2634942"/>
                <a:gd name="connsiteX117" fmla="*/ 4071938 w 5553075"/>
                <a:gd name="connsiteY117" fmla="*/ 963305 h 2634942"/>
                <a:gd name="connsiteX118" fmla="*/ 4138613 w 5553075"/>
                <a:gd name="connsiteY118" fmla="*/ 1049030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86250 w 5553075"/>
                <a:gd name="connsiteY125" fmla="*/ 1357005 h 2634942"/>
                <a:gd name="connsiteX126" fmla="*/ 4275138 w 5553075"/>
                <a:gd name="connsiteY126" fmla="*/ 1396692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32300 w 5553075"/>
                <a:gd name="connsiteY133" fmla="*/ 1633230 h 2634942"/>
                <a:gd name="connsiteX134" fmla="*/ 4500563 w 5553075"/>
                <a:gd name="connsiteY134" fmla="*/ 1672917 h 2634942"/>
                <a:gd name="connsiteX135" fmla="*/ 4565650 w 5553075"/>
                <a:gd name="connsiteY135" fmla="*/ 165386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8288 w 5553075"/>
                <a:gd name="connsiteY116" fmla="*/ 896630 h 2634942"/>
                <a:gd name="connsiteX117" fmla="*/ 4071938 w 5553075"/>
                <a:gd name="connsiteY117" fmla="*/ 963305 h 2634942"/>
                <a:gd name="connsiteX118" fmla="*/ 4116388 w 5553075"/>
                <a:gd name="connsiteY118" fmla="*/ 1026805 h 2634942"/>
                <a:gd name="connsiteX119" fmla="*/ 4119563 w 5553075"/>
                <a:gd name="connsiteY119" fmla="*/ 10823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86250 w 5553075"/>
                <a:gd name="connsiteY125" fmla="*/ 1357005 h 2634942"/>
                <a:gd name="connsiteX126" fmla="*/ 4275138 w 5553075"/>
                <a:gd name="connsiteY126" fmla="*/ 1396692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32300 w 5553075"/>
                <a:gd name="connsiteY133" fmla="*/ 1633230 h 2634942"/>
                <a:gd name="connsiteX134" fmla="*/ 4500563 w 5553075"/>
                <a:gd name="connsiteY134" fmla="*/ 1672917 h 2634942"/>
                <a:gd name="connsiteX135" fmla="*/ 4565650 w 5553075"/>
                <a:gd name="connsiteY135" fmla="*/ 165386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8288 w 5553075"/>
                <a:gd name="connsiteY116" fmla="*/ 896630 h 2634942"/>
                <a:gd name="connsiteX117" fmla="*/ 4071938 w 5553075"/>
                <a:gd name="connsiteY117" fmla="*/ 963305 h 2634942"/>
                <a:gd name="connsiteX118" fmla="*/ 4116388 w 5553075"/>
                <a:gd name="connsiteY118" fmla="*/ 1026805 h 2634942"/>
                <a:gd name="connsiteX119" fmla="*/ 4144963 w 5553075"/>
                <a:gd name="connsiteY119" fmla="*/ 1069667 h 2634942"/>
                <a:gd name="connsiteX120" fmla="*/ 4157663 w 5553075"/>
                <a:gd name="connsiteY120" fmla="*/ 1125230 h 2634942"/>
                <a:gd name="connsiteX121" fmla="*/ 4162425 w 5553075"/>
                <a:gd name="connsiteY121" fmla="*/ 1201430 h 2634942"/>
                <a:gd name="connsiteX122" fmla="*/ 4195763 w 5553075"/>
                <a:gd name="connsiteY122" fmla="*/ 1230005 h 2634942"/>
                <a:gd name="connsiteX123" fmla="*/ 4176713 w 5553075"/>
                <a:gd name="connsiteY123" fmla="*/ 1263342 h 2634942"/>
                <a:gd name="connsiteX124" fmla="*/ 4191000 w 5553075"/>
                <a:gd name="connsiteY124" fmla="*/ 1287155 h 2634942"/>
                <a:gd name="connsiteX125" fmla="*/ 4286250 w 5553075"/>
                <a:gd name="connsiteY125" fmla="*/ 1357005 h 2634942"/>
                <a:gd name="connsiteX126" fmla="*/ 4275138 w 5553075"/>
                <a:gd name="connsiteY126" fmla="*/ 1396692 h 2634942"/>
                <a:gd name="connsiteX127" fmla="*/ 4229100 w 5553075"/>
                <a:gd name="connsiteY127" fmla="*/ 1396692 h 2634942"/>
                <a:gd name="connsiteX128" fmla="*/ 4271963 w 5553075"/>
                <a:gd name="connsiteY128" fmla="*/ 1482417 h 2634942"/>
                <a:gd name="connsiteX129" fmla="*/ 4329113 w 5553075"/>
                <a:gd name="connsiteY129" fmla="*/ 1471305 h 2634942"/>
                <a:gd name="connsiteX130" fmla="*/ 4384675 w 5553075"/>
                <a:gd name="connsiteY130" fmla="*/ 1501467 h 2634942"/>
                <a:gd name="connsiteX131" fmla="*/ 4445000 w 5553075"/>
                <a:gd name="connsiteY131" fmla="*/ 1536392 h 2634942"/>
                <a:gd name="connsiteX132" fmla="*/ 4438650 w 5553075"/>
                <a:gd name="connsiteY132" fmla="*/ 1563380 h 2634942"/>
                <a:gd name="connsiteX133" fmla="*/ 4432300 w 5553075"/>
                <a:gd name="connsiteY133" fmla="*/ 1633230 h 2634942"/>
                <a:gd name="connsiteX134" fmla="*/ 4500563 w 5553075"/>
                <a:gd name="connsiteY134" fmla="*/ 1672917 h 2634942"/>
                <a:gd name="connsiteX135" fmla="*/ 4565650 w 5553075"/>
                <a:gd name="connsiteY135" fmla="*/ 1653867 h 2634942"/>
                <a:gd name="connsiteX136" fmla="*/ 4605338 w 5553075"/>
                <a:gd name="connsiteY136" fmla="*/ 1639580 h 2634942"/>
                <a:gd name="connsiteX137" fmla="*/ 4619625 w 5553075"/>
                <a:gd name="connsiteY137" fmla="*/ 1687205 h 2634942"/>
                <a:gd name="connsiteX138" fmla="*/ 4657725 w 5553075"/>
                <a:gd name="connsiteY138" fmla="*/ 1711017 h 2634942"/>
                <a:gd name="connsiteX139" fmla="*/ 4629150 w 5553075"/>
                <a:gd name="connsiteY139" fmla="*/ 1758642 h 2634942"/>
                <a:gd name="connsiteX140" fmla="*/ 4652963 w 5553075"/>
                <a:gd name="connsiteY140" fmla="*/ 1815792 h 2634942"/>
                <a:gd name="connsiteX141" fmla="*/ 4681538 w 5553075"/>
                <a:gd name="connsiteY141" fmla="*/ 1849130 h 2634942"/>
                <a:gd name="connsiteX142" fmla="*/ 4767263 w 5553075"/>
                <a:gd name="connsiteY142" fmla="*/ 1891992 h 2634942"/>
                <a:gd name="connsiteX143" fmla="*/ 4776788 w 5553075"/>
                <a:gd name="connsiteY143" fmla="*/ 1968192 h 2634942"/>
                <a:gd name="connsiteX144" fmla="*/ 4705350 w 5553075"/>
                <a:gd name="connsiteY144" fmla="*/ 1939617 h 2634942"/>
                <a:gd name="connsiteX145" fmla="*/ 4695825 w 5553075"/>
                <a:gd name="connsiteY145" fmla="*/ 1972955 h 2634942"/>
                <a:gd name="connsiteX146" fmla="*/ 4743450 w 5553075"/>
                <a:gd name="connsiteY146" fmla="*/ 2015817 h 2634942"/>
                <a:gd name="connsiteX147" fmla="*/ 4776788 w 5553075"/>
                <a:gd name="connsiteY147" fmla="*/ 2034867 h 2634942"/>
                <a:gd name="connsiteX148" fmla="*/ 4810125 w 5553075"/>
                <a:gd name="connsiteY148" fmla="*/ 2011055 h 2634942"/>
                <a:gd name="connsiteX149" fmla="*/ 4843463 w 5553075"/>
                <a:gd name="connsiteY149" fmla="*/ 2025342 h 2634942"/>
                <a:gd name="connsiteX150" fmla="*/ 4838700 w 5553075"/>
                <a:gd name="connsiteY150" fmla="*/ 2096780 h 2634942"/>
                <a:gd name="connsiteX151" fmla="*/ 4972050 w 5553075"/>
                <a:gd name="connsiteY151" fmla="*/ 2192030 h 2634942"/>
                <a:gd name="connsiteX152" fmla="*/ 4995863 w 5553075"/>
                <a:gd name="connsiteY152" fmla="*/ 2168217 h 2634942"/>
                <a:gd name="connsiteX153" fmla="*/ 5081588 w 5553075"/>
                <a:gd name="connsiteY153" fmla="*/ 2187267 h 2634942"/>
                <a:gd name="connsiteX154" fmla="*/ 5124450 w 5553075"/>
                <a:gd name="connsiteY154" fmla="*/ 2253942 h 2634942"/>
                <a:gd name="connsiteX155" fmla="*/ 5248275 w 5553075"/>
                <a:gd name="connsiteY155" fmla="*/ 2296805 h 2634942"/>
                <a:gd name="connsiteX156" fmla="*/ 5281613 w 5553075"/>
                <a:gd name="connsiteY156" fmla="*/ 2363480 h 2634942"/>
                <a:gd name="connsiteX157" fmla="*/ 5276850 w 5553075"/>
                <a:gd name="connsiteY157" fmla="*/ 2444442 h 2634942"/>
                <a:gd name="connsiteX158" fmla="*/ 5353050 w 5553075"/>
                <a:gd name="connsiteY158" fmla="*/ 2515880 h 2634942"/>
                <a:gd name="connsiteX159" fmla="*/ 5438775 w 5553075"/>
                <a:gd name="connsiteY159" fmla="*/ 2534930 h 2634942"/>
                <a:gd name="connsiteX160" fmla="*/ 5486400 w 5553075"/>
                <a:gd name="connsiteY160" fmla="*/ 2596842 h 2634942"/>
                <a:gd name="connsiteX161" fmla="*/ 5553075 w 5553075"/>
                <a:gd name="connsiteY161"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71838 w 5553075"/>
                <a:gd name="connsiteY89" fmla="*/ 525155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8288 w 5553075"/>
                <a:gd name="connsiteY116" fmla="*/ 896630 h 2634942"/>
                <a:gd name="connsiteX117" fmla="*/ 4071938 w 5553075"/>
                <a:gd name="connsiteY117" fmla="*/ 963305 h 2634942"/>
                <a:gd name="connsiteX118" fmla="*/ 4116388 w 5553075"/>
                <a:gd name="connsiteY118" fmla="*/ 1026805 h 2634942"/>
                <a:gd name="connsiteX119" fmla="*/ 4144963 w 5553075"/>
                <a:gd name="connsiteY119" fmla="*/ 1069667 h 2634942"/>
                <a:gd name="connsiteX120" fmla="*/ 4137025 w 5553075"/>
                <a:gd name="connsiteY120" fmla="*/ 1098242 h 2634942"/>
                <a:gd name="connsiteX121" fmla="*/ 4157663 w 5553075"/>
                <a:gd name="connsiteY121" fmla="*/ 1125230 h 2634942"/>
                <a:gd name="connsiteX122" fmla="*/ 4162425 w 5553075"/>
                <a:gd name="connsiteY122" fmla="*/ 1201430 h 2634942"/>
                <a:gd name="connsiteX123" fmla="*/ 4195763 w 5553075"/>
                <a:gd name="connsiteY123" fmla="*/ 1230005 h 2634942"/>
                <a:gd name="connsiteX124" fmla="*/ 4176713 w 5553075"/>
                <a:gd name="connsiteY124" fmla="*/ 1263342 h 2634942"/>
                <a:gd name="connsiteX125" fmla="*/ 4191000 w 5553075"/>
                <a:gd name="connsiteY125" fmla="*/ 1287155 h 2634942"/>
                <a:gd name="connsiteX126" fmla="*/ 4286250 w 5553075"/>
                <a:gd name="connsiteY126" fmla="*/ 1357005 h 2634942"/>
                <a:gd name="connsiteX127" fmla="*/ 4275138 w 5553075"/>
                <a:gd name="connsiteY127" fmla="*/ 1396692 h 2634942"/>
                <a:gd name="connsiteX128" fmla="*/ 4229100 w 5553075"/>
                <a:gd name="connsiteY128" fmla="*/ 1396692 h 2634942"/>
                <a:gd name="connsiteX129" fmla="*/ 4271963 w 5553075"/>
                <a:gd name="connsiteY129" fmla="*/ 1482417 h 2634942"/>
                <a:gd name="connsiteX130" fmla="*/ 4329113 w 5553075"/>
                <a:gd name="connsiteY130" fmla="*/ 1471305 h 2634942"/>
                <a:gd name="connsiteX131" fmla="*/ 4384675 w 5553075"/>
                <a:gd name="connsiteY131" fmla="*/ 1501467 h 2634942"/>
                <a:gd name="connsiteX132" fmla="*/ 4445000 w 5553075"/>
                <a:gd name="connsiteY132" fmla="*/ 1536392 h 2634942"/>
                <a:gd name="connsiteX133" fmla="*/ 4438650 w 5553075"/>
                <a:gd name="connsiteY133" fmla="*/ 1563380 h 2634942"/>
                <a:gd name="connsiteX134" fmla="*/ 4432300 w 5553075"/>
                <a:gd name="connsiteY134" fmla="*/ 1633230 h 2634942"/>
                <a:gd name="connsiteX135" fmla="*/ 4500563 w 5553075"/>
                <a:gd name="connsiteY135" fmla="*/ 1672917 h 2634942"/>
                <a:gd name="connsiteX136" fmla="*/ 4565650 w 5553075"/>
                <a:gd name="connsiteY136" fmla="*/ 1653867 h 2634942"/>
                <a:gd name="connsiteX137" fmla="*/ 4605338 w 5553075"/>
                <a:gd name="connsiteY137" fmla="*/ 1639580 h 2634942"/>
                <a:gd name="connsiteX138" fmla="*/ 4619625 w 5553075"/>
                <a:gd name="connsiteY138" fmla="*/ 1687205 h 2634942"/>
                <a:gd name="connsiteX139" fmla="*/ 4657725 w 5553075"/>
                <a:gd name="connsiteY139" fmla="*/ 1711017 h 2634942"/>
                <a:gd name="connsiteX140" fmla="*/ 4629150 w 5553075"/>
                <a:gd name="connsiteY140" fmla="*/ 1758642 h 2634942"/>
                <a:gd name="connsiteX141" fmla="*/ 4652963 w 5553075"/>
                <a:gd name="connsiteY141" fmla="*/ 1815792 h 2634942"/>
                <a:gd name="connsiteX142" fmla="*/ 4681538 w 5553075"/>
                <a:gd name="connsiteY142" fmla="*/ 1849130 h 2634942"/>
                <a:gd name="connsiteX143" fmla="*/ 4767263 w 5553075"/>
                <a:gd name="connsiteY143" fmla="*/ 1891992 h 2634942"/>
                <a:gd name="connsiteX144" fmla="*/ 4776788 w 5553075"/>
                <a:gd name="connsiteY144" fmla="*/ 1968192 h 2634942"/>
                <a:gd name="connsiteX145" fmla="*/ 4705350 w 5553075"/>
                <a:gd name="connsiteY145" fmla="*/ 1939617 h 2634942"/>
                <a:gd name="connsiteX146" fmla="*/ 4695825 w 5553075"/>
                <a:gd name="connsiteY146" fmla="*/ 1972955 h 2634942"/>
                <a:gd name="connsiteX147" fmla="*/ 4743450 w 5553075"/>
                <a:gd name="connsiteY147" fmla="*/ 2015817 h 2634942"/>
                <a:gd name="connsiteX148" fmla="*/ 4776788 w 5553075"/>
                <a:gd name="connsiteY148" fmla="*/ 2034867 h 2634942"/>
                <a:gd name="connsiteX149" fmla="*/ 4810125 w 5553075"/>
                <a:gd name="connsiteY149" fmla="*/ 2011055 h 2634942"/>
                <a:gd name="connsiteX150" fmla="*/ 4843463 w 5553075"/>
                <a:gd name="connsiteY150" fmla="*/ 2025342 h 2634942"/>
                <a:gd name="connsiteX151" fmla="*/ 4838700 w 5553075"/>
                <a:gd name="connsiteY151" fmla="*/ 2096780 h 2634942"/>
                <a:gd name="connsiteX152" fmla="*/ 4972050 w 5553075"/>
                <a:gd name="connsiteY152" fmla="*/ 2192030 h 2634942"/>
                <a:gd name="connsiteX153" fmla="*/ 4995863 w 5553075"/>
                <a:gd name="connsiteY153" fmla="*/ 2168217 h 2634942"/>
                <a:gd name="connsiteX154" fmla="*/ 5081588 w 5553075"/>
                <a:gd name="connsiteY154" fmla="*/ 2187267 h 2634942"/>
                <a:gd name="connsiteX155" fmla="*/ 5124450 w 5553075"/>
                <a:gd name="connsiteY155" fmla="*/ 2253942 h 2634942"/>
                <a:gd name="connsiteX156" fmla="*/ 5248275 w 5553075"/>
                <a:gd name="connsiteY156" fmla="*/ 2296805 h 2634942"/>
                <a:gd name="connsiteX157" fmla="*/ 5281613 w 5553075"/>
                <a:gd name="connsiteY157" fmla="*/ 2363480 h 2634942"/>
                <a:gd name="connsiteX158" fmla="*/ 5276850 w 5553075"/>
                <a:gd name="connsiteY158" fmla="*/ 2444442 h 2634942"/>
                <a:gd name="connsiteX159" fmla="*/ 5353050 w 5553075"/>
                <a:gd name="connsiteY159" fmla="*/ 2515880 h 2634942"/>
                <a:gd name="connsiteX160" fmla="*/ 5438775 w 5553075"/>
                <a:gd name="connsiteY160" fmla="*/ 2534930 h 2634942"/>
                <a:gd name="connsiteX161" fmla="*/ 5486400 w 5553075"/>
                <a:gd name="connsiteY161" fmla="*/ 2596842 h 2634942"/>
                <a:gd name="connsiteX162" fmla="*/ 5553075 w 5553075"/>
                <a:gd name="connsiteY162"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10867 h 2634942"/>
                <a:gd name="connsiteX89" fmla="*/ 3281363 w 5553075"/>
                <a:gd name="connsiteY89" fmla="*/ 547380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8288 w 5553075"/>
                <a:gd name="connsiteY116" fmla="*/ 896630 h 2634942"/>
                <a:gd name="connsiteX117" fmla="*/ 4071938 w 5553075"/>
                <a:gd name="connsiteY117" fmla="*/ 963305 h 2634942"/>
                <a:gd name="connsiteX118" fmla="*/ 4116388 w 5553075"/>
                <a:gd name="connsiteY118" fmla="*/ 1026805 h 2634942"/>
                <a:gd name="connsiteX119" fmla="*/ 4144963 w 5553075"/>
                <a:gd name="connsiteY119" fmla="*/ 1069667 h 2634942"/>
                <a:gd name="connsiteX120" fmla="*/ 4137025 w 5553075"/>
                <a:gd name="connsiteY120" fmla="*/ 1098242 h 2634942"/>
                <a:gd name="connsiteX121" fmla="*/ 4157663 w 5553075"/>
                <a:gd name="connsiteY121" fmla="*/ 1125230 h 2634942"/>
                <a:gd name="connsiteX122" fmla="*/ 4162425 w 5553075"/>
                <a:gd name="connsiteY122" fmla="*/ 1201430 h 2634942"/>
                <a:gd name="connsiteX123" fmla="*/ 4195763 w 5553075"/>
                <a:gd name="connsiteY123" fmla="*/ 1230005 h 2634942"/>
                <a:gd name="connsiteX124" fmla="*/ 4176713 w 5553075"/>
                <a:gd name="connsiteY124" fmla="*/ 1263342 h 2634942"/>
                <a:gd name="connsiteX125" fmla="*/ 4191000 w 5553075"/>
                <a:gd name="connsiteY125" fmla="*/ 1287155 h 2634942"/>
                <a:gd name="connsiteX126" fmla="*/ 4286250 w 5553075"/>
                <a:gd name="connsiteY126" fmla="*/ 1357005 h 2634942"/>
                <a:gd name="connsiteX127" fmla="*/ 4275138 w 5553075"/>
                <a:gd name="connsiteY127" fmla="*/ 1396692 h 2634942"/>
                <a:gd name="connsiteX128" fmla="*/ 4229100 w 5553075"/>
                <a:gd name="connsiteY128" fmla="*/ 1396692 h 2634942"/>
                <a:gd name="connsiteX129" fmla="*/ 4271963 w 5553075"/>
                <a:gd name="connsiteY129" fmla="*/ 1482417 h 2634942"/>
                <a:gd name="connsiteX130" fmla="*/ 4329113 w 5553075"/>
                <a:gd name="connsiteY130" fmla="*/ 1471305 h 2634942"/>
                <a:gd name="connsiteX131" fmla="*/ 4384675 w 5553075"/>
                <a:gd name="connsiteY131" fmla="*/ 1501467 h 2634942"/>
                <a:gd name="connsiteX132" fmla="*/ 4445000 w 5553075"/>
                <a:gd name="connsiteY132" fmla="*/ 1536392 h 2634942"/>
                <a:gd name="connsiteX133" fmla="*/ 4438650 w 5553075"/>
                <a:gd name="connsiteY133" fmla="*/ 1563380 h 2634942"/>
                <a:gd name="connsiteX134" fmla="*/ 4432300 w 5553075"/>
                <a:gd name="connsiteY134" fmla="*/ 1633230 h 2634942"/>
                <a:gd name="connsiteX135" fmla="*/ 4500563 w 5553075"/>
                <a:gd name="connsiteY135" fmla="*/ 1672917 h 2634942"/>
                <a:gd name="connsiteX136" fmla="*/ 4565650 w 5553075"/>
                <a:gd name="connsiteY136" fmla="*/ 1653867 h 2634942"/>
                <a:gd name="connsiteX137" fmla="*/ 4605338 w 5553075"/>
                <a:gd name="connsiteY137" fmla="*/ 1639580 h 2634942"/>
                <a:gd name="connsiteX138" fmla="*/ 4619625 w 5553075"/>
                <a:gd name="connsiteY138" fmla="*/ 1687205 h 2634942"/>
                <a:gd name="connsiteX139" fmla="*/ 4657725 w 5553075"/>
                <a:gd name="connsiteY139" fmla="*/ 1711017 h 2634942"/>
                <a:gd name="connsiteX140" fmla="*/ 4629150 w 5553075"/>
                <a:gd name="connsiteY140" fmla="*/ 1758642 h 2634942"/>
                <a:gd name="connsiteX141" fmla="*/ 4652963 w 5553075"/>
                <a:gd name="connsiteY141" fmla="*/ 1815792 h 2634942"/>
                <a:gd name="connsiteX142" fmla="*/ 4681538 w 5553075"/>
                <a:gd name="connsiteY142" fmla="*/ 1849130 h 2634942"/>
                <a:gd name="connsiteX143" fmla="*/ 4767263 w 5553075"/>
                <a:gd name="connsiteY143" fmla="*/ 1891992 h 2634942"/>
                <a:gd name="connsiteX144" fmla="*/ 4776788 w 5553075"/>
                <a:gd name="connsiteY144" fmla="*/ 1968192 h 2634942"/>
                <a:gd name="connsiteX145" fmla="*/ 4705350 w 5553075"/>
                <a:gd name="connsiteY145" fmla="*/ 1939617 h 2634942"/>
                <a:gd name="connsiteX146" fmla="*/ 4695825 w 5553075"/>
                <a:gd name="connsiteY146" fmla="*/ 1972955 h 2634942"/>
                <a:gd name="connsiteX147" fmla="*/ 4743450 w 5553075"/>
                <a:gd name="connsiteY147" fmla="*/ 2015817 h 2634942"/>
                <a:gd name="connsiteX148" fmla="*/ 4776788 w 5553075"/>
                <a:gd name="connsiteY148" fmla="*/ 2034867 h 2634942"/>
                <a:gd name="connsiteX149" fmla="*/ 4810125 w 5553075"/>
                <a:gd name="connsiteY149" fmla="*/ 2011055 h 2634942"/>
                <a:gd name="connsiteX150" fmla="*/ 4843463 w 5553075"/>
                <a:gd name="connsiteY150" fmla="*/ 2025342 h 2634942"/>
                <a:gd name="connsiteX151" fmla="*/ 4838700 w 5553075"/>
                <a:gd name="connsiteY151" fmla="*/ 2096780 h 2634942"/>
                <a:gd name="connsiteX152" fmla="*/ 4972050 w 5553075"/>
                <a:gd name="connsiteY152" fmla="*/ 2192030 h 2634942"/>
                <a:gd name="connsiteX153" fmla="*/ 4995863 w 5553075"/>
                <a:gd name="connsiteY153" fmla="*/ 2168217 h 2634942"/>
                <a:gd name="connsiteX154" fmla="*/ 5081588 w 5553075"/>
                <a:gd name="connsiteY154" fmla="*/ 2187267 h 2634942"/>
                <a:gd name="connsiteX155" fmla="*/ 5124450 w 5553075"/>
                <a:gd name="connsiteY155" fmla="*/ 2253942 h 2634942"/>
                <a:gd name="connsiteX156" fmla="*/ 5248275 w 5553075"/>
                <a:gd name="connsiteY156" fmla="*/ 2296805 h 2634942"/>
                <a:gd name="connsiteX157" fmla="*/ 5281613 w 5553075"/>
                <a:gd name="connsiteY157" fmla="*/ 2363480 h 2634942"/>
                <a:gd name="connsiteX158" fmla="*/ 5276850 w 5553075"/>
                <a:gd name="connsiteY158" fmla="*/ 2444442 h 2634942"/>
                <a:gd name="connsiteX159" fmla="*/ 5353050 w 5553075"/>
                <a:gd name="connsiteY159" fmla="*/ 2515880 h 2634942"/>
                <a:gd name="connsiteX160" fmla="*/ 5438775 w 5553075"/>
                <a:gd name="connsiteY160" fmla="*/ 2534930 h 2634942"/>
                <a:gd name="connsiteX161" fmla="*/ 5486400 w 5553075"/>
                <a:gd name="connsiteY161" fmla="*/ 2596842 h 2634942"/>
                <a:gd name="connsiteX162" fmla="*/ 5553075 w 5553075"/>
                <a:gd name="connsiteY162"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138488 w 5553075"/>
                <a:gd name="connsiteY84" fmla="*/ 372755 h 2634942"/>
                <a:gd name="connsiteX85" fmla="*/ 3190875 w 5553075"/>
                <a:gd name="connsiteY85" fmla="*/ 425142 h 2634942"/>
                <a:gd name="connsiteX86" fmla="*/ 3214688 w 5553075"/>
                <a:gd name="connsiteY86" fmla="*/ 468005 h 2634942"/>
                <a:gd name="connsiteX87" fmla="*/ 3257550 w 5553075"/>
                <a:gd name="connsiteY87" fmla="*/ 472767 h 2634942"/>
                <a:gd name="connsiteX88" fmla="*/ 3319463 w 5553075"/>
                <a:gd name="connsiteY88" fmla="*/ 529917 h 2634942"/>
                <a:gd name="connsiteX89" fmla="*/ 3281363 w 5553075"/>
                <a:gd name="connsiteY89" fmla="*/ 547380 h 2634942"/>
                <a:gd name="connsiteX90" fmla="*/ 3281363 w 5553075"/>
                <a:gd name="connsiteY90" fmla="*/ 568017 h 2634942"/>
                <a:gd name="connsiteX91" fmla="*/ 3319463 w 5553075"/>
                <a:gd name="connsiteY91" fmla="*/ 582305 h 2634942"/>
                <a:gd name="connsiteX92" fmla="*/ 3286125 w 5553075"/>
                <a:gd name="connsiteY92" fmla="*/ 634692 h 2634942"/>
                <a:gd name="connsiteX93" fmla="*/ 3352800 w 5553075"/>
                <a:gd name="connsiteY93" fmla="*/ 629930 h 2634942"/>
                <a:gd name="connsiteX94" fmla="*/ 3381375 w 5553075"/>
                <a:gd name="connsiteY94" fmla="*/ 668030 h 2634942"/>
                <a:gd name="connsiteX95" fmla="*/ 3419475 w 5553075"/>
                <a:gd name="connsiteY95" fmla="*/ 687080 h 2634942"/>
                <a:gd name="connsiteX96" fmla="*/ 3429000 w 5553075"/>
                <a:gd name="connsiteY96" fmla="*/ 715655 h 2634942"/>
                <a:gd name="connsiteX97" fmla="*/ 3429000 w 5553075"/>
                <a:gd name="connsiteY97" fmla="*/ 739467 h 2634942"/>
                <a:gd name="connsiteX98" fmla="*/ 3457575 w 5553075"/>
                <a:gd name="connsiteY98" fmla="*/ 806142 h 2634942"/>
                <a:gd name="connsiteX99" fmla="*/ 3514725 w 5553075"/>
                <a:gd name="connsiteY99" fmla="*/ 763280 h 2634942"/>
                <a:gd name="connsiteX100" fmla="*/ 3557588 w 5553075"/>
                <a:gd name="connsiteY100" fmla="*/ 753755 h 2634942"/>
                <a:gd name="connsiteX101" fmla="*/ 3595688 w 5553075"/>
                <a:gd name="connsiteY101" fmla="*/ 739467 h 2634942"/>
                <a:gd name="connsiteX102" fmla="*/ 3629025 w 5553075"/>
                <a:gd name="connsiteY102" fmla="*/ 701367 h 2634942"/>
                <a:gd name="connsiteX103" fmla="*/ 3648075 w 5553075"/>
                <a:gd name="connsiteY103" fmla="*/ 720417 h 2634942"/>
                <a:gd name="connsiteX104" fmla="*/ 3638550 w 5553075"/>
                <a:gd name="connsiteY104" fmla="*/ 758517 h 2634942"/>
                <a:gd name="connsiteX105" fmla="*/ 3657600 w 5553075"/>
                <a:gd name="connsiteY105" fmla="*/ 806142 h 2634942"/>
                <a:gd name="connsiteX106" fmla="*/ 3705225 w 5553075"/>
                <a:gd name="connsiteY106" fmla="*/ 806142 h 2634942"/>
                <a:gd name="connsiteX107" fmla="*/ 3771900 w 5553075"/>
                <a:gd name="connsiteY107" fmla="*/ 791855 h 2634942"/>
                <a:gd name="connsiteX108" fmla="*/ 3824288 w 5553075"/>
                <a:gd name="connsiteY108" fmla="*/ 768042 h 2634942"/>
                <a:gd name="connsiteX109" fmla="*/ 3814763 w 5553075"/>
                <a:gd name="connsiteY109" fmla="*/ 768042 h 2634942"/>
                <a:gd name="connsiteX110" fmla="*/ 3876675 w 5553075"/>
                <a:gd name="connsiteY110" fmla="*/ 777567 h 2634942"/>
                <a:gd name="connsiteX111" fmla="*/ 3929063 w 5553075"/>
                <a:gd name="connsiteY111" fmla="*/ 758517 h 2634942"/>
                <a:gd name="connsiteX112" fmla="*/ 3905250 w 5553075"/>
                <a:gd name="connsiteY112" fmla="*/ 806142 h 2634942"/>
                <a:gd name="connsiteX113" fmla="*/ 3914775 w 5553075"/>
                <a:gd name="connsiteY113" fmla="*/ 839480 h 2634942"/>
                <a:gd name="connsiteX114" fmla="*/ 3957638 w 5553075"/>
                <a:gd name="connsiteY114" fmla="*/ 806142 h 2634942"/>
                <a:gd name="connsiteX115" fmla="*/ 3986213 w 5553075"/>
                <a:gd name="connsiteY115" fmla="*/ 849005 h 2634942"/>
                <a:gd name="connsiteX116" fmla="*/ 4078288 w 5553075"/>
                <a:gd name="connsiteY116" fmla="*/ 896630 h 2634942"/>
                <a:gd name="connsiteX117" fmla="*/ 4071938 w 5553075"/>
                <a:gd name="connsiteY117" fmla="*/ 963305 h 2634942"/>
                <a:gd name="connsiteX118" fmla="*/ 4116388 w 5553075"/>
                <a:gd name="connsiteY118" fmla="*/ 1026805 h 2634942"/>
                <a:gd name="connsiteX119" fmla="*/ 4144963 w 5553075"/>
                <a:gd name="connsiteY119" fmla="*/ 1069667 h 2634942"/>
                <a:gd name="connsiteX120" fmla="*/ 4137025 w 5553075"/>
                <a:gd name="connsiteY120" fmla="*/ 1098242 h 2634942"/>
                <a:gd name="connsiteX121" fmla="*/ 4157663 w 5553075"/>
                <a:gd name="connsiteY121" fmla="*/ 1125230 h 2634942"/>
                <a:gd name="connsiteX122" fmla="*/ 4162425 w 5553075"/>
                <a:gd name="connsiteY122" fmla="*/ 1201430 h 2634942"/>
                <a:gd name="connsiteX123" fmla="*/ 4195763 w 5553075"/>
                <a:gd name="connsiteY123" fmla="*/ 1230005 h 2634942"/>
                <a:gd name="connsiteX124" fmla="*/ 4176713 w 5553075"/>
                <a:gd name="connsiteY124" fmla="*/ 1263342 h 2634942"/>
                <a:gd name="connsiteX125" fmla="*/ 4191000 w 5553075"/>
                <a:gd name="connsiteY125" fmla="*/ 1287155 h 2634942"/>
                <a:gd name="connsiteX126" fmla="*/ 4286250 w 5553075"/>
                <a:gd name="connsiteY126" fmla="*/ 1357005 h 2634942"/>
                <a:gd name="connsiteX127" fmla="*/ 4275138 w 5553075"/>
                <a:gd name="connsiteY127" fmla="*/ 1396692 h 2634942"/>
                <a:gd name="connsiteX128" fmla="*/ 4229100 w 5553075"/>
                <a:gd name="connsiteY128" fmla="*/ 1396692 h 2634942"/>
                <a:gd name="connsiteX129" fmla="*/ 4271963 w 5553075"/>
                <a:gd name="connsiteY129" fmla="*/ 1482417 h 2634942"/>
                <a:gd name="connsiteX130" fmla="*/ 4329113 w 5553075"/>
                <a:gd name="connsiteY130" fmla="*/ 1471305 h 2634942"/>
                <a:gd name="connsiteX131" fmla="*/ 4384675 w 5553075"/>
                <a:gd name="connsiteY131" fmla="*/ 1501467 h 2634942"/>
                <a:gd name="connsiteX132" fmla="*/ 4445000 w 5553075"/>
                <a:gd name="connsiteY132" fmla="*/ 1536392 h 2634942"/>
                <a:gd name="connsiteX133" fmla="*/ 4438650 w 5553075"/>
                <a:gd name="connsiteY133" fmla="*/ 1563380 h 2634942"/>
                <a:gd name="connsiteX134" fmla="*/ 4432300 w 5553075"/>
                <a:gd name="connsiteY134" fmla="*/ 1633230 h 2634942"/>
                <a:gd name="connsiteX135" fmla="*/ 4500563 w 5553075"/>
                <a:gd name="connsiteY135" fmla="*/ 1672917 h 2634942"/>
                <a:gd name="connsiteX136" fmla="*/ 4565650 w 5553075"/>
                <a:gd name="connsiteY136" fmla="*/ 1653867 h 2634942"/>
                <a:gd name="connsiteX137" fmla="*/ 4605338 w 5553075"/>
                <a:gd name="connsiteY137" fmla="*/ 1639580 h 2634942"/>
                <a:gd name="connsiteX138" fmla="*/ 4619625 w 5553075"/>
                <a:gd name="connsiteY138" fmla="*/ 1687205 h 2634942"/>
                <a:gd name="connsiteX139" fmla="*/ 4657725 w 5553075"/>
                <a:gd name="connsiteY139" fmla="*/ 1711017 h 2634942"/>
                <a:gd name="connsiteX140" fmla="*/ 4629150 w 5553075"/>
                <a:gd name="connsiteY140" fmla="*/ 1758642 h 2634942"/>
                <a:gd name="connsiteX141" fmla="*/ 4652963 w 5553075"/>
                <a:gd name="connsiteY141" fmla="*/ 1815792 h 2634942"/>
                <a:gd name="connsiteX142" fmla="*/ 4681538 w 5553075"/>
                <a:gd name="connsiteY142" fmla="*/ 1849130 h 2634942"/>
                <a:gd name="connsiteX143" fmla="*/ 4767263 w 5553075"/>
                <a:gd name="connsiteY143" fmla="*/ 1891992 h 2634942"/>
                <a:gd name="connsiteX144" fmla="*/ 4776788 w 5553075"/>
                <a:gd name="connsiteY144" fmla="*/ 1968192 h 2634942"/>
                <a:gd name="connsiteX145" fmla="*/ 4705350 w 5553075"/>
                <a:gd name="connsiteY145" fmla="*/ 1939617 h 2634942"/>
                <a:gd name="connsiteX146" fmla="*/ 4695825 w 5553075"/>
                <a:gd name="connsiteY146" fmla="*/ 1972955 h 2634942"/>
                <a:gd name="connsiteX147" fmla="*/ 4743450 w 5553075"/>
                <a:gd name="connsiteY147" fmla="*/ 2015817 h 2634942"/>
                <a:gd name="connsiteX148" fmla="*/ 4776788 w 5553075"/>
                <a:gd name="connsiteY148" fmla="*/ 2034867 h 2634942"/>
                <a:gd name="connsiteX149" fmla="*/ 4810125 w 5553075"/>
                <a:gd name="connsiteY149" fmla="*/ 2011055 h 2634942"/>
                <a:gd name="connsiteX150" fmla="*/ 4843463 w 5553075"/>
                <a:gd name="connsiteY150" fmla="*/ 2025342 h 2634942"/>
                <a:gd name="connsiteX151" fmla="*/ 4838700 w 5553075"/>
                <a:gd name="connsiteY151" fmla="*/ 2096780 h 2634942"/>
                <a:gd name="connsiteX152" fmla="*/ 4972050 w 5553075"/>
                <a:gd name="connsiteY152" fmla="*/ 2192030 h 2634942"/>
                <a:gd name="connsiteX153" fmla="*/ 4995863 w 5553075"/>
                <a:gd name="connsiteY153" fmla="*/ 2168217 h 2634942"/>
                <a:gd name="connsiteX154" fmla="*/ 5081588 w 5553075"/>
                <a:gd name="connsiteY154" fmla="*/ 2187267 h 2634942"/>
                <a:gd name="connsiteX155" fmla="*/ 5124450 w 5553075"/>
                <a:gd name="connsiteY155" fmla="*/ 2253942 h 2634942"/>
                <a:gd name="connsiteX156" fmla="*/ 5248275 w 5553075"/>
                <a:gd name="connsiteY156" fmla="*/ 2296805 h 2634942"/>
                <a:gd name="connsiteX157" fmla="*/ 5281613 w 5553075"/>
                <a:gd name="connsiteY157" fmla="*/ 2363480 h 2634942"/>
                <a:gd name="connsiteX158" fmla="*/ 5276850 w 5553075"/>
                <a:gd name="connsiteY158" fmla="*/ 2444442 h 2634942"/>
                <a:gd name="connsiteX159" fmla="*/ 5353050 w 5553075"/>
                <a:gd name="connsiteY159" fmla="*/ 2515880 h 2634942"/>
                <a:gd name="connsiteX160" fmla="*/ 5438775 w 5553075"/>
                <a:gd name="connsiteY160" fmla="*/ 2534930 h 2634942"/>
                <a:gd name="connsiteX161" fmla="*/ 5486400 w 5553075"/>
                <a:gd name="connsiteY161" fmla="*/ 2596842 h 2634942"/>
                <a:gd name="connsiteX162" fmla="*/ 5553075 w 5553075"/>
                <a:gd name="connsiteY162"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19400 w 5553075"/>
                <a:gd name="connsiteY76" fmla="*/ 167967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086100 w 5553075"/>
                <a:gd name="connsiteY84" fmla="*/ 304492 h 2634942"/>
                <a:gd name="connsiteX85" fmla="*/ 3138488 w 5553075"/>
                <a:gd name="connsiteY85" fmla="*/ 372755 h 2634942"/>
                <a:gd name="connsiteX86" fmla="*/ 3190875 w 5553075"/>
                <a:gd name="connsiteY86" fmla="*/ 425142 h 2634942"/>
                <a:gd name="connsiteX87" fmla="*/ 3214688 w 5553075"/>
                <a:gd name="connsiteY87" fmla="*/ 468005 h 2634942"/>
                <a:gd name="connsiteX88" fmla="*/ 3257550 w 5553075"/>
                <a:gd name="connsiteY88" fmla="*/ 472767 h 2634942"/>
                <a:gd name="connsiteX89" fmla="*/ 3319463 w 5553075"/>
                <a:gd name="connsiteY89" fmla="*/ 529917 h 2634942"/>
                <a:gd name="connsiteX90" fmla="*/ 3281363 w 5553075"/>
                <a:gd name="connsiteY90" fmla="*/ 547380 h 2634942"/>
                <a:gd name="connsiteX91" fmla="*/ 3281363 w 5553075"/>
                <a:gd name="connsiteY91" fmla="*/ 568017 h 2634942"/>
                <a:gd name="connsiteX92" fmla="*/ 3319463 w 5553075"/>
                <a:gd name="connsiteY92" fmla="*/ 582305 h 2634942"/>
                <a:gd name="connsiteX93" fmla="*/ 3286125 w 5553075"/>
                <a:gd name="connsiteY93" fmla="*/ 634692 h 2634942"/>
                <a:gd name="connsiteX94" fmla="*/ 3352800 w 5553075"/>
                <a:gd name="connsiteY94" fmla="*/ 629930 h 2634942"/>
                <a:gd name="connsiteX95" fmla="*/ 3381375 w 5553075"/>
                <a:gd name="connsiteY95" fmla="*/ 668030 h 2634942"/>
                <a:gd name="connsiteX96" fmla="*/ 3419475 w 5553075"/>
                <a:gd name="connsiteY96" fmla="*/ 687080 h 2634942"/>
                <a:gd name="connsiteX97" fmla="*/ 3429000 w 5553075"/>
                <a:gd name="connsiteY97" fmla="*/ 715655 h 2634942"/>
                <a:gd name="connsiteX98" fmla="*/ 3429000 w 5553075"/>
                <a:gd name="connsiteY98" fmla="*/ 739467 h 2634942"/>
                <a:gd name="connsiteX99" fmla="*/ 3457575 w 5553075"/>
                <a:gd name="connsiteY99" fmla="*/ 806142 h 2634942"/>
                <a:gd name="connsiteX100" fmla="*/ 3514725 w 5553075"/>
                <a:gd name="connsiteY100" fmla="*/ 763280 h 2634942"/>
                <a:gd name="connsiteX101" fmla="*/ 3557588 w 5553075"/>
                <a:gd name="connsiteY101" fmla="*/ 753755 h 2634942"/>
                <a:gd name="connsiteX102" fmla="*/ 3595688 w 5553075"/>
                <a:gd name="connsiteY102" fmla="*/ 739467 h 2634942"/>
                <a:gd name="connsiteX103" fmla="*/ 3629025 w 5553075"/>
                <a:gd name="connsiteY103" fmla="*/ 701367 h 2634942"/>
                <a:gd name="connsiteX104" fmla="*/ 3648075 w 5553075"/>
                <a:gd name="connsiteY104" fmla="*/ 720417 h 2634942"/>
                <a:gd name="connsiteX105" fmla="*/ 3638550 w 5553075"/>
                <a:gd name="connsiteY105" fmla="*/ 758517 h 2634942"/>
                <a:gd name="connsiteX106" fmla="*/ 3657600 w 5553075"/>
                <a:gd name="connsiteY106" fmla="*/ 806142 h 2634942"/>
                <a:gd name="connsiteX107" fmla="*/ 3705225 w 5553075"/>
                <a:gd name="connsiteY107" fmla="*/ 806142 h 2634942"/>
                <a:gd name="connsiteX108" fmla="*/ 3771900 w 5553075"/>
                <a:gd name="connsiteY108" fmla="*/ 791855 h 2634942"/>
                <a:gd name="connsiteX109" fmla="*/ 3824288 w 5553075"/>
                <a:gd name="connsiteY109" fmla="*/ 768042 h 2634942"/>
                <a:gd name="connsiteX110" fmla="*/ 3814763 w 5553075"/>
                <a:gd name="connsiteY110" fmla="*/ 768042 h 2634942"/>
                <a:gd name="connsiteX111" fmla="*/ 3876675 w 5553075"/>
                <a:gd name="connsiteY111" fmla="*/ 777567 h 2634942"/>
                <a:gd name="connsiteX112" fmla="*/ 3929063 w 5553075"/>
                <a:gd name="connsiteY112" fmla="*/ 758517 h 2634942"/>
                <a:gd name="connsiteX113" fmla="*/ 3905250 w 5553075"/>
                <a:gd name="connsiteY113" fmla="*/ 806142 h 2634942"/>
                <a:gd name="connsiteX114" fmla="*/ 3914775 w 5553075"/>
                <a:gd name="connsiteY114" fmla="*/ 839480 h 2634942"/>
                <a:gd name="connsiteX115" fmla="*/ 3957638 w 5553075"/>
                <a:gd name="connsiteY115" fmla="*/ 806142 h 2634942"/>
                <a:gd name="connsiteX116" fmla="*/ 3986213 w 5553075"/>
                <a:gd name="connsiteY116" fmla="*/ 849005 h 2634942"/>
                <a:gd name="connsiteX117" fmla="*/ 4078288 w 5553075"/>
                <a:gd name="connsiteY117" fmla="*/ 896630 h 2634942"/>
                <a:gd name="connsiteX118" fmla="*/ 4071938 w 5553075"/>
                <a:gd name="connsiteY118" fmla="*/ 963305 h 2634942"/>
                <a:gd name="connsiteX119" fmla="*/ 4116388 w 5553075"/>
                <a:gd name="connsiteY119" fmla="*/ 1026805 h 2634942"/>
                <a:gd name="connsiteX120" fmla="*/ 4144963 w 5553075"/>
                <a:gd name="connsiteY120" fmla="*/ 1069667 h 2634942"/>
                <a:gd name="connsiteX121" fmla="*/ 4137025 w 5553075"/>
                <a:gd name="connsiteY121" fmla="*/ 1098242 h 2634942"/>
                <a:gd name="connsiteX122" fmla="*/ 4157663 w 5553075"/>
                <a:gd name="connsiteY122" fmla="*/ 1125230 h 2634942"/>
                <a:gd name="connsiteX123" fmla="*/ 4162425 w 5553075"/>
                <a:gd name="connsiteY123" fmla="*/ 1201430 h 2634942"/>
                <a:gd name="connsiteX124" fmla="*/ 4195763 w 5553075"/>
                <a:gd name="connsiteY124" fmla="*/ 1230005 h 2634942"/>
                <a:gd name="connsiteX125" fmla="*/ 4176713 w 5553075"/>
                <a:gd name="connsiteY125" fmla="*/ 1263342 h 2634942"/>
                <a:gd name="connsiteX126" fmla="*/ 4191000 w 5553075"/>
                <a:gd name="connsiteY126" fmla="*/ 1287155 h 2634942"/>
                <a:gd name="connsiteX127" fmla="*/ 4286250 w 5553075"/>
                <a:gd name="connsiteY127" fmla="*/ 1357005 h 2634942"/>
                <a:gd name="connsiteX128" fmla="*/ 4275138 w 5553075"/>
                <a:gd name="connsiteY128" fmla="*/ 1396692 h 2634942"/>
                <a:gd name="connsiteX129" fmla="*/ 4229100 w 5553075"/>
                <a:gd name="connsiteY129" fmla="*/ 1396692 h 2634942"/>
                <a:gd name="connsiteX130" fmla="*/ 4271963 w 5553075"/>
                <a:gd name="connsiteY130" fmla="*/ 1482417 h 2634942"/>
                <a:gd name="connsiteX131" fmla="*/ 4329113 w 5553075"/>
                <a:gd name="connsiteY131" fmla="*/ 1471305 h 2634942"/>
                <a:gd name="connsiteX132" fmla="*/ 4384675 w 5553075"/>
                <a:gd name="connsiteY132" fmla="*/ 1501467 h 2634942"/>
                <a:gd name="connsiteX133" fmla="*/ 4445000 w 5553075"/>
                <a:gd name="connsiteY133" fmla="*/ 1536392 h 2634942"/>
                <a:gd name="connsiteX134" fmla="*/ 4438650 w 5553075"/>
                <a:gd name="connsiteY134" fmla="*/ 1563380 h 2634942"/>
                <a:gd name="connsiteX135" fmla="*/ 4432300 w 5553075"/>
                <a:gd name="connsiteY135" fmla="*/ 1633230 h 2634942"/>
                <a:gd name="connsiteX136" fmla="*/ 4500563 w 5553075"/>
                <a:gd name="connsiteY136" fmla="*/ 1672917 h 2634942"/>
                <a:gd name="connsiteX137" fmla="*/ 4565650 w 5553075"/>
                <a:gd name="connsiteY137" fmla="*/ 1653867 h 2634942"/>
                <a:gd name="connsiteX138" fmla="*/ 4605338 w 5553075"/>
                <a:gd name="connsiteY138" fmla="*/ 1639580 h 2634942"/>
                <a:gd name="connsiteX139" fmla="*/ 4619625 w 5553075"/>
                <a:gd name="connsiteY139" fmla="*/ 1687205 h 2634942"/>
                <a:gd name="connsiteX140" fmla="*/ 4657725 w 5553075"/>
                <a:gd name="connsiteY140" fmla="*/ 1711017 h 2634942"/>
                <a:gd name="connsiteX141" fmla="*/ 4629150 w 5553075"/>
                <a:gd name="connsiteY141" fmla="*/ 1758642 h 2634942"/>
                <a:gd name="connsiteX142" fmla="*/ 4652963 w 5553075"/>
                <a:gd name="connsiteY142" fmla="*/ 1815792 h 2634942"/>
                <a:gd name="connsiteX143" fmla="*/ 4681538 w 5553075"/>
                <a:gd name="connsiteY143" fmla="*/ 1849130 h 2634942"/>
                <a:gd name="connsiteX144" fmla="*/ 4767263 w 5553075"/>
                <a:gd name="connsiteY144" fmla="*/ 1891992 h 2634942"/>
                <a:gd name="connsiteX145" fmla="*/ 4776788 w 5553075"/>
                <a:gd name="connsiteY145" fmla="*/ 1968192 h 2634942"/>
                <a:gd name="connsiteX146" fmla="*/ 4705350 w 5553075"/>
                <a:gd name="connsiteY146" fmla="*/ 1939617 h 2634942"/>
                <a:gd name="connsiteX147" fmla="*/ 4695825 w 5553075"/>
                <a:gd name="connsiteY147" fmla="*/ 1972955 h 2634942"/>
                <a:gd name="connsiteX148" fmla="*/ 4743450 w 5553075"/>
                <a:gd name="connsiteY148" fmla="*/ 2015817 h 2634942"/>
                <a:gd name="connsiteX149" fmla="*/ 4776788 w 5553075"/>
                <a:gd name="connsiteY149" fmla="*/ 2034867 h 2634942"/>
                <a:gd name="connsiteX150" fmla="*/ 4810125 w 5553075"/>
                <a:gd name="connsiteY150" fmla="*/ 2011055 h 2634942"/>
                <a:gd name="connsiteX151" fmla="*/ 4843463 w 5553075"/>
                <a:gd name="connsiteY151" fmla="*/ 2025342 h 2634942"/>
                <a:gd name="connsiteX152" fmla="*/ 4838700 w 5553075"/>
                <a:gd name="connsiteY152" fmla="*/ 2096780 h 2634942"/>
                <a:gd name="connsiteX153" fmla="*/ 4972050 w 5553075"/>
                <a:gd name="connsiteY153" fmla="*/ 2192030 h 2634942"/>
                <a:gd name="connsiteX154" fmla="*/ 4995863 w 5553075"/>
                <a:gd name="connsiteY154" fmla="*/ 2168217 h 2634942"/>
                <a:gd name="connsiteX155" fmla="*/ 5081588 w 5553075"/>
                <a:gd name="connsiteY155" fmla="*/ 2187267 h 2634942"/>
                <a:gd name="connsiteX156" fmla="*/ 5124450 w 5553075"/>
                <a:gd name="connsiteY156" fmla="*/ 2253942 h 2634942"/>
                <a:gd name="connsiteX157" fmla="*/ 5248275 w 5553075"/>
                <a:gd name="connsiteY157" fmla="*/ 2296805 h 2634942"/>
                <a:gd name="connsiteX158" fmla="*/ 5281613 w 5553075"/>
                <a:gd name="connsiteY158" fmla="*/ 2363480 h 2634942"/>
                <a:gd name="connsiteX159" fmla="*/ 5276850 w 5553075"/>
                <a:gd name="connsiteY159" fmla="*/ 2444442 h 2634942"/>
                <a:gd name="connsiteX160" fmla="*/ 5353050 w 5553075"/>
                <a:gd name="connsiteY160" fmla="*/ 2515880 h 2634942"/>
                <a:gd name="connsiteX161" fmla="*/ 5438775 w 5553075"/>
                <a:gd name="connsiteY161" fmla="*/ 2534930 h 2634942"/>
                <a:gd name="connsiteX162" fmla="*/ 5486400 w 5553075"/>
                <a:gd name="connsiteY162" fmla="*/ 2596842 h 2634942"/>
                <a:gd name="connsiteX163" fmla="*/ 5553075 w 5553075"/>
                <a:gd name="connsiteY163"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24163 w 5553075"/>
                <a:gd name="connsiteY75" fmla="*/ 110817 h 2634942"/>
                <a:gd name="connsiteX76" fmla="*/ 2828925 w 5553075"/>
                <a:gd name="connsiteY76" fmla="*/ 177492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086100 w 5553075"/>
                <a:gd name="connsiteY84" fmla="*/ 304492 h 2634942"/>
                <a:gd name="connsiteX85" fmla="*/ 3138488 w 5553075"/>
                <a:gd name="connsiteY85" fmla="*/ 372755 h 2634942"/>
                <a:gd name="connsiteX86" fmla="*/ 3190875 w 5553075"/>
                <a:gd name="connsiteY86" fmla="*/ 425142 h 2634942"/>
                <a:gd name="connsiteX87" fmla="*/ 3214688 w 5553075"/>
                <a:gd name="connsiteY87" fmla="*/ 468005 h 2634942"/>
                <a:gd name="connsiteX88" fmla="*/ 3257550 w 5553075"/>
                <a:gd name="connsiteY88" fmla="*/ 472767 h 2634942"/>
                <a:gd name="connsiteX89" fmla="*/ 3319463 w 5553075"/>
                <a:gd name="connsiteY89" fmla="*/ 529917 h 2634942"/>
                <a:gd name="connsiteX90" fmla="*/ 3281363 w 5553075"/>
                <a:gd name="connsiteY90" fmla="*/ 547380 h 2634942"/>
                <a:gd name="connsiteX91" fmla="*/ 3281363 w 5553075"/>
                <a:gd name="connsiteY91" fmla="*/ 568017 h 2634942"/>
                <a:gd name="connsiteX92" fmla="*/ 3319463 w 5553075"/>
                <a:gd name="connsiteY92" fmla="*/ 582305 h 2634942"/>
                <a:gd name="connsiteX93" fmla="*/ 3286125 w 5553075"/>
                <a:gd name="connsiteY93" fmla="*/ 634692 h 2634942"/>
                <a:gd name="connsiteX94" fmla="*/ 3352800 w 5553075"/>
                <a:gd name="connsiteY94" fmla="*/ 629930 h 2634942"/>
                <a:gd name="connsiteX95" fmla="*/ 3381375 w 5553075"/>
                <a:gd name="connsiteY95" fmla="*/ 668030 h 2634942"/>
                <a:gd name="connsiteX96" fmla="*/ 3419475 w 5553075"/>
                <a:gd name="connsiteY96" fmla="*/ 687080 h 2634942"/>
                <a:gd name="connsiteX97" fmla="*/ 3429000 w 5553075"/>
                <a:gd name="connsiteY97" fmla="*/ 715655 h 2634942"/>
                <a:gd name="connsiteX98" fmla="*/ 3429000 w 5553075"/>
                <a:gd name="connsiteY98" fmla="*/ 739467 h 2634942"/>
                <a:gd name="connsiteX99" fmla="*/ 3457575 w 5553075"/>
                <a:gd name="connsiteY99" fmla="*/ 806142 h 2634942"/>
                <a:gd name="connsiteX100" fmla="*/ 3514725 w 5553075"/>
                <a:gd name="connsiteY100" fmla="*/ 763280 h 2634942"/>
                <a:gd name="connsiteX101" fmla="*/ 3557588 w 5553075"/>
                <a:gd name="connsiteY101" fmla="*/ 753755 h 2634942"/>
                <a:gd name="connsiteX102" fmla="*/ 3595688 w 5553075"/>
                <a:gd name="connsiteY102" fmla="*/ 739467 h 2634942"/>
                <a:gd name="connsiteX103" fmla="*/ 3629025 w 5553075"/>
                <a:gd name="connsiteY103" fmla="*/ 701367 h 2634942"/>
                <a:gd name="connsiteX104" fmla="*/ 3648075 w 5553075"/>
                <a:gd name="connsiteY104" fmla="*/ 720417 h 2634942"/>
                <a:gd name="connsiteX105" fmla="*/ 3638550 w 5553075"/>
                <a:gd name="connsiteY105" fmla="*/ 758517 h 2634942"/>
                <a:gd name="connsiteX106" fmla="*/ 3657600 w 5553075"/>
                <a:gd name="connsiteY106" fmla="*/ 806142 h 2634942"/>
                <a:gd name="connsiteX107" fmla="*/ 3705225 w 5553075"/>
                <a:gd name="connsiteY107" fmla="*/ 806142 h 2634942"/>
                <a:gd name="connsiteX108" fmla="*/ 3771900 w 5553075"/>
                <a:gd name="connsiteY108" fmla="*/ 791855 h 2634942"/>
                <a:gd name="connsiteX109" fmla="*/ 3824288 w 5553075"/>
                <a:gd name="connsiteY109" fmla="*/ 768042 h 2634942"/>
                <a:gd name="connsiteX110" fmla="*/ 3814763 w 5553075"/>
                <a:gd name="connsiteY110" fmla="*/ 768042 h 2634942"/>
                <a:gd name="connsiteX111" fmla="*/ 3876675 w 5553075"/>
                <a:gd name="connsiteY111" fmla="*/ 777567 h 2634942"/>
                <a:gd name="connsiteX112" fmla="*/ 3929063 w 5553075"/>
                <a:gd name="connsiteY112" fmla="*/ 758517 h 2634942"/>
                <a:gd name="connsiteX113" fmla="*/ 3905250 w 5553075"/>
                <a:gd name="connsiteY113" fmla="*/ 806142 h 2634942"/>
                <a:gd name="connsiteX114" fmla="*/ 3914775 w 5553075"/>
                <a:gd name="connsiteY114" fmla="*/ 839480 h 2634942"/>
                <a:gd name="connsiteX115" fmla="*/ 3957638 w 5553075"/>
                <a:gd name="connsiteY115" fmla="*/ 806142 h 2634942"/>
                <a:gd name="connsiteX116" fmla="*/ 3986213 w 5553075"/>
                <a:gd name="connsiteY116" fmla="*/ 849005 h 2634942"/>
                <a:gd name="connsiteX117" fmla="*/ 4078288 w 5553075"/>
                <a:gd name="connsiteY117" fmla="*/ 896630 h 2634942"/>
                <a:gd name="connsiteX118" fmla="*/ 4071938 w 5553075"/>
                <a:gd name="connsiteY118" fmla="*/ 963305 h 2634942"/>
                <a:gd name="connsiteX119" fmla="*/ 4116388 w 5553075"/>
                <a:gd name="connsiteY119" fmla="*/ 1026805 h 2634942"/>
                <a:gd name="connsiteX120" fmla="*/ 4144963 w 5553075"/>
                <a:gd name="connsiteY120" fmla="*/ 1069667 h 2634942"/>
                <a:gd name="connsiteX121" fmla="*/ 4137025 w 5553075"/>
                <a:gd name="connsiteY121" fmla="*/ 1098242 h 2634942"/>
                <a:gd name="connsiteX122" fmla="*/ 4157663 w 5553075"/>
                <a:gd name="connsiteY122" fmla="*/ 1125230 h 2634942"/>
                <a:gd name="connsiteX123" fmla="*/ 4162425 w 5553075"/>
                <a:gd name="connsiteY123" fmla="*/ 1201430 h 2634942"/>
                <a:gd name="connsiteX124" fmla="*/ 4195763 w 5553075"/>
                <a:gd name="connsiteY124" fmla="*/ 1230005 h 2634942"/>
                <a:gd name="connsiteX125" fmla="*/ 4176713 w 5553075"/>
                <a:gd name="connsiteY125" fmla="*/ 1263342 h 2634942"/>
                <a:gd name="connsiteX126" fmla="*/ 4191000 w 5553075"/>
                <a:gd name="connsiteY126" fmla="*/ 1287155 h 2634942"/>
                <a:gd name="connsiteX127" fmla="*/ 4286250 w 5553075"/>
                <a:gd name="connsiteY127" fmla="*/ 1357005 h 2634942"/>
                <a:gd name="connsiteX128" fmla="*/ 4275138 w 5553075"/>
                <a:gd name="connsiteY128" fmla="*/ 1396692 h 2634942"/>
                <a:gd name="connsiteX129" fmla="*/ 4229100 w 5553075"/>
                <a:gd name="connsiteY129" fmla="*/ 1396692 h 2634942"/>
                <a:gd name="connsiteX130" fmla="*/ 4271963 w 5553075"/>
                <a:gd name="connsiteY130" fmla="*/ 1482417 h 2634942"/>
                <a:gd name="connsiteX131" fmla="*/ 4329113 w 5553075"/>
                <a:gd name="connsiteY131" fmla="*/ 1471305 h 2634942"/>
                <a:gd name="connsiteX132" fmla="*/ 4384675 w 5553075"/>
                <a:gd name="connsiteY132" fmla="*/ 1501467 h 2634942"/>
                <a:gd name="connsiteX133" fmla="*/ 4445000 w 5553075"/>
                <a:gd name="connsiteY133" fmla="*/ 1536392 h 2634942"/>
                <a:gd name="connsiteX134" fmla="*/ 4438650 w 5553075"/>
                <a:gd name="connsiteY134" fmla="*/ 1563380 h 2634942"/>
                <a:gd name="connsiteX135" fmla="*/ 4432300 w 5553075"/>
                <a:gd name="connsiteY135" fmla="*/ 1633230 h 2634942"/>
                <a:gd name="connsiteX136" fmla="*/ 4500563 w 5553075"/>
                <a:gd name="connsiteY136" fmla="*/ 1672917 h 2634942"/>
                <a:gd name="connsiteX137" fmla="*/ 4565650 w 5553075"/>
                <a:gd name="connsiteY137" fmla="*/ 1653867 h 2634942"/>
                <a:gd name="connsiteX138" fmla="*/ 4605338 w 5553075"/>
                <a:gd name="connsiteY138" fmla="*/ 1639580 h 2634942"/>
                <a:gd name="connsiteX139" fmla="*/ 4619625 w 5553075"/>
                <a:gd name="connsiteY139" fmla="*/ 1687205 h 2634942"/>
                <a:gd name="connsiteX140" fmla="*/ 4657725 w 5553075"/>
                <a:gd name="connsiteY140" fmla="*/ 1711017 h 2634942"/>
                <a:gd name="connsiteX141" fmla="*/ 4629150 w 5553075"/>
                <a:gd name="connsiteY141" fmla="*/ 1758642 h 2634942"/>
                <a:gd name="connsiteX142" fmla="*/ 4652963 w 5553075"/>
                <a:gd name="connsiteY142" fmla="*/ 1815792 h 2634942"/>
                <a:gd name="connsiteX143" fmla="*/ 4681538 w 5553075"/>
                <a:gd name="connsiteY143" fmla="*/ 1849130 h 2634942"/>
                <a:gd name="connsiteX144" fmla="*/ 4767263 w 5553075"/>
                <a:gd name="connsiteY144" fmla="*/ 1891992 h 2634942"/>
                <a:gd name="connsiteX145" fmla="*/ 4776788 w 5553075"/>
                <a:gd name="connsiteY145" fmla="*/ 1968192 h 2634942"/>
                <a:gd name="connsiteX146" fmla="*/ 4705350 w 5553075"/>
                <a:gd name="connsiteY146" fmla="*/ 1939617 h 2634942"/>
                <a:gd name="connsiteX147" fmla="*/ 4695825 w 5553075"/>
                <a:gd name="connsiteY147" fmla="*/ 1972955 h 2634942"/>
                <a:gd name="connsiteX148" fmla="*/ 4743450 w 5553075"/>
                <a:gd name="connsiteY148" fmla="*/ 2015817 h 2634942"/>
                <a:gd name="connsiteX149" fmla="*/ 4776788 w 5553075"/>
                <a:gd name="connsiteY149" fmla="*/ 2034867 h 2634942"/>
                <a:gd name="connsiteX150" fmla="*/ 4810125 w 5553075"/>
                <a:gd name="connsiteY150" fmla="*/ 2011055 h 2634942"/>
                <a:gd name="connsiteX151" fmla="*/ 4843463 w 5553075"/>
                <a:gd name="connsiteY151" fmla="*/ 2025342 h 2634942"/>
                <a:gd name="connsiteX152" fmla="*/ 4838700 w 5553075"/>
                <a:gd name="connsiteY152" fmla="*/ 2096780 h 2634942"/>
                <a:gd name="connsiteX153" fmla="*/ 4972050 w 5553075"/>
                <a:gd name="connsiteY153" fmla="*/ 2192030 h 2634942"/>
                <a:gd name="connsiteX154" fmla="*/ 4995863 w 5553075"/>
                <a:gd name="connsiteY154" fmla="*/ 2168217 h 2634942"/>
                <a:gd name="connsiteX155" fmla="*/ 5081588 w 5553075"/>
                <a:gd name="connsiteY155" fmla="*/ 2187267 h 2634942"/>
                <a:gd name="connsiteX156" fmla="*/ 5124450 w 5553075"/>
                <a:gd name="connsiteY156" fmla="*/ 2253942 h 2634942"/>
                <a:gd name="connsiteX157" fmla="*/ 5248275 w 5553075"/>
                <a:gd name="connsiteY157" fmla="*/ 2296805 h 2634942"/>
                <a:gd name="connsiteX158" fmla="*/ 5281613 w 5553075"/>
                <a:gd name="connsiteY158" fmla="*/ 2363480 h 2634942"/>
                <a:gd name="connsiteX159" fmla="*/ 5276850 w 5553075"/>
                <a:gd name="connsiteY159" fmla="*/ 2444442 h 2634942"/>
                <a:gd name="connsiteX160" fmla="*/ 5353050 w 5553075"/>
                <a:gd name="connsiteY160" fmla="*/ 2515880 h 2634942"/>
                <a:gd name="connsiteX161" fmla="*/ 5438775 w 5553075"/>
                <a:gd name="connsiteY161" fmla="*/ 2534930 h 2634942"/>
                <a:gd name="connsiteX162" fmla="*/ 5486400 w 5553075"/>
                <a:gd name="connsiteY162" fmla="*/ 2596842 h 2634942"/>
                <a:gd name="connsiteX163" fmla="*/ 5553075 w 5553075"/>
                <a:gd name="connsiteY163"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57475 w 5553075"/>
                <a:gd name="connsiteY71" fmla="*/ 917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36863 w 5553075"/>
                <a:gd name="connsiteY75" fmla="*/ 136217 h 2634942"/>
                <a:gd name="connsiteX76" fmla="*/ 2828925 w 5553075"/>
                <a:gd name="connsiteY76" fmla="*/ 177492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086100 w 5553075"/>
                <a:gd name="connsiteY84" fmla="*/ 304492 h 2634942"/>
                <a:gd name="connsiteX85" fmla="*/ 3138488 w 5553075"/>
                <a:gd name="connsiteY85" fmla="*/ 372755 h 2634942"/>
                <a:gd name="connsiteX86" fmla="*/ 3190875 w 5553075"/>
                <a:gd name="connsiteY86" fmla="*/ 425142 h 2634942"/>
                <a:gd name="connsiteX87" fmla="*/ 3214688 w 5553075"/>
                <a:gd name="connsiteY87" fmla="*/ 468005 h 2634942"/>
                <a:gd name="connsiteX88" fmla="*/ 3257550 w 5553075"/>
                <a:gd name="connsiteY88" fmla="*/ 472767 h 2634942"/>
                <a:gd name="connsiteX89" fmla="*/ 3319463 w 5553075"/>
                <a:gd name="connsiteY89" fmla="*/ 529917 h 2634942"/>
                <a:gd name="connsiteX90" fmla="*/ 3281363 w 5553075"/>
                <a:gd name="connsiteY90" fmla="*/ 547380 h 2634942"/>
                <a:gd name="connsiteX91" fmla="*/ 3281363 w 5553075"/>
                <a:gd name="connsiteY91" fmla="*/ 568017 h 2634942"/>
                <a:gd name="connsiteX92" fmla="*/ 3319463 w 5553075"/>
                <a:gd name="connsiteY92" fmla="*/ 582305 h 2634942"/>
                <a:gd name="connsiteX93" fmla="*/ 3286125 w 5553075"/>
                <a:gd name="connsiteY93" fmla="*/ 634692 h 2634942"/>
                <a:gd name="connsiteX94" fmla="*/ 3352800 w 5553075"/>
                <a:gd name="connsiteY94" fmla="*/ 629930 h 2634942"/>
                <a:gd name="connsiteX95" fmla="*/ 3381375 w 5553075"/>
                <a:gd name="connsiteY95" fmla="*/ 668030 h 2634942"/>
                <a:gd name="connsiteX96" fmla="*/ 3419475 w 5553075"/>
                <a:gd name="connsiteY96" fmla="*/ 687080 h 2634942"/>
                <a:gd name="connsiteX97" fmla="*/ 3429000 w 5553075"/>
                <a:gd name="connsiteY97" fmla="*/ 715655 h 2634942"/>
                <a:gd name="connsiteX98" fmla="*/ 3429000 w 5553075"/>
                <a:gd name="connsiteY98" fmla="*/ 739467 h 2634942"/>
                <a:gd name="connsiteX99" fmla="*/ 3457575 w 5553075"/>
                <a:gd name="connsiteY99" fmla="*/ 806142 h 2634942"/>
                <a:gd name="connsiteX100" fmla="*/ 3514725 w 5553075"/>
                <a:gd name="connsiteY100" fmla="*/ 763280 h 2634942"/>
                <a:gd name="connsiteX101" fmla="*/ 3557588 w 5553075"/>
                <a:gd name="connsiteY101" fmla="*/ 753755 h 2634942"/>
                <a:gd name="connsiteX102" fmla="*/ 3595688 w 5553075"/>
                <a:gd name="connsiteY102" fmla="*/ 739467 h 2634942"/>
                <a:gd name="connsiteX103" fmla="*/ 3629025 w 5553075"/>
                <a:gd name="connsiteY103" fmla="*/ 701367 h 2634942"/>
                <a:gd name="connsiteX104" fmla="*/ 3648075 w 5553075"/>
                <a:gd name="connsiteY104" fmla="*/ 720417 h 2634942"/>
                <a:gd name="connsiteX105" fmla="*/ 3638550 w 5553075"/>
                <a:gd name="connsiteY105" fmla="*/ 758517 h 2634942"/>
                <a:gd name="connsiteX106" fmla="*/ 3657600 w 5553075"/>
                <a:gd name="connsiteY106" fmla="*/ 806142 h 2634942"/>
                <a:gd name="connsiteX107" fmla="*/ 3705225 w 5553075"/>
                <a:gd name="connsiteY107" fmla="*/ 806142 h 2634942"/>
                <a:gd name="connsiteX108" fmla="*/ 3771900 w 5553075"/>
                <a:gd name="connsiteY108" fmla="*/ 791855 h 2634942"/>
                <a:gd name="connsiteX109" fmla="*/ 3824288 w 5553075"/>
                <a:gd name="connsiteY109" fmla="*/ 768042 h 2634942"/>
                <a:gd name="connsiteX110" fmla="*/ 3814763 w 5553075"/>
                <a:gd name="connsiteY110" fmla="*/ 768042 h 2634942"/>
                <a:gd name="connsiteX111" fmla="*/ 3876675 w 5553075"/>
                <a:gd name="connsiteY111" fmla="*/ 777567 h 2634942"/>
                <a:gd name="connsiteX112" fmla="*/ 3929063 w 5553075"/>
                <a:gd name="connsiteY112" fmla="*/ 758517 h 2634942"/>
                <a:gd name="connsiteX113" fmla="*/ 3905250 w 5553075"/>
                <a:gd name="connsiteY113" fmla="*/ 806142 h 2634942"/>
                <a:gd name="connsiteX114" fmla="*/ 3914775 w 5553075"/>
                <a:gd name="connsiteY114" fmla="*/ 839480 h 2634942"/>
                <a:gd name="connsiteX115" fmla="*/ 3957638 w 5553075"/>
                <a:gd name="connsiteY115" fmla="*/ 806142 h 2634942"/>
                <a:gd name="connsiteX116" fmla="*/ 3986213 w 5553075"/>
                <a:gd name="connsiteY116" fmla="*/ 849005 h 2634942"/>
                <a:gd name="connsiteX117" fmla="*/ 4078288 w 5553075"/>
                <a:gd name="connsiteY117" fmla="*/ 896630 h 2634942"/>
                <a:gd name="connsiteX118" fmla="*/ 4071938 w 5553075"/>
                <a:gd name="connsiteY118" fmla="*/ 963305 h 2634942"/>
                <a:gd name="connsiteX119" fmla="*/ 4116388 w 5553075"/>
                <a:gd name="connsiteY119" fmla="*/ 1026805 h 2634942"/>
                <a:gd name="connsiteX120" fmla="*/ 4144963 w 5553075"/>
                <a:gd name="connsiteY120" fmla="*/ 1069667 h 2634942"/>
                <a:gd name="connsiteX121" fmla="*/ 4137025 w 5553075"/>
                <a:gd name="connsiteY121" fmla="*/ 1098242 h 2634942"/>
                <a:gd name="connsiteX122" fmla="*/ 4157663 w 5553075"/>
                <a:gd name="connsiteY122" fmla="*/ 1125230 h 2634942"/>
                <a:gd name="connsiteX123" fmla="*/ 4162425 w 5553075"/>
                <a:gd name="connsiteY123" fmla="*/ 1201430 h 2634942"/>
                <a:gd name="connsiteX124" fmla="*/ 4195763 w 5553075"/>
                <a:gd name="connsiteY124" fmla="*/ 1230005 h 2634942"/>
                <a:gd name="connsiteX125" fmla="*/ 4176713 w 5553075"/>
                <a:gd name="connsiteY125" fmla="*/ 1263342 h 2634942"/>
                <a:gd name="connsiteX126" fmla="*/ 4191000 w 5553075"/>
                <a:gd name="connsiteY126" fmla="*/ 1287155 h 2634942"/>
                <a:gd name="connsiteX127" fmla="*/ 4286250 w 5553075"/>
                <a:gd name="connsiteY127" fmla="*/ 1357005 h 2634942"/>
                <a:gd name="connsiteX128" fmla="*/ 4275138 w 5553075"/>
                <a:gd name="connsiteY128" fmla="*/ 1396692 h 2634942"/>
                <a:gd name="connsiteX129" fmla="*/ 4229100 w 5553075"/>
                <a:gd name="connsiteY129" fmla="*/ 1396692 h 2634942"/>
                <a:gd name="connsiteX130" fmla="*/ 4271963 w 5553075"/>
                <a:gd name="connsiteY130" fmla="*/ 1482417 h 2634942"/>
                <a:gd name="connsiteX131" fmla="*/ 4329113 w 5553075"/>
                <a:gd name="connsiteY131" fmla="*/ 1471305 h 2634942"/>
                <a:gd name="connsiteX132" fmla="*/ 4384675 w 5553075"/>
                <a:gd name="connsiteY132" fmla="*/ 1501467 h 2634942"/>
                <a:gd name="connsiteX133" fmla="*/ 4445000 w 5553075"/>
                <a:gd name="connsiteY133" fmla="*/ 1536392 h 2634942"/>
                <a:gd name="connsiteX134" fmla="*/ 4438650 w 5553075"/>
                <a:gd name="connsiteY134" fmla="*/ 1563380 h 2634942"/>
                <a:gd name="connsiteX135" fmla="*/ 4432300 w 5553075"/>
                <a:gd name="connsiteY135" fmla="*/ 1633230 h 2634942"/>
                <a:gd name="connsiteX136" fmla="*/ 4500563 w 5553075"/>
                <a:gd name="connsiteY136" fmla="*/ 1672917 h 2634942"/>
                <a:gd name="connsiteX137" fmla="*/ 4565650 w 5553075"/>
                <a:gd name="connsiteY137" fmla="*/ 1653867 h 2634942"/>
                <a:gd name="connsiteX138" fmla="*/ 4605338 w 5553075"/>
                <a:gd name="connsiteY138" fmla="*/ 1639580 h 2634942"/>
                <a:gd name="connsiteX139" fmla="*/ 4619625 w 5553075"/>
                <a:gd name="connsiteY139" fmla="*/ 1687205 h 2634942"/>
                <a:gd name="connsiteX140" fmla="*/ 4657725 w 5553075"/>
                <a:gd name="connsiteY140" fmla="*/ 1711017 h 2634942"/>
                <a:gd name="connsiteX141" fmla="*/ 4629150 w 5553075"/>
                <a:gd name="connsiteY141" fmla="*/ 1758642 h 2634942"/>
                <a:gd name="connsiteX142" fmla="*/ 4652963 w 5553075"/>
                <a:gd name="connsiteY142" fmla="*/ 1815792 h 2634942"/>
                <a:gd name="connsiteX143" fmla="*/ 4681538 w 5553075"/>
                <a:gd name="connsiteY143" fmla="*/ 1849130 h 2634942"/>
                <a:gd name="connsiteX144" fmla="*/ 4767263 w 5553075"/>
                <a:gd name="connsiteY144" fmla="*/ 1891992 h 2634942"/>
                <a:gd name="connsiteX145" fmla="*/ 4776788 w 5553075"/>
                <a:gd name="connsiteY145" fmla="*/ 1968192 h 2634942"/>
                <a:gd name="connsiteX146" fmla="*/ 4705350 w 5553075"/>
                <a:gd name="connsiteY146" fmla="*/ 1939617 h 2634942"/>
                <a:gd name="connsiteX147" fmla="*/ 4695825 w 5553075"/>
                <a:gd name="connsiteY147" fmla="*/ 1972955 h 2634942"/>
                <a:gd name="connsiteX148" fmla="*/ 4743450 w 5553075"/>
                <a:gd name="connsiteY148" fmla="*/ 2015817 h 2634942"/>
                <a:gd name="connsiteX149" fmla="*/ 4776788 w 5553075"/>
                <a:gd name="connsiteY149" fmla="*/ 2034867 h 2634942"/>
                <a:gd name="connsiteX150" fmla="*/ 4810125 w 5553075"/>
                <a:gd name="connsiteY150" fmla="*/ 2011055 h 2634942"/>
                <a:gd name="connsiteX151" fmla="*/ 4843463 w 5553075"/>
                <a:gd name="connsiteY151" fmla="*/ 2025342 h 2634942"/>
                <a:gd name="connsiteX152" fmla="*/ 4838700 w 5553075"/>
                <a:gd name="connsiteY152" fmla="*/ 2096780 h 2634942"/>
                <a:gd name="connsiteX153" fmla="*/ 4972050 w 5553075"/>
                <a:gd name="connsiteY153" fmla="*/ 2192030 h 2634942"/>
                <a:gd name="connsiteX154" fmla="*/ 4995863 w 5553075"/>
                <a:gd name="connsiteY154" fmla="*/ 2168217 h 2634942"/>
                <a:gd name="connsiteX155" fmla="*/ 5081588 w 5553075"/>
                <a:gd name="connsiteY155" fmla="*/ 2187267 h 2634942"/>
                <a:gd name="connsiteX156" fmla="*/ 5124450 w 5553075"/>
                <a:gd name="connsiteY156" fmla="*/ 2253942 h 2634942"/>
                <a:gd name="connsiteX157" fmla="*/ 5248275 w 5553075"/>
                <a:gd name="connsiteY157" fmla="*/ 2296805 h 2634942"/>
                <a:gd name="connsiteX158" fmla="*/ 5281613 w 5553075"/>
                <a:gd name="connsiteY158" fmla="*/ 2363480 h 2634942"/>
                <a:gd name="connsiteX159" fmla="*/ 5276850 w 5553075"/>
                <a:gd name="connsiteY159" fmla="*/ 2444442 h 2634942"/>
                <a:gd name="connsiteX160" fmla="*/ 5353050 w 5553075"/>
                <a:gd name="connsiteY160" fmla="*/ 2515880 h 2634942"/>
                <a:gd name="connsiteX161" fmla="*/ 5438775 w 5553075"/>
                <a:gd name="connsiteY161" fmla="*/ 2534930 h 2634942"/>
                <a:gd name="connsiteX162" fmla="*/ 5486400 w 5553075"/>
                <a:gd name="connsiteY162" fmla="*/ 2596842 h 2634942"/>
                <a:gd name="connsiteX163" fmla="*/ 5553075 w 5553075"/>
                <a:gd name="connsiteY163"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419350 w 5553075"/>
                <a:gd name="connsiteY65" fmla="*/ 58430 h 2634942"/>
                <a:gd name="connsiteX66" fmla="*/ 2419350 w 5553075"/>
                <a:gd name="connsiteY66" fmla="*/ 106055 h 2634942"/>
                <a:gd name="connsiteX67" fmla="*/ 2462213 w 5553075"/>
                <a:gd name="connsiteY67" fmla="*/ 91767 h 2634942"/>
                <a:gd name="connsiteX68" fmla="*/ 2524125 w 5553075"/>
                <a:gd name="connsiteY68" fmla="*/ 96530 h 2634942"/>
                <a:gd name="connsiteX69" fmla="*/ 2543175 w 5553075"/>
                <a:gd name="connsiteY69" fmla="*/ 72717 h 2634942"/>
                <a:gd name="connsiteX70" fmla="*/ 2609850 w 5553075"/>
                <a:gd name="connsiteY70" fmla="*/ 106055 h 2634942"/>
                <a:gd name="connsiteX71" fmla="*/ 2692400 w 5553075"/>
                <a:gd name="connsiteY71" fmla="*/ 79067 h 2634942"/>
                <a:gd name="connsiteX72" fmla="*/ 2700338 w 5553075"/>
                <a:gd name="connsiteY72" fmla="*/ 53667 h 2634942"/>
                <a:gd name="connsiteX73" fmla="*/ 2724150 w 5553075"/>
                <a:gd name="connsiteY73" fmla="*/ 87005 h 2634942"/>
                <a:gd name="connsiteX74" fmla="*/ 2814638 w 5553075"/>
                <a:gd name="connsiteY74" fmla="*/ 72717 h 2634942"/>
                <a:gd name="connsiteX75" fmla="*/ 2836863 w 5553075"/>
                <a:gd name="connsiteY75" fmla="*/ 136217 h 2634942"/>
                <a:gd name="connsiteX76" fmla="*/ 2828925 w 5553075"/>
                <a:gd name="connsiteY76" fmla="*/ 177492 h 2634942"/>
                <a:gd name="connsiteX77" fmla="*/ 2895600 w 5553075"/>
                <a:gd name="connsiteY77" fmla="*/ 153680 h 2634942"/>
                <a:gd name="connsiteX78" fmla="*/ 2895600 w 5553075"/>
                <a:gd name="connsiteY78" fmla="*/ 196542 h 2634942"/>
                <a:gd name="connsiteX79" fmla="*/ 2933700 w 5553075"/>
                <a:gd name="connsiteY79" fmla="*/ 239405 h 2634942"/>
                <a:gd name="connsiteX80" fmla="*/ 2933700 w 5553075"/>
                <a:gd name="connsiteY80" fmla="*/ 196542 h 2634942"/>
                <a:gd name="connsiteX81" fmla="*/ 2986088 w 5553075"/>
                <a:gd name="connsiteY81" fmla="*/ 225117 h 2634942"/>
                <a:gd name="connsiteX82" fmla="*/ 3000375 w 5553075"/>
                <a:gd name="connsiteY82" fmla="*/ 248930 h 2634942"/>
                <a:gd name="connsiteX83" fmla="*/ 3057525 w 5553075"/>
                <a:gd name="connsiteY83" fmla="*/ 296555 h 2634942"/>
                <a:gd name="connsiteX84" fmla="*/ 3086100 w 5553075"/>
                <a:gd name="connsiteY84" fmla="*/ 304492 h 2634942"/>
                <a:gd name="connsiteX85" fmla="*/ 3138488 w 5553075"/>
                <a:gd name="connsiteY85" fmla="*/ 372755 h 2634942"/>
                <a:gd name="connsiteX86" fmla="*/ 3190875 w 5553075"/>
                <a:gd name="connsiteY86" fmla="*/ 425142 h 2634942"/>
                <a:gd name="connsiteX87" fmla="*/ 3214688 w 5553075"/>
                <a:gd name="connsiteY87" fmla="*/ 468005 h 2634942"/>
                <a:gd name="connsiteX88" fmla="*/ 3257550 w 5553075"/>
                <a:gd name="connsiteY88" fmla="*/ 472767 h 2634942"/>
                <a:gd name="connsiteX89" fmla="*/ 3319463 w 5553075"/>
                <a:gd name="connsiteY89" fmla="*/ 529917 h 2634942"/>
                <a:gd name="connsiteX90" fmla="*/ 3281363 w 5553075"/>
                <a:gd name="connsiteY90" fmla="*/ 547380 h 2634942"/>
                <a:gd name="connsiteX91" fmla="*/ 3281363 w 5553075"/>
                <a:gd name="connsiteY91" fmla="*/ 568017 h 2634942"/>
                <a:gd name="connsiteX92" fmla="*/ 3319463 w 5553075"/>
                <a:gd name="connsiteY92" fmla="*/ 582305 h 2634942"/>
                <a:gd name="connsiteX93" fmla="*/ 3286125 w 5553075"/>
                <a:gd name="connsiteY93" fmla="*/ 634692 h 2634942"/>
                <a:gd name="connsiteX94" fmla="*/ 3352800 w 5553075"/>
                <a:gd name="connsiteY94" fmla="*/ 629930 h 2634942"/>
                <a:gd name="connsiteX95" fmla="*/ 3381375 w 5553075"/>
                <a:gd name="connsiteY95" fmla="*/ 668030 h 2634942"/>
                <a:gd name="connsiteX96" fmla="*/ 3419475 w 5553075"/>
                <a:gd name="connsiteY96" fmla="*/ 687080 h 2634942"/>
                <a:gd name="connsiteX97" fmla="*/ 3429000 w 5553075"/>
                <a:gd name="connsiteY97" fmla="*/ 715655 h 2634942"/>
                <a:gd name="connsiteX98" fmla="*/ 3429000 w 5553075"/>
                <a:gd name="connsiteY98" fmla="*/ 739467 h 2634942"/>
                <a:gd name="connsiteX99" fmla="*/ 3457575 w 5553075"/>
                <a:gd name="connsiteY99" fmla="*/ 806142 h 2634942"/>
                <a:gd name="connsiteX100" fmla="*/ 3514725 w 5553075"/>
                <a:gd name="connsiteY100" fmla="*/ 763280 h 2634942"/>
                <a:gd name="connsiteX101" fmla="*/ 3557588 w 5553075"/>
                <a:gd name="connsiteY101" fmla="*/ 753755 h 2634942"/>
                <a:gd name="connsiteX102" fmla="*/ 3595688 w 5553075"/>
                <a:gd name="connsiteY102" fmla="*/ 739467 h 2634942"/>
                <a:gd name="connsiteX103" fmla="*/ 3629025 w 5553075"/>
                <a:gd name="connsiteY103" fmla="*/ 701367 h 2634942"/>
                <a:gd name="connsiteX104" fmla="*/ 3648075 w 5553075"/>
                <a:gd name="connsiteY104" fmla="*/ 720417 h 2634942"/>
                <a:gd name="connsiteX105" fmla="*/ 3638550 w 5553075"/>
                <a:gd name="connsiteY105" fmla="*/ 758517 h 2634942"/>
                <a:gd name="connsiteX106" fmla="*/ 3657600 w 5553075"/>
                <a:gd name="connsiteY106" fmla="*/ 806142 h 2634942"/>
                <a:gd name="connsiteX107" fmla="*/ 3705225 w 5553075"/>
                <a:gd name="connsiteY107" fmla="*/ 806142 h 2634942"/>
                <a:gd name="connsiteX108" fmla="*/ 3771900 w 5553075"/>
                <a:gd name="connsiteY108" fmla="*/ 791855 h 2634942"/>
                <a:gd name="connsiteX109" fmla="*/ 3824288 w 5553075"/>
                <a:gd name="connsiteY109" fmla="*/ 768042 h 2634942"/>
                <a:gd name="connsiteX110" fmla="*/ 3814763 w 5553075"/>
                <a:gd name="connsiteY110" fmla="*/ 768042 h 2634942"/>
                <a:gd name="connsiteX111" fmla="*/ 3876675 w 5553075"/>
                <a:gd name="connsiteY111" fmla="*/ 777567 h 2634942"/>
                <a:gd name="connsiteX112" fmla="*/ 3929063 w 5553075"/>
                <a:gd name="connsiteY112" fmla="*/ 758517 h 2634942"/>
                <a:gd name="connsiteX113" fmla="*/ 3905250 w 5553075"/>
                <a:gd name="connsiteY113" fmla="*/ 806142 h 2634942"/>
                <a:gd name="connsiteX114" fmla="*/ 3914775 w 5553075"/>
                <a:gd name="connsiteY114" fmla="*/ 839480 h 2634942"/>
                <a:gd name="connsiteX115" fmla="*/ 3957638 w 5553075"/>
                <a:gd name="connsiteY115" fmla="*/ 806142 h 2634942"/>
                <a:gd name="connsiteX116" fmla="*/ 3986213 w 5553075"/>
                <a:gd name="connsiteY116" fmla="*/ 849005 h 2634942"/>
                <a:gd name="connsiteX117" fmla="*/ 4078288 w 5553075"/>
                <a:gd name="connsiteY117" fmla="*/ 896630 h 2634942"/>
                <a:gd name="connsiteX118" fmla="*/ 4071938 w 5553075"/>
                <a:gd name="connsiteY118" fmla="*/ 963305 h 2634942"/>
                <a:gd name="connsiteX119" fmla="*/ 4116388 w 5553075"/>
                <a:gd name="connsiteY119" fmla="*/ 1026805 h 2634942"/>
                <a:gd name="connsiteX120" fmla="*/ 4144963 w 5553075"/>
                <a:gd name="connsiteY120" fmla="*/ 1069667 h 2634942"/>
                <a:gd name="connsiteX121" fmla="*/ 4137025 w 5553075"/>
                <a:gd name="connsiteY121" fmla="*/ 1098242 h 2634942"/>
                <a:gd name="connsiteX122" fmla="*/ 4157663 w 5553075"/>
                <a:gd name="connsiteY122" fmla="*/ 1125230 h 2634942"/>
                <a:gd name="connsiteX123" fmla="*/ 4162425 w 5553075"/>
                <a:gd name="connsiteY123" fmla="*/ 1201430 h 2634942"/>
                <a:gd name="connsiteX124" fmla="*/ 4195763 w 5553075"/>
                <a:gd name="connsiteY124" fmla="*/ 1230005 h 2634942"/>
                <a:gd name="connsiteX125" fmla="*/ 4176713 w 5553075"/>
                <a:gd name="connsiteY125" fmla="*/ 1263342 h 2634942"/>
                <a:gd name="connsiteX126" fmla="*/ 4191000 w 5553075"/>
                <a:gd name="connsiteY126" fmla="*/ 1287155 h 2634942"/>
                <a:gd name="connsiteX127" fmla="*/ 4286250 w 5553075"/>
                <a:gd name="connsiteY127" fmla="*/ 1357005 h 2634942"/>
                <a:gd name="connsiteX128" fmla="*/ 4275138 w 5553075"/>
                <a:gd name="connsiteY128" fmla="*/ 1396692 h 2634942"/>
                <a:gd name="connsiteX129" fmla="*/ 4229100 w 5553075"/>
                <a:gd name="connsiteY129" fmla="*/ 1396692 h 2634942"/>
                <a:gd name="connsiteX130" fmla="*/ 4271963 w 5553075"/>
                <a:gd name="connsiteY130" fmla="*/ 1482417 h 2634942"/>
                <a:gd name="connsiteX131" fmla="*/ 4329113 w 5553075"/>
                <a:gd name="connsiteY131" fmla="*/ 1471305 h 2634942"/>
                <a:gd name="connsiteX132" fmla="*/ 4384675 w 5553075"/>
                <a:gd name="connsiteY132" fmla="*/ 1501467 h 2634942"/>
                <a:gd name="connsiteX133" fmla="*/ 4445000 w 5553075"/>
                <a:gd name="connsiteY133" fmla="*/ 1536392 h 2634942"/>
                <a:gd name="connsiteX134" fmla="*/ 4438650 w 5553075"/>
                <a:gd name="connsiteY134" fmla="*/ 1563380 h 2634942"/>
                <a:gd name="connsiteX135" fmla="*/ 4432300 w 5553075"/>
                <a:gd name="connsiteY135" fmla="*/ 1633230 h 2634942"/>
                <a:gd name="connsiteX136" fmla="*/ 4500563 w 5553075"/>
                <a:gd name="connsiteY136" fmla="*/ 1672917 h 2634942"/>
                <a:gd name="connsiteX137" fmla="*/ 4565650 w 5553075"/>
                <a:gd name="connsiteY137" fmla="*/ 1653867 h 2634942"/>
                <a:gd name="connsiteX138" fmla="*/ 4605338 w 5553075"/>
                <a:gd name="connsiteY138" fmla="*/ 1639580 h 2634942"/>
                <a:gd name="connsiteX139" fmla="*/ 4619625 w 5553075"/>
                <a:gd name="connsiteY139" fmla="*/ 1687205 h 2634942"/>
                <a:gd name="connsiteX140" fmla="*/ 4657725 w 5553075"/>
                <a:gd name="connsiteY140" fmla="*/ 1711017 h 2634942"/>
                <a:gd name="connsiteX141" fmla="*/ 4629150 w 5553075"/>
                <a:gd name="connsiteY141" fmla="*/ 1758642 h 2634942"/>
                <a:gd name="connsiteX142" fmla="*/ 4652963 w 5553075"/>
                <a:gd name="connsiteY142" fmla="*/ 1815792 h 2634942"/>
                <a:gd name="connsiteX143" fmla="*/ 4681538 w 5553075"/>
                <a:gd name="connsiteY143" fmla="*/ 1849130 h 2634942"/>
                <a:gd name="connsiteX144" fmla="*/ 4767263 w 5553075"/>
                <a:gd name="connsiteY144" fmla="*/ 1891992 h 2634942"/>
                <a:gd name="connsiteX145" fmla="*/ 4776788 w 5553075"/>
                <a:gd name="connsiteY145" fmla="*/ 1968192 h 2634942"/>
                <a:gd name="connsiteX146" fmla="*/ 4705350 w 5553075"/>
                <a:gd name="connsiteY146" fmla="*/ 1939617 h 2634942"/>
                <a:gd name="connsiteX147" fmla="*/ 4695825 w 5553075"/>
                <a:gd name="connsiteY147" fmla="*/ 1972955 h 2634942"/>
                <a:gd name="connsiteX148" fmla="*/ 4743450 w 5553075"/>
                <a:gd name="connsiteY148" fmla="*/ 2015817 h 2634942"/>
                <a:gd name="connsiteX149" fmla="*/ 4776788 w 5553075"/>
                <a:gd name="connsiteY149" fmla="*/ 2034867 h 2634942"/>
                <a:gd name="connsiteX150" fmla="*/ 4810125 w 5553075"/>
                <a:gd name="connsiteY150" fmla="*/ 2011055 h 2634942"/>
                <a:gd name="connsiteX151" fmla="*/ 4843463 w 5553075"/>
                <a:gd name="connsiteY151" fmla="*/ 2025342 h 2634942"/>
                <a:gd name="connsiteX152" fmla="*/ 4838700 w 5553075"/>
                <a:gd name="connsiteY152" fmla="*/ 2096780 h 2634942"/>
                <a:gd name="connsiteX153" fmla="*/ 4972050 w 5553075"/>
                <a:gd name="connsiteY153" fmla="*/ 2192030 h 2634942"/>
                <a:gd name="connsiteX154" fmla="*/ 4995863 w 5553075"/>
                <a:gd name="connsiteY154" fmla="*/ 2168217 h 2634942"/>
                <a:gd name="connsiteX155" fmla="*/ 5081588 w 5553075"/>
                <a:gd name="connsiteY155" fmla="*/ 2187267 h 2634942"/>
                <a:gd name="connsiteX156" fmla="*/ 5124450 w 5553075"/>
                <a:gd name="connsiteY156" fmla="*/ 2253942 h 2634942"/>
                <a:gd name="connsiteX157" fmla="*/ 5248275 w 5553075"/>
                <a:gd name="connsiteY157" fmla="*/ 2296805 h 2634942"/>
                <a:gd name="connsiteX158" fmla="*/ 5281613 w 5553075"/>
                <a:gd name="connsiteY158" fmla="*/ 2363480 h 2634942"/>
                <a:gd name="connsiteX159" fmla="*/ 5276850 w 5553075"/>
                <a:gd name="connsiteY159" fmla="*/ 2444442 h 2634942"/>
                <a:gd name="connsiteX160" fmla="*/ 5353050 w 5553075"/>
                <a:gd name="connsiteY160" fmla="*/ 2515880 h 2634942"/>
                <a:gd name="connsiteX161" fmla="*/ 5438775 w 5553075"/>
                <a:gd name="connsiteY161" fmla="*/ 2534930 h 2634942"/>
                <a:gd name="connsiteX162" fmla="*/ 5486400 w 5553075"/>
                <a:gd name="connsiteY162" fmla="*/ 2596842 h 2634942"/>
                <a:gd name="connsiteX163" fmla="*/ 5553075 w 5553075"/>
                <a:gd name="connsiteY163" fmla="*/ 2634942 h 2634942"/>
                <a:gd name="connsiteX0" fmla="*/ 0 w 5553075"/>
                <a:gd name="connsiteY0" fmla="*/ 863292 h 2634942"/>
                <a:gd name="connsiteX1" fmla="*/ 57150 w 5553075"/>
                <a:gd name="connsiteY1" fmla="*/ 820430 h 2634942"/>
                <a:gd name="connsiteX2" fmla="*/ 57150 w 5553075"/>
                <a:gd name="connsiteY2" fmla="*/ 772805 h 2634942"/>
                <a:gd name="connsiteX3" fmla="*/ 47625 w 5553075"/>
                <a:gd name="connsiteY3" fmla="*/ 701367 h 2634942"/>
                <a:gd name="connsiteX4" fmla="*/ 95250 w 5553075"/>
                <a:gd name="connsiteY4" fmla="*/ 658505 h 2634942"/>
                <a:gd name="connsiteX5" fmla="*/ 142875 w 5553075"/>
                <a:gd name="connsiteY5" fmla="*/ 658505 h 2634942"/>
                <a:gd name="connsiteX6" fmla="*/ 157163 w 5553075"/>
                <a:gd name="connsiteY6" fmla="*/ 606117 h 2634942"/>
                <a:gd name="connsiteX7" fmla="*/ 176213 w 5553075"/>
                <a:gd name="connsiteY7" fmla="*/ 568017 h 2634942"/>
                <a:gd name="connsiteX8" fmla="*/ 214313 w 5553075"/>
                <a:gd name="connsiteY8" fmla="*/ 534680 h 2634942"/>
                <a:gd name="connsiteX9" fmla="*/ 195263 w 5553075"/>
                <a:gd name="connsiteY9" fmla="*/ 496580 h 2634942"/>
                <a:gd name="connsiteX10" fmla="*/ 209550 w 5553075"/>
                <a:gd name="connsiteY10" fmla="*/ 468005 h 2634942"/>
                <a:gd name="connsiteX11" fmla="*/ 209550 w 5553075"/>
                <a:gd name="connsiteY11" fmla="*/ 391805 h 2634942"/>
                <a:gd name="connsiteX12" fmla="*/ 242888 w 5553075"/>
                <a:gd name="connsiteY12" fmla="*/ 391805 h 2634942"/>
                <a:gd name="connsiteX13" fmla="*/ 242888 w 5553075"/>
                <a:gd name="connsiteY13" fmla="*/ 320367 h 2634942"/>
                <a:gd name="connsiteX14" fmla="*/ 271463 w 5553075"/>
                <a:gd name="connsiteY14" fmla="*/ 306080 h 2634942"/>
                <a:gd name="connsiteX15" fmla="*/ 280988 w 5553075"/>
                <a:gd name="connsiteY15" fmla="*/ 239405 h 2634942"/>
                <a:gd name="connsiteX16" fmla="*/ 361950 w 5553075"/>
                <a:gd name="connsiteY16" fmla="*/ 248930 h 2634942"/>
                <a:gd name="connsiteX17" fmla="*/ 395288 w 5553075"/>
                <a:gd name="connsiteY17" fmla="*/ 244167 h 2634942"/>
                <a:gd name="connsiteX18" fmla="*/ 433388 w 5553075"/>
                <a:gd name="connsiteY18" fmla="*/ 210830 h 2634942"/>
                <a:gd name="connsiteX19" fmla="*/ 495300 w 5553075"/>
                <a:gd name="connsiteY19" fmla="*/ 196542 h 2634942"/>
                <a:gd name="connsiteX20" fmla="*/ 509588 w 5553075"/>
                <a:gd name="connsiteY20" fmla="*/ 239405 h 2634942"/>
                <a:gd name="connsiteX21" fmla="*/ 552450 w 5553075"/>
                <a:gd name="connsiteY21" fmla="*/ 272742 h 2634942"/>
                <a:gd name="connsiteX22" fmla="*/ 576263 w 5553075"/>
                <a:gd name="connsiteY22" fmla="*/ 301317 h 2634942"/>
                <a:gd name="connsiteX23" fmla="*/ 633413 w 5553075"/>
                <a:gd name="connsiteY23" fmla="*/ 267980 h 2634942"/>
                <a:gd name="connsiteX24" fmla="*/ 690563 w 5553075"/>
                <a:gd name="connsiteY24" fmla="*/ 282267 h 2634942"/>
                <a:gd name="connsiteX25" fmla="*/ 733425 w 5553075"/>
                <a:gd name="connsiteY25" fmla="*/ 253692 h 2634942"/>
                <a:gd name="connsiteX26" fmla="*/ 795338 w 5553075"/>
                <a:gd name="connsiteY26" fmla="*/ 234642 h 2634942"/>
                <a:gd name="connsiteX27" fmla="*/ 814388 w 5553075"/>
                <a:gd name="connsiteY27" fmla="*/ 272742 h 2634942"/>
                <a:gd name="connsiteX28" fmla="*/ 890588 w 5553075"/>
                <a:gd name="connsiteY28" fmla="*/ 258455 h 2634942"/>
                <a:gd name="connsiteX29" fmla="*/ 928688 w 5553075"/>
                <a:gd name="connsiteY29" fmla="*/ 272742 h 2634942"/>
                <a:gd name="connsiteX30" fmla="*/ 976313 w 5553075"/>
                <a:gd name="connsiteY30" fmla="*/ 287030 h 2634942"/>
                <a:gd name="connsiteX31" fmla="*/ 1019175 w 5553075"/>
                <a:gd name="connsiteY31" fmla="*/ 306080 h 2634942"/>
                <a:gd name="connsiteX32" fmla="*/ 1123950 w 5553075"/>
                <a:gd name="connsiteY32" fmla="*/ 277505 h 2634942"/>
                <a:gd name="connsiteX33" fmla="*/ 1128713 w 5553075"/>
                <a:gd name="connsiteY33" fmla="*/ 215592 h 2634942"/>
                <a:gd name="connsiteX34" fmla="*/ 1190625 w 5553075"/>
                <a:gd name="connsiteY34" fmla="*/ 244167 h 2634942"/>
                <a:gd name="connsiteX35" fmla="*/ 1252538 w 5553075"/>
                <a:gd name="connsiteY35" fmla="*/ 244167 h 2634942"/>
                <a:gd name="connsiteX36" fmla="*/ 1281113 w 5553075"/>
                <a:gd name="connsiteY36" fmla="*/ 210830 h 2634942"/>
                <a:gd name="connsiteX37" fmla="*/ 1276350 w 5553075"/>
                <a:gd name="connsiteY37" fmla="*/ 182255 h 2634942"/>
                <a:gd name="connsiteX38" fmla="*/ 1309688 w 5553075"/>
                <a:gd name="connsiteY38" fmla="*/ 163205 h 2634942"/>
                <a:gd name="connsiteX39" fmla="*/ 1328738 w 5553075"/>
                <a:gd name="connsiteY39" fmla="*/ 139392 h 2634942"/>
                <a:gd name="connsiteX40" fmla="*/ 1366838 w 5553075"/>
                <a:gd name="connsiteY40" fmla="*/ 153680 h 2634942"/>
                <a:gd name="connsiteX41" fmla="*/ 1400175 w 5553075"/>
                <a:gd name="connsiteY41" fmla="*/ 210830 h 2634942"/>
                <a:gd name="connsiteX42" fmla="*/ 1466850 w 5553075"/>
                <a:gd name="connsiteY42" fmla="*/ 182255 h 2634942"/>
                <a:gd name="connsiteX43" fmla="*/ 1543050 w 5553075"/>
                <a:gd name="connsiteY43" fmla="*/ 158442 h 2634942"/>
                <a:gd name="connsiteX44" fmla="*/ 1624013 w 5553075"/>
                <a:gd name="connsiteY44" fmla="*/ 177492 h 2634942"/>
                <a:gd name="connsiteX45" fmla="*/ 1724025 w 5553075"/>
                <a:gd name="connsiteY45" fmla="*/ 134630 h 2634942"/>
                <a:gd name="connsiteX46" fmla="*/ 1776413 w 5553075"/>
                <a:gd name="connsiteY46" fmla="*/ 153680 h 2634942"/>
                <a:gd name="connsiteX47" fmla="*/ 1824038 w 5553075"/>
                <a:gd name="connsiteY47" fmla="*/ 125105 h 2634942"/>
                <a:gd name="connsiteX48" fmla="*/ 1795463 w 5553075"/>
                <a:gd name="connsiteY48" fmla="*/ 72717 h 2634942"/>
                <a:gd name="connsiteX49" fmla="*/ 1819275 w 5553075"/>
                <a:gd name="connsiteY49" fmla="*/ 29855 h 2634942"/>
                <a:gd name="connsiteX50" fmla="*/ 1881188 w 5553075"/>
                <a:gd name="connsiteY50" fmla="*/ 72717 h 2634942"/>
                <a:gd name="connsiteX51" fmla="*/ 1919288 w 5553075"/>
                <a:gd name="connsiteY51" fmla="*/ 87005 h 2634942"/>
                <a:gd name="connsiteX52" fmla="*/ 1952625 w 5553075"/>
                <a:gd name="connsiteY52" fmla="*/ 1280 h 2634942"/>
                <a:gd name="connsiteX53" fmla="*/ 2000250 w 5553075"/>
                <a:gd name="connsiteY53" fmla="*/ 39380 h 2634942"/>
                <a:gd name="connsiteX54" fmla="*/ 2019300 w 5553075"/>
                <a:gd name="connsiteY54" fmla="*/ 91767 h 2634942"/>
                <a:gd name="connsiteX55" fmla="*/ 2057400 w 5553075"/>
                <a:gd name="connsiteY55" fmla="*/ 58430 h 2634942"/>
                <a:gd name="connsiteX56" fmla="*/ 2081213 w 5553075"/>
                <a:gd name="connsiteY56" fmla="*/ 82242 h 2634942"/>
                <a:gd name="connsiteX57" fmla="*/ 2109788 w 5553075"/>
                <a:gd name="connsiteY57" fmla="*/ 48905 h 2634942"/>
                <a:gd name="connsiteX58" fmla="*/ 2138363 w 5553075"/>
                <a:gd name="connsiteY58" fmla="*/ 77480 h 2634942"/>
                <a:gd name="connsiteX59" fmla="*/ 2181225 w 5553075"/>
                <a:gd name="connsiteY59" fmla="*/ 82242 h 2634942"/>
                <a:gd name="connsiteX60" fmla="*/ 2195513 w 5553075"/>
                <a:gd name="connsiteY60" fmla="*/ 58430 h 2634942"/>
                <a:gd name="connsiteX61" fmla="*/ 2219325 w 5553075"/>
                <a:gd name="connsiteY61" fmla="*/ 87005 h 2634942"/>
                <a:gd name="connsiteX62" fmla="*/ 2252663 w 5553075"/>
                <a:gd name="connsiteY62" fmla="*/ 53667 h 2634942"/>
                <a:gd name="connsiteX63" fmla="*/ 2286000 w 5553075"/>
                <a:gd name="connsiteY63" fmla="*/ 101292 h 2634942"/>
                <a:gd name="connsiteX64" fmla="*/ 2333625 w 5553075"/>
                <a:gd name="connsiteY64" fmla="*/ 63192 h 2634942"/>
                <a:gd name="connsiteX65" fmla="*/ 2393950 w 5553075"/>
                <a:gd name="connsiteY65" fmla="*/ 66367 h 2634942"/>
                <a:gd name="connsiteX66" fmla="*/ 2419350 w 5553075"/>
                <a:gd name="connsiteY66" fmla="*/ 58430 h 2634942"/>
                <a:gd name="connsiteX67" fmla="*/ 2419350 w 5553075"/>
                <a:gd name="connsiteY67" fmla="*/ 106055 h 2634942"/>
                <a:gd name="connsiteX68" fmla="*/ 2462213 w 5553075"/>
                <a:gd name="connsiteY68" fmla="*/ 91767 h 2634942"/>
                <a:gd name="connsiteX69" fmla="*/ 2524125 w 5553075"/>
                <a:gd name="connsiteY69" fmla="*/ 96530 h 2634942"/>
                <a:gd name="connsiteX70" fmla="*/ 2543175 w 5553075"/>
                <a:gd name="connsiteY70" fmla="*/ 72717 h 2634942"/>
                <a:gd name="connsiteX71" fmla="*/ 2609850 w 5553075"/>
                <a:gd name="connsiteY71" fmla="*/ 106055 h 2634942"/>
                <a:gd name="connsiteX72" fmla="*/ 2692400 w 5553075"/>
                <a:gd name="connsiteY72" fmla="*/ 79067 h 2634942"/>
                <a:gd name="connsiteX73" fmla="*/ 2700338 w 5553075"/>
                <a:gd name="connsiteY73" fmla="*/ 53667 h 2634942"/>
                <a:gd name="connsiteX74" fmla="*/ 2724150 w 5553075"/>
                <a:gd name="connsiteY74" fmla="*/ 87005 h 2634942"/>
                <a:gd name="connsiteX75" fmla="*/ 2814638 w 5553075"/>
                <a:gd name="connsiteY75" fmla="*/ 72717 h 2634942"/>
                <a:gd name="connsiteX76" fmla="*/ 2836863 w 5553075"/>
                <a:gd name="connsiteY76" fmla="*/ 136217 h 2634942"/>
                <a:gd name="connsiteX77" fmla="*/ 2828925 w 5553075"/>
                <a:gd name="connsiteY77" fmla="*/ 177492 h 2634942"/>
                <a:gd name="connsiteX78" fmla="*/ 2895600 w 5553075"/>
                <a:gd name="connsiteY78" fmla="*/ 153680 h 2634942"/>
                <a:gd name="connsiteX79" fmla="*/ 2895600 w 5553075"/>
                <a:gd name="connsiteY79" fmla="*/ 196542 h 2634942"/>
                <a:gd name="connsiteX80" fmla="*/ 2933700 w 5553075"/>
                <a:gd name="connsiteY80" fmla="*/ 239405 h 2634942"/>
                <a:gd name="connsiteX81" fmla="*/ 2933700 w 5553075"/>
                <a:gd name="connsiteY81" fmla="*/ 196542 h 2634942"/>
                <a:gd name="connsiteX82" fmla="*/ 2986088 w 5553075"/>
                <a:gd name="connsiteY82" fmla="*/ 225117 h 2634942"/>
                <a:gd name="connsiteX83" fmla="*/ 3000375 w 5553075"/>
                <a:gd name="connsiteY83" fmla="*/ 248930 h 2634942"/>
                <a:gd name="connsiteX84" fmla="*/ 3057525 w 5553075"/>
                <a:gd name="connsiteY84" fmla="*/ 296555 h 2634942"/>
                <a:gd name="connsiteX85" fmla="*/ 3086100 w 5553075"/>
                <a:gd name="connsiteY85" fmla="*/ 304492 h 2634942"/>
                <a:gd name="connsiteX86" fmla="*/ 3138488 w 5553075"/>
                <a:gd name="connsiteY86" fmla="*/ 372755 h 2634942"/>
                <a:gd name="connsiteX87" fmla="*/ 3190875 w 5553075"/>
                <a:gd name="connsiteY87" fmla="*/ 425142 h 2634942"/>
                <a:gd name="connsiteX88" fmla="*/ 3214688 w 5553075"/>
                <a:gd name="connsiteY88" fmla="*/ 468005 h 2634942"/>
                <a:gd name="connsiteX89" fmla="*/ 3257550 w 5553075"/>
                <a:gd name="connsiteY89" fmla="*/ 472767 h 2634942"/>
                <a:gd name="connsiteX90" fmla="*/ 3319463 w 5553075"/>
                <a:gd name="connsiteY90" fmla="*/ 529917 h 2634942"/>
                <a:gd name="connsiteX91" fmla="*/ 3281363 w 5553075"/>
                <a:gd name="connsiteY91" fmla="*/ 547380 h 2634942"/>
                <a:gd name="connsiteX92" fmla="*/ 3281363 w 5553075"/>
                <a:gd name="connsiteY92" fmla="*/ 568017 h 2634942"/>
                <a:gd name="connsiteX93" fmla="*/ 3319463 w 5553075"/>
                <a:gd name="connsiteY93" fmla="*/ 582305 h 2634942"/>
                <a:gd name="connsiteX94" fmla="*/ 3286125 w 5553075"/>
                <a:gd name="connsiteY94" fmla="*/ 634692 h 2634942"/>
                <a:gd name="connsiteX95" fmla="*/ 3352800 w 5553075"/>
                <a:gd name="connsiteY95" fmla="*/ 629930 h 2634942"/>
                <a:gd name="connsiteX96" fmla="*/ 3381375 w 5553075"/>
                <a:gd name="connsiteY96" fmla="*/ 668030 h 2634942"/>
                <a:gd name="connsiteX97" fmla="*/ 3419475 w 5553075"/>
                <a:gd name="connsiteY97" fmla="*/ 687080 h 2634942"/>
                <a:gd name="connsiteX98" fmla="*/ 3429000 w 5553075"/>
                <a:gd name="connsiteY98" fmla="*/ 715655 h 2634942"/>
                <a:gd name="connsiteX99" fmla="*/ 3429000 w 5553075"/>
                <a:gd name="connsiteY99" fmla="*/ 739467 h 2634942"/>
                <a:gd name="connsiteX100" fmla="*/ 3457575 w 5553075"/>
                <a:gd name="connsiteY100" fmla="*/ 806142 h 2634942"/>
                <a:gd name="connsiteX101" fmla="*/ 3514725 w 5553075"/>
                <a:gd name="connsiteY101" fmla="*/ 763280 h 2634942"/>
                <a:gd name="connsiteX102" fmla="*/ 3557588 w 5553075"/>
                <a:gd name="connsiteY102" fmla="*/ 753755 h 2634942"/>
                <a:gd name="connsiteX103" fmla="*/ 3595688 w 5553075"/>
                <a:gd name="connsiteY103" fmla="*/ 739467 h 2634942"/>
                <a:gd name="connsiteX104" fmla="*/ 3629025 w 5553075"/>
                <a:gd name="connsiteY104" fmla="*/ 701367 h 2634942"/>
                <a:gd name="connsiteX105" fmla="*/ 3648075 w 5553075"/>
                <a:gd name="connsiteY105" fmla="*/ 720417 h 2634942"/>
                <a:gd name="connsiteX106" fmla="*/ 3638550 w 5553075"/>
                <a:gd name="connsiteY106" fmla="*/ 758517 h 2634942"/>
                <a:gd name="connsiteX107" fmla="*/ 3657600 w 5553075"/>
                <a:gd name="connsiteY107" fmla="*/ 806142 h 2634942"/>
                <a:gd name="connsiteX108" fmla="*/ 3705225 w 5553075"/>
                <a:gd name="connsiteY108" fmla="*/ 806142 h 2634942"/>
                <a:gd name="connsiteX109" fmla="*/ 3771900 w 5553075"/>
                <a:gd name="connsiteY109" fmla="*/ 791855 h 2634942"/>
                <a:gd name="connsiteX110" fmla="*/ 3824288 w 5553075"/>
                <a:gd name="connsiteY110" fmla="*/ 768042 h 2634942"/>
                <a:gd name="connsiteX111" fmla="*/ 3814763 w 5553075"/>
                <a:gd name="connsiteY111" fmla="*/ 768042 h 2634942"/>
                <a:gd name="connsiteX112" fmla="*/ 3876675 w 5553075"/>
                <a:gd name="connsiteY112" fmla="*/ 777567 h 2634942"/>
                <a:gd name="connsiteX113" fmla="*/ 3929063 w 5553075"/>
                <a:gd name="connsiteY113" fmla="*/ 758517 h 2634942"/>
                <a:gd name="connsiteX114" fmla="*/ 3905250 w 5553075"/>
                <a:gd name="connsiteY114" fmla="*/ 806142 h 2634942"/>
                <a:gd name="connsiteX115" fmla="*/ 3914775 w 5553075"/>
                <a:gd name="connsiteY115" fmla="*/ 839480 h 2634942"/>
                <a:gd name="connsiteX116" fmla="*/ 3957638 w 5553075"/>
                <a:gd name="connsiteY116" fmla="*/ 806142 h 2634942"/>
                <a:gd name="connsiteX117" fmla="*/ 3986213 w 5553075"/>
                <a:gd name="connsiteY117" fmla="*/ 849005 h 2634942"/>
                <a:gd name="connsiteX118" fmla="*/ 4078288 w 5553075"/>
                <a:gd name="connsiteY118" fmla="*/ 896630 h 2634942"/>
                <a:gd name="connsiteX119" fmla="*/ 4071938 w 5553075"/>
                <a:gd name="connsiteY119" fmla="*/ 963305 h 2634942"/>
                <a:gd name="connsiteX120" fmla="*/ 4116388 w 5553075"/>
                <a:gd name="connsiteY120" fmla="*/ 1026805 h 2634942"/>
                <a:gd name="connsiteX121" fmla="*/ 4144963 w 5553075"/>
                <a:gd name="connsiteY121" fmla="*/ 1069667 h 2634942"/>
                <a:gd name="connsiteX122" fmla="*/ 4137025 w 5553075"/>
                <a:gd name="connsiteY122" fmla="*/ 1098242 h 2634942"/>
                <a:gd name="connsiteX123" fmla="*/ 4157663 w 5553075"/>
                <a:gd name="connsiteY123" fmla="*/ 1125230 h 2634942"/>
                <a:gd name="connsiteX124" fmla="*/ 4162425 w 5553075"/>
                <a:gd name="connsiteY124" fmla="*/ 1201430 h 2634942"/>
                <a:gd name="connsiteX125" fmla="*/ 4195763 w 5553075"/>
                <a:gd name="connsiteY125" fmla="*/ 1230005 h 2634942"/>
                <a:gd name="connsiteX126" fmla="*/ 4176713 w 5553075"/>
                <a:gd name="connsiteY126" fmla="*/ 1263342 h 2634942"/>
                <a:gd name="connsiteX127" fmla="*/ 4191000 w 5553075"/>
                <a:gd name="connsiteY127" fmla="*/ 1287155 h 2634942"/>
                <a:gd name="connsiteX128" fmla="*/ 4286250 w 5553075"/>
                <a:gd name="connsiteY128" fmla="*/ 1357005 h 2634942"/>
                <a:gd name="connsiteX129" fmla="*/ 4275138 w 5553075"/>
                <a:gd name="connsiteY129" fmla="*/ 1396692 h 2634942"/>
                <a:gd name="connsiteX130" fmla="*/ 4229100 w 5553075"/>
                <a:gd name="connsiteY130" fmla="*/ 1396692 h 2634942"/>
                <a:gd name="connsiteX131" fmla="*/ 4271963 w 5553075"/>
                <a:gd name="connsiteY131" fmla="*/ 1482417 h 2634942"/>
                <a:gd name="connsiteX132" fmla="*/ 4329113 w 5553075"/>
                <a:gd name="connsiteY132" fmla="*/ 1471305 h 2634942"/>
                <a:gd name="connsiteX133" fmla="*/ 4384675 w 5553075"/>
                <a:gd name="connsiteY133" fmla="*/ 1501467 h 2634942"/>
                <a:gd name="connsiteX134" fmla="*/ 4445000 w 5553075"/>
                <a:gd name="connsiteY134" fmla="*/ 1536392 h 2634942"/>
                <a:gd name="connsiteX135" fmla="*/ 4438650 w 5553075"/>
                <a:gd name="connsiteY135" fmla="*/ 1563380 h 2634942"/>
                <a:gd name="connsiteX136" fmla="*/ 4432300 w 5553075"/>
                <a:gd name="connsiteY136" fmla="*/ 1633230 h 2634942"/>
                <a:gd name="connsiteX137" fmla="*/ 4500563 w 5553075"/>
                <a:gd name="connsiteY137" fmla="*/ 1672917 h 2634942"/>
                <a:gd name="connsiteX138" fmla="*/ 4565650 w 5553075"/>
                <a:gd name="connsiteY138" fmla="*/ 1653867 h 2634942"/>
                <a:gd name="connsiteX139" fmla="*/ 4605338 w 5553075"/>
                <a:gd name="connsiteY139" fmla="*/ 1639580 h 2634942"/>
                <a:gd name="connsiteX140" fmla="*/ 4619625 w 5553075"/>
                <a:gd name="connsiteY140" fmla="*/ 1687205 h 2634942"/>
                <a:gd name="connsiteX141" fmla="*/ 4657725 w 5553075"/>
                <a:gd name="connsiteY141" fmla="*/ 1711017 h 2634942"/>
                <a:gd name="connsiteX142" fmla="*/ 4629150 w 5553075"/>
                <a:gd name="connsiteY142" fmla="*/ 1758642 h 2634942"/>
                <a:gd name="connsiteX143" fmla="*/ 4652963 w 5553075"/>
                <a:gd name="connsiteY143" fmla="*/ 1815792 h 2634942"/>
                <a:gd name="connsiteX144" fmla="*/ 4681538 w 5553075"/>
                <a:gd name="connsiteY144" fmla="*/ 1849130 h 2634942"/>
                <a:gd name="connsiteX145" fmla="*/ 4767263 w 5553075"/>
                <a:gd name="connsiteY145" fmla="*/ 1891992 h 2634942"/>
                <a:gd name="connsiteX146" fmla="*/ 4776788 w 5553075"/>
                <a:gd name="connsiteY146" fmla="*/ 1968192 h 2634942"/>
                <a:gd name="connsiteX147" fmla="*/ 4705350 w 5553075"/>
                <a:gd name="connsiteY147" fmla="*/ 1939617 h 2634942"/>
                <a:gd name="connsiteX148" fmla="*/ 4695825 w 5553075"/>
                <a:gd name="connsiteY148" fmla="*/ 1972955 h 2634942"/>
                <a:gd name="connsiteX149" fmla="*/ 4743450 w 5553075"/>
                <a:gd name="connsiteY149" fmla="*/ 2015817 h 2634942"/>
                <a:gd name="connsiteX150" fmla="*/ 4776788 w 5553075"/>
                <a:gd name="connsiteY150" fmla="*/ 2034867 h 2634942"/>
                <a:gd name="connsiteX151" fmla="*/ 4810125 w 5553075"/>
                <a:gd name="connsiteY151" fmla="*/ 2011055 h 2634942"/>
                <a:gd name="connsiteX152" fmla="*/ 4843463 w 5553075"/>
                <a:gd name="connsiteY152" fmla="*/ 2025342 h 2634942"/>
                <a:gd name="connsiteX153" fmla="*/ 4838700 w 5553075"/>
                <a:gd name="connsiteY153" fmla="*/ 2096780 h 2634942"/>
                <a:gd name="connsiteX154" fmla="*/ 4972050 w 5553075"/>
                <a:gd name="connsiteY154" fmla="*/ 2192030 h 2634942"/>
                <a:gd name="connsiteX155" fmla="*/ 4995863 w 5553075"/>
                <a:gd name="connsiteY155" fmla="*/ 2168217 h 2634942"/>
                <a:gd name="connsiteX156" fmla="*/ 5081588 w 5553075"/>
                <a:gd name="connsiteY156" fmla="*/ 2187267 h 2634942"/>
                <a:gd name="connsiteX157" fmla="*/ 5124450 w 5553075"/>
                <a:gd name="connsiteY157" fmla="*/ 2253942 h 2634942"/>
                <a:gd name="connsiteX158" fmla="*/ 5248275 w 5553075"/>
                <a:gd name="connsiteY158" fmla="*/ 2296805 h 2634942"/>
                <a:gd name="connsiteX159" fmla="*/ 5281613 w 5553075"/>
                <a:gd name="connsiteY159" fmla="*/ 2363480 h 2634942"/>
                <a:gd name="connsiteX160" fmla="*/ 5276850 w 5553075"/>
                <a:gd name="connsiteY160" fmla="*/ 2444442 h 2634942"/>
                <a:gd name="connsiteX161" fmla="*/ 5353050 w 5553075"/>
                <a:gd name="connsiteY161" fmla="*/ 2515880 h 2634942"/>
                <a:gd name="connsiteX162" fmla="*/ 5438775 w 5553075"/>
                <a:gd name="connsiteY162" fmla="*/ 2534930 h 2634942"/>
                <a:gd name="connsiteX163" fmla="*/ 5486400 w 5553075"/>
                <a:gd name="connsiteY163" fmla="*/ 2596842 h 2634942"/>
                <a:gd name="connsiteX164" fmla="*/ 5553075 w 5553075"/>
                <a:gd name="connsiteY164" fmla="*/ 2634942 h 2634942"/>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214313 w 5553075"/>
                <a:gd name="connsiteY8" fmla="*/ 533794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795338 w 5553075"/>
                <a:gd name="connsiteY26" fmla="*/ 233756 h 2634056"/>
                <a:gd name="connsiteX27" fmla="*/ 814388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43050 w 5553075"/>
                <a:gd name="connsiteY43" fmla="*/ 157556 h 2634056"/>
                <a:gd name="connsiteX44" fmla="*/ 1624013 w 5553075"/>
                <a:gd name="connsiteY44" fmla="*/ 17660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919288 w 5553075"/>
                <a:gd name="connsiteY51" fmla="*/ 86119 h 2634056"/>
                <a:gd name="connsiteX52" fmla="*/ 1949450 w 5553075"/>
                <a:gd name="connsiteY52" fmla="*/ 62306 h 2634056"/>
                <a:gd name="connsiteX53" fmla="*/ 1952625 w 5553075"/>
                <a:gd name="connsiteY53" fmla="*/ 394 h 2634056"/>
                <a:gd name="connsiteX54" fmla="*/ 2000250 w 5553075"/>
                <a:gd name="connsiteY54" fmla="*/ 38494 h 2634056"/>
                <a:gd name="connsiteX55" fmla="*/ 2019300 w 5553075"/>
                <a:gd name="connsiteY55" fmla="*/ 90881 h 2634056"/>
                <a:gd name="connsiteX56" fmla="*/ 2057400 w 5553075"/>
                <a:gd name="connsiteY56" fmla="*/ 57544 h 2634056"/>
                <a:gd name="connsiteX57" fmla="*/ 2081213 w 5553075"/>
                <a:gd name="connsiteY57" fmla="*/ 81356 h 2634056"/>
                <a:gd name="connsiteX58" fmla="*/ 2109788 w 5553075"/>
                <a:gd name="connsiteY58" fmla="*/ 48019 h 2634056"/>
                <a:gd name="connsiteX59" fmla="*/ 2138363 w 5553075"/>
                <a:gd name="connsiteY59" fmla="*/ 76594 h 2634056"/>
                <a:gd name="connsiteX60" fmla="*/ 2181225 w 5553075"/>
                <a:gd name="connsiteY60" fmla="*/ 81356 h 2634056"/>
                <a:gd name="connsiteX61" fmla="*/ 2195513 w 5553075"/>
                <a:gd name="connsiteY61" fmla="*/ 57544 h 2634056"/>
                <a:gd name="connsiteX62" fmla="*/ 2219325 w 5553075"/>
                <a:gd name="connsiteY62" fmla="*/ 86119 h 2634056"/>
                <a:gd name="connsiteX63" fmla="*/ 2252663 w 5553075"/>
                <a:gd name="connsiteY63" fmla="*/ 52781 h 2634056"/>
                <a:gd name="connsiteX64" fmla="*/ 2286000 w 5553075"/>
                <a:gd name="connsiteY64" fmla="*/ 100406 h 2634056"/>
                <a:gd name="connsiteX65" fmla="*/ 2333625 w 5553075"/>
                <a:gd name="connsiteY65" fmla="*/ 62306 h 2634056"/>
                <a:gd name="connsiteX66" fmla="*/ 2393950 w 5553075"/>
                <a:gd name="connsiteY66" fmla="*/ 65481 h 2634056"/>
                <a:gd name="connsiteX67" fmla="*/ 2419350 w 5553075"/>
                <a:gd name="connsiteY67" fmla="*/ 57544 h 2634056"/>
                <a:gd name="connsiteX68" fmla="*/ 2419350 w 5553075"/>
                <a:gd name="connsiteY68" fmla="*/ 105169 h 2634056"/>
                <a:gd name="connsiteX69" fmla="*/ 2462213 w 5553075"/>
                <a:gd name="connsiteY69" fmla="*/ 90881 h 2634056"/>
                <a:gd name="connsiteX70" fmla="*/ 2524125 w 5553075"/>
                <a:gd name="connsiteY70" fmla="*/ 95644 h 2634056"/>
                <a:gd name="connsiteX71" fmla="*/ 2543175 w 5553075"/>
                <a:gd name="connsiteY71" fmla="*/ 71831 h 2634056"/>
                <a:gd name="connsiteX72" fmla="*/ 2609850 w 5553075"/>
                <a:gd name="connsiteY72" fmla="*/ 105169 h 2634056"/>
                <a:gd name="connsiteX73" fmla="*/ 2692400 w 5553075"/>
                <a:gd name="connsiteY73" fmla="*/ 78181 h 2634056"/>
                <a:gd name="connsiteX74" fmla="*/ 2700338 w 5553075"/>
                <a:gd name="connsiteY74" fmla="*/ 52781 h 2634056"/>
                <a:gd name="connsiteX75" fmla="*/ 2724150 w 5553075"/>
                <a:gd name="connsiteY75" fmla="*/ 86119 h 2634056"/>
                <a:gd name="connsiteX76" fmla="*/ 2814638 w 5553075"/>
                <a:gd name="connsiteY76" fmla="*/ 71831 h 2634056"/>
                <a:gd name="connsiteX77" fmla="*/ 2836863 w 5553075"/>
                <a:gd name="connsiteY77" fmla="*/ 135331 h 2634056"/>
                <a:gd name="connsiteX78" fmla="*/ 2828925 w 5553075"/>
                <a:gd name="connsiteY78" fmla="*/ 176606 h 2634056"/>
                <a:gd name="connsiteX79" fmla="*/ 2895600 w 5553075"/>
                <a:gd name="connsiteY79" fmla="*/ 152794 h 2634056"/>
                <a:gd name="connsiteX80" fmla="*/ 2895600 w 5553075"/>
                <a:gd name="connsiteY80" fmla="*/ 195656 h 2634056"/>
                <a:gd name="connsiteX81" fmla="*/ 2933700 w 5553075"/>
                <a:gd name="connsiteY81" fmla="*/ 238519 h 2634056"/>
                <a:gd name="connsiteX82" fmla="*/ 2933700 w 5553075"/>
                <a:gd name="connsiteY82" fmla="*/ 195656 h 2634056"/>
                <a:gd name="connsiteX83" fmla="*/ 2986088 w 5553075"/>
                <a:gd name="connsiteY83" fmla="*/ 224231 h 2634056"/>
                <a:gd name="connsiteX84" fmla="*/ 3000375 w 5553075"/>
                <a:gd name="connsiteY84" fmla="*/ 248044 h 2634056"/>
                <a:gd name="connsiteX85" fmla="*/ 3057525 w 5553075"/>
                <a:gd name="connsiteY85" fmla="*/ 295669 h 2634056"/>
                <a:gd name="connsiteX86" fmla="*/ 3086100 w 5553075"/>
                <a:gd name="connsiteY86" fmla="*/ 303606 h 2634056"/>
                <a:gd name="connsiteX87" fmla="*/ 3138488 w 5553075"/>
                <a:gd name="connsiteY87" fmla="*/ 371869 h 2634056"/>
                <a:gd name="connsiteX88" fmla="*/ 3190875 w 5553075"/>
                <a:gd name="connsiteY88" fmla="*/ 424256 h 2634056"/>
                <a:gd name="connsiteX89" fmla="*/ 3214688 w 5553075"/>
                <a:gd name="connsiteY89" fmla="*/ 467119 h 2634056"/>
                <a:gd name="connsiteX90" fmla="*/ 3257550 w 5553075"/>
                <a:gd name="connsiteY90" fmla="*/ 471881 h 2634056"/>
                <a:gd name="connsiteX91" fmla="*/ 3319463 w 5553075"/>
                <a:gd name="connsiteY91" fmla="*/ 529031 h 2634056"/>
                <a:gd name="connsiteX92" fmla="*/ 3281363 w 5553075"/>
                <a:gd name="connsiteY92" fmla="*/ 546494 h 2634056"/>
                <a:gd name="connsiteX93" fmla="*/ 3281363 w 5553075"/>
                <a:gd name="connsiteY93" fmla="*/ 567131 h 2634056"/>
                <a:gd name="connsiteX94" fmla="*/ 3319463 w 5553075"/>
                <a:gd name="connsiteY94" fmla="*/ 581419 h 2634056"/>
                <a:gd name="connsiteX95" fmla="*/ 3286125 w 5553075"/>
                <a:gd name="connsiteY95" fmla="*/ 633806 h 2634056"/>
                <a:gd name="connsiteX96" fmla="*/ 3352800 w 5553075"/>
                <a:gd name="connsiteY96" fmla="*/ 629044 h 2634056"/>
                <a:gd name="connsiteX97" fmla="*/ 3381375 w 5553075"/>
                <a:gd name="connsiteY97" fmla="*/ 667144 h 2634056"/>
                <a:gd name="connsiteX98" fmla="*/ 3419475 w 5553075"/>
                <a:gd name="connsiteY98" fmla="*/ 686194 h 2634056"/>
                <a:gd name="connsiteX99" fmla="*/ 3429000 w 5553075"/>
                <a:gd name="connsiteY99" fmla="*/ 714769 h 2634056"/>
                <a:gd name="connsiteX100" fmla="*/ 3429000 w 5553075"/>
                <a:gd name="connsiteY100" fmla="*/ 738581 h 2634056"/>
                <a:gd name="connsiteX101" fmla="*/ 3457575 w 5553075"/>
                <a:gd name="connsiteY101" fmla="*/ 805256 h 2634056"/>
                <a:gd name="connsiteX102" fmla="*/ 3514725 w 5553075"/>
                <a:gd name="connsiteY102" fmla="*/ 762394 h 2634056"/>
                <a:gd name="connsiteX103" fmla="*/ 3557588 w 5553075"/>
                <a:gd name="connsiteY103" fmla="*/ 752869 h 2634056"/>
                <a:gd name="connsiteX104" fmla="*/ 3595688 w 5553075"/>
                <a:gd name="connsiteY104" fmla="*/ 738581 h 2634056"/>
                <a:gd name="connsiteX105" fmla="*/ 3629025 w 5553075"/>
                <a:gd name="connsiteY105" fmla="*/ 700481 h 2634056"/>
                <a:gd name="connsiteX106" fmla="*/ 3648075 w 5553075"/>
                <a:gd name="connsiteY106" fmla="*/ 719531 h 2634056"/>
                <a:gd name="connsiteX107" fmla="*/ 3638550 w 5553075"/>
                <a:gd name="connsiteY107" fmla="*/ 757631 h 2634056"/>
                <a:gd name="connsiteX108" fmla="*/ 3657600 w 5553075"/>
                <a:gd name="connsiteY108" fmla="*/ 805256 h 2634056"/>
                <a:gd name="connsiteX109" fmla="*/ 3705225 w 5553075"/>
                <a:gd name="connsiteY109" fmla="*/ 805256 h 2634056"/>
                <a:gd name="connsiteX110" fmla="*/ 3771900 w 5553075"/>
                <a:gd name="connsiteY110" fmla="*/ 790969 h 2634056"/>
                <a:gd name="connsiteX111" fmla="*/ 3824288 w 5553075"/>
                <a:gd name="connsiteY111" fmla="*/ 767156 h 2634056"/>
                <a:gd name="connsiteX112" fmla="*/ 3814763 w 5553075"/>
                <a:gd name="connsiteY112" fmla="*/ 767156 h 2634056"/>
                <a:gd name="connsiteX113" fmla="*/ 3876675 w 5553075"/>
                <a:gd name="connsiteY113" fmla="*/ 776681 h 2634056"/>
                <a:gd name="connsiteX114" fmla="*/ 3929063 w 5553075"/>
                <a:gd name="connsiteY114" fmla="*/ 757631 h 2634056"/>
                <a:gd name="connsiteX115" fmla="*/ 3905250 w 5553075"/>
                <a:gd name="connsiteY115" fmla="*/ 805256 h 2634056"/>
                <a:gd name="connsiteX116" fmla="*/ 3914775 w 5553075"/>
                <a:gd name="connsiteY116" fmla="*/ 838594 h 2634056"/>
                <a:gd name="connsiteX117" fmla="*/ 3957638 w 5553075"/>
                <a:gd name="connsiteY117" fmla="*/ 805256 h 2634056"/>
                <a:gd name="connsiteX118" fmla="*/ 3986213 w 5553075"/>
                <a:gd name="connsiteY118" fmla="*/ 848119 h 2634056"/>
                <a:gd name="connsiteX119" fmla="*/ 4078288 w 5553075"/>
                <a:gd name="connsiteY119" fmla="*/ 895744 h 2634056"/>
                <a:gd name="connsiteX120" fmla="*/ 4071938 w 5553075"/>
                <a:gd name="connsiteY120" fmla="*/ 962419 h 2634056"/>
                <a:gd name="connsiteX121" fmla="*/ 4116388 w 5553075"/>
                <a:gd name="connsiteY121" fmla="*/ 1025919 h 2634056"/>
                <a:gd name="connsiteX122" fmla="*/ 4144963 w 5553075"/>
                <a:gd name="connsiteY122" fmla="*/ 1068781 h 2634056"/>
                <a:gd name="connsiteX123" fmla="*/ 4137025 w 5553075"/>
                <a:gd name="connsiteY123" fmla="*/ 1097356 h 2634056"/>
                <a:gd name="connsiteX124" fmla="*/ 4157663 w 5553075"/>
                <a:gd name="connsiteY124" fmla="*/ 1124344 h 2634056"/>
                <a:gd name="connsiteX125" fmla="*/ 4162425 w 5553075"/>
                <a:gd name="connsiteY125" fmla="*/ 1200544 h 2634056"/>
                <a:gd name="connsiteX126" fmla="*/ 4195763 w 5553075"/>
                <a:gd name="connsiteY126" fmla="*/ 1229119 h 2634056"/>
                <a:gd name="connsiteX127" fmla="*/ 4176713 w 5553075"/>
                <a:gd name="connsiteY127" fmla="*/ 1262456 h 2634056"/>
                <a:gd name="connsiteX128" fmla="*/ 4191000 w 5553075"/>
                <a:gd name="connsiteY128" fmla="*/ 1286269 h 2634056"/>
                <a:gd name="connsiteX129" fmla="*/ 4286250 w 5553075"/>
                <a:gd name="connsiteY129" fmla="*/ 1356119 h 2634056"/>
                <a:gd name="connsiteX130" fmla="*/ 4275138 w 5553075"/>
                <a:gd name="connsiteY130" fmla="*/ 1395806 h 2634056"/>
                <a:gd name="connsiteX131" fmla="*/ 4229100 w 5553075"/>
                <a:gd name="connsiteY131" fmla="*/ 1395806 h 2634056"/>
                <a:gd name="connsiteX132" fmla="*/ 4271963 w 5553075"/>
                <a:gd name="connsiteY132" fmla="*/ 1481531 h 2634056"/>
                <a:gd name="connsiteX133" fmla="*/ 4329113 w 5553075"/>
                <a:gd name="connsiteY133" fmla="*/ 1470419 h 2634056"/>
                <a:gd name="connsiteX134" fmla="*/ 4384675 w 5553075"/>
                <a:gd name="connsiteY134" fmla="*/ 1500581 h 2634056"/>
                <a:gd name="connsiteX135" fmla="*/ 4445000 w 5553075"/>
                <a:gd name="connsiteY135" fmla="*/ 1535506 h 2634056"/>
                <a:gd name="connsiteX136" fmla="*/ 4438650 w 5553075"/>
                <a:gd name="connsiteY136" fmla="*/ 1562494 h 2634056"/>
                <a:gd name="connsiteX137" fmla="*/ 4432300 w 5553075"/>
                <a:gd name="connsiteY137" fmla="*/ 1632344 h 2634056"/>
                <a:gd name="connsiteX138" fmla="*/ 4500563 w 5553075"/>
                <a:gd name="connsiteY138" fmla="*/ 1672031 h 2634056"/>
                <a:gd name="connsiteX139" fmla="*/ 4565650 w 5553075"/>
                <a:gd name="connsiteY139" fmla="*/ 1652981 h 2634056"/>
                <a:gd name="connsiteX140" fmla="*/ 4605338 w 5553075"/>
                <a:gd name="connsiteY140" fmla="*/ 1638694 h 2634056"/>
                <a:gd name="connsiteX141" fmla="*/ 4619625 w 5553075"/>
                <a:gd name="connsiteY141" fmla="*/ 1686319 h 2634056"/>
                <a:gd name="connsiteX142" fmla="*/ 4657725 w 5553075"/>
                <a:gd name="connsiteY142" fmla="*/ 1710131 h 2634056"/>
                <a:gd name="connsiteX143" fmla="*/ 4629150 w 5553075"/>
                <a:gd name="connsiteY143" fmla="*/ 1757756 h 2634056"/>
                <a:gd name="connsiteX144" fmla="*/ 4652963 w 5553075"/>
                <a:gd name="connsiteY144" fmla="*/ 1814906 h 2634056"/>
                <a:gd name="connsiteX145" fmla="*/ 4681538 w 5553075"/>
                <a:gd name="connsiteY145" fmla="*/ 1848244 h 2634056"/>
                <a:gd name="connsiteX146" fmla="*/ 4767263 w 5553075"/>
                <a:gd name="connsiteY146" fmla="*/ 1891106 h 2634056"/>
                <a:gd name="connsiteX147" fmla="*/ 4776788 w 5553075"/>
                <a:gd name="connsiteY147" fmla="*/ 1967306 h 2634056"/>
                <a:gd name="connsiteX148" fmla="*/ 4705350 w 5553075"/>
                <a:gd name="connsiteY148" fmla="*/ 1938731 h 2634056"/>
                <a:gd name="connsiteX149" fmla="*/ 4695825 w 5553075"/>
                <a:gd name="connsiteY149" fmla="*/ 1972069 h 2634056"/>
                <a:gd name="connsiteX150" fmla="*/ 4743450 w 5553075"/>
                <a:gd name="connsiteY150" fmla="*/ 2014931 h 2634056"/>
                <a:gd name="connsiteX151" fmla="*/ 4776788 w 5553075"/>
                <a:gd name="connsiteY151" fmla="*/ 2033981 h 2634056"/>
                <a:gd name="connsiteX152" fmla="*/ 4810125 w 5553075"/>
                <a:gd name="connsiteY152" fmla="*/ 2010169 h 2634056"/>
                <a:gd name="connsiteX153" fmla="*/ 4843463 w 5553075"/>
                <a:gd name="connsiteY153" fmla="*/ 2024456 h 2634056"/>
                <a:gd name="connsiteX154" fmla="*/ 4838700 w 5553075"/>
                <a:gd name="connsiteY154" fmla="*/ 2095894 h 2634056"/>
                <a:gd name="connsiteX155" fmla="*/ 4972050 w 5553075"/>
                <a:gd name="connsiteY155" fmla="*/ 2191144 h 2634056"/>
                <a:gd name="connsiteX156" fmla="*/ 4995863 w 5553075"/>
                <a:gd name="connsiteY156" fmla="*/ 2167331 h 2634056"/>
                <a:gd name="connsiteX157" fmla="*/ 5081588 w 5553075"/>
                <a:gd name="connsiteY157" fmla="*/ 2186381 h 2634056"/>
                <a:gd name="connsiteX158" fmla="*/ 5124450 w 5553075"/>
                <a:gd name="connsiteY158" fmla="*/ 2253056 h 2634056"/>
                <a:gd name="connsiteX159" fmla="*/ 5248275 w 5553075"/>
                <a:gd name="connsiteY159" fmla="*/ 2295919 h 2634056"/>
                <a:gd name="connsiteX160" fmla="*/ 5281613 w 5553075"/>
                <a:gd name="connsiteY160" fmla="*/ 2362594 h 2634056"/>
                <a:gd name="connsiteX161" fmla="*/ 5276850 w 5553075"/>
                <a:gd name="connsiteY161" fmla="*/ 2443556 h 2634056"/>
                <a:gd name="connsiteX162" fmla="*/ 5353050 w 5553075"/>
                <a:gd name="connsiteY162" fmla="*/ 2514994 h 2634056"/>
                <a:gd name="connsiteX163" fmla="*/ 5438775 w 5553075"/>
                <a:gd name="connsiteY163" fmla="*/ 2534044 h 2634056"/>
                <a:gd name="connsiteX164" fmla="*/ 5486400 w 5553075"/>
                <a:gd name="connsiteY164" fmla="*/ 2595956 h 2634056"/>
                <a:gd name="connsiteX165" fmla="*/ 5553075 w 5553075"/>
                <a:gd name="connsiteY165"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214313 w 5553075"/>
                <a:gd name="connsiteY8" fmla="*/ 533794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795338 w 5553075"/>
                <a:gd name="connsiteY26" fmla="*/ 233756 h 2634056"/>
                <a:gd name="connsiteX27" fmla="*/ 814388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43050 w 5553075"/>
                <a:gd name="connsiteY43" fmla="*/ 157556 h 2634056"/>
                <a:gd name="connsiteX44" fmla="*/ 1649413 w 5553075"/>
                <a:gd name="connsiteY44" fmla="*/ 18295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919288 w 5553075"/>
                <a:gd name="connsiteY51" fmla="*/ 86119 h 2634056"/>
                <a:gd name="connsiteX52" fmla="*/ 1949450 w 5553075"/>
                <a:gd name="connsiteY52" fmla="*/ 62306 h 2634056"/>
                <a:gd name="connsiteX53" fmla="*/ 1952625 w 5553075"/>
                <a:gd name="connsiteY53" fmla="*/ 394 h 2634056"/>
                <a:gd name="connsiteX54" fmla="*/ 2000250 w 5553075"/>
                <a:gd name="connsiteY54" fmla="*/ 38494 h 2634056"/>
                <a:gd name="connsiteX55" fmla="*/ 2019300 w 5553075"/>
                <a:gd name="connsiteY55" fmla="*/ 90881 h 2634056"/>
                <a:gd name="connsiteX56" fmla="*/ 2057400 w 5553075"/>
                <a:gd name="connsiteY56" fmla="*/ 57544 h 2634056"/>
                <a:gd name="connsiteX57" fmla="*/ 2081213 w 5553075"/>
                <a:gd name="connsiteY57" fmla="*/ 81356 h 2634056"/>
                <a:gd name="connsiteX58" fmla="*/ 2109788 w 5553075"/>
                <a:gd name="connsiteY58" fmla="*/ 48019 h 2634056"/>
                <a:gd name="connsiteX59" fmla="*/ 2138363 w 5553075"/>
                <a:gd name="connsiteY59" fmla="*/ 76594 h 2634056"/>
                <a:gd name="connsiteX60" fmla="*/ 2181225 w 5553075"/>
                <a:gd name="connsiteY60" fmla="*/ 81356 h 2634056"/>
                <a:gd name="connsiteX61" fmla="*/ 2195513 w 5553075"/>
                <a:gd name="connsiteY61" fmla="*/ 57544 h 2634056"/>
                <a:gd name="connsiteX62" fmla="*/ 2219325 w 5553075"/>
                <a:gd name="connsiteY62" fmla="*/ 86119 h 2634056"/>
                <a:gd name="connsiteX63" fmla="*/ 2252663 w 5553075"/>
                <a:gd name="connsiteY63" fmla="*/ 52781 h 2634056"/>
                <a:gd name="connsiteX64" fmla="*/ 2286000 w 5553075"/>
                <a:gd name="connsiteY64" fmla="*/ 100406 h 2634056"/>
                <a:gd name="connsiteX65" fmla="*/ 2333625 w 5553075"/>
                <a:gd name="connsiteY65" fmla="*/ 62306 h 2634056"/>
                <a:gd name="connsiteX66" fmla="*/ 2393950 w 5553075"/>
                <a:gd name="connsiteY66" fmla="*/ 65481 h 2634056"/>
                <a:gd name="connsiteX67" fmla="*/ 2419350 w 5553075"/>
                <a:gd name="connsiteY67" fmla="*/ 57544 h 2634056"/>
                <a:gd name="connsiteX68" fmla="*/ 2419350 w 5553075"/>
                <a:gd name="connsiteY68" fmla="*/ 105169 h 2634056"/>
                <a:gd name="connsiteX69" fmla="*/ 2462213 w 5553075"/>
                <a:gd name="connsiteY69" fmla="*/ 90881 h 2634056"/>
                <a:gd name="connsiteX70" fmla="*/ 2524125 w 5553075"/>
                <a:gd name="connsiteY70" fmla="*/ 95644 h 2634056"/>
                <a:gd name="connsiteX71" fmla="*/ 2543175 w 5553075"/>
                <a:gd name="connsiteY71" fmla="*/ 71831 h 2634056"/>
                <a:gd name="connsiteX72" fmla="*/ 2609850 w 5553075"/>
                <a:gd name="connsiteY72" fmla="*/ 105169 h 2634056"/>
                <a:gd name="connsiteX73" fmla="*/ 2692400 w 5553075"/>
                <a:gd name="connsiteY73" fmla="*/ 78181 h 2634056"/>
                <a:gd name="connsiteX74" fmla="*/ 2700338 w 5553075"/>
                <a:gd name="connsiteY74" fmla="*/ 52781 h 2634056"/>
                <a:gd name="connsiteX75" fmla="*/ 2724150 w 5553075"/>
                <a:gd name="connsiteY75" fmla="*/ 86119 h 2634056"/>
                <a:gd name="connsiteX76" fmla="*/ 2814638 w 5553075"/>
                <a:gd name="connsiteY76" fmla="*/ 71831 h 2634056"/>
                <a:gd name="connsiteX77" fmla="*/ 2836863 w 5553075"/>
                <a:gd name="connsiteY77" fmla="*/ 135331 h 2634056"/>
                <a:gd name="connsiteX78" fmla="*/ 2828925 w 5553075"/>
                <a:gd name="connsiteY78" fmla="*/ 176606 h 2634056"/>
                <a:gd name="connsiteX79" fmla="*/ 2895600 w 5553075"/>
                <a:gd name="connsiteY79" fmla="*/ 152794 h 2634056"/>
                <a:gd name="connsiteX80" fmla="*/ 2895600 w 5553075"/>
                <a:gd name="connsiteY80" fmla="*/ 195656 h 2634056"/>
                <a:gd name="connsiteX81" fmla="*/ 2933700 w 5553075"/>
                <a:gd name="connsiteY81" fmla="*/ 238519 h 2634056"/>
                <a:gd name="connsiteX82" fmla="*/ 2933700 w 5553075"/>
                <a:gd name="connsiteY82" fmla="*/ 195656 h 2634056"/>
                <a:gd name="connsiteX83" fmla="*/ 2986088 w 5553075"/>
                <a:gd name="connsiteY83" fmla="*/ 224231 h 2634056"/>
                <a:gd name="connsiteX84" fmla="*/ 3000375 w 5553075"/>
                <a:gd name="connsiteY84" fmla="*/ 248044 h 2634056"/>
                <a:gd name="connsiteX85" fmla="*/ 3057525 w 5553075"/>
                <a:gd name="connsiteY85" fmla="*/ 295669 h 2634056"/>
                <a:gd name="connsiteX86" fmla="*/ 3086100 w 5553075"/>
                <a:gd name="connsiteY86" fmla="*/ 303606 h 2634056"/>
                <a:gd name="connsiteX87" fmla="*/ 3138488 w 5553075"/>
                <a:gd name="connsiteY87" fmla="*/ 371869 h 2634056"/>
                <a:gd name="connsiteX88" fmla="*/ 3190875 w 5553075"/>
                <a:gd name="connsiteY88" fmla="*/ 424256 h 2634056"/>
                <a:gd name="connsiteX89" fmla="*/ 3214688 w 5553075"/>
                <a:gd name="connsiteY89" fmla="*/ 467119 h 2634056"/>
                <a:gd name="connsiteX90" fmla="*/ 3257550 w 5553075"/>
                <a:gd name="connsiteY90" fmla="*/ 471881 h 2634056"/>
                <a:gd name="connsiteX91" fmla="*/ 3319463 w 5553075"/>
                <a:gd name="connsiteY91" fmla="*/ 529031 h 2634056"/>
                <a:gd name="connsiteX92" fmla="*/ 3281363 w 5553075"/>
                <a:gd name="connsiteY92" fmla="*/ 546494 h 2634056"/>
                <a:gd name="connsiteX93" fmla="*/ 3281363 w 5553075"/>
                <a:gd name="connsiteY93" fmla="*/ 567131 h 2634056"/>
                <a:gd name="connsiteX94" fmla="*/ 3319463 w 5553075"/>
                <a:gd name="connsiteY94" fmla="*/ 581419 h 2634056"/>
                <a:gd name="connsiteX95" fmla="*/ 3286125 w 5553075"/>
                <a:gd name="connsiteY95" fmla="*/ 633806 h 2634056"/>
                <a:gd name="connsiteX96" fmla="*/ 3352800 w 5553075"/>
                <a:gd name="connsiteY96" fmla="*/ 629044 h 2634056"/>
                <a:gd name="connsiteX97" fmla="*/ 3381375 w 5553075"/>
                <a:gd name="connsiteY97" fmla="*/ 667144 h 2634056"/>
                <a:gd name="connsiteX98" fmla="*/ 3419475 w 5553075"/>
                <a:gd name="connsiteY98" fmla="*/ 686194 h 2634056"/>
                <a:gd name="connsiteX99" fmla="*/ 3429000 w 5553075"/>
                <a:gd name="connsiteY99" fmla="*/ 714769 h 2634056"/>
                <a:gd name="connsiteX100" fmla="*/ 3429000 w 5553075"/>
                <a:gd name="connsiteY100" fmla="*/ 738581 h 2634056"/>
                <a:gd name="connsiteX101" fmla="*/ 3457575 w 5553075"/>
                <a:gd name="connsiteY101" fmla="*/ 805256 h 2634056"/>
                <a:gd name="connsiteX102" fmla="*/ 3514725 w 5553075"/>
                <a:gd name="connsiteY102" fmla="*/ 762394 h 2634056"/>
                <a:gd name="connsiteX103" fmla="*/ 3557588 w 5553075"/>
                <a:gd name="connsiteY103" fmla="*/ 752869 h 2634056"/>
                <a:gd name="connsiteX104" fmla="*/ 3595688 w 5553075"/>
                <a:gd name="connsiteY104" fmla="*/ 738581 h 2634056"/>
                <a:gd name="connsiteX105" fmla="*/ 3629025 w 5553075"/>
                <a:gd name="connsiteY105" fmla="*/ 700481 h 2634056"/>
                <a:gd name="connsiteX106" fmla="*/ 3648075 w 5553075"/>
                <a:gd name="connsiteY106" fmla="*/ 719531 h 2634056"/>
                <a:gd name="connsiteX107" fmla="*/ 3638550 w 5553075"/>
                <a:gd name="connsiteY107" fmla="*/ 757631 h 2634056"/>
                <a:gd name="connsiteX108" fmla="*/ 3657600 w 5553075"/>
                <a:gd name="connsiteY108" fmla="*/ 805256 h 2634056"/>
                <a:gd name="connsiteX109" fmla="*/ 3705225 w 5553075"/>
                <a:gd name="connsiteY109" fmla="*/ 805256 h 2634056"/>
                <a:gd name="connsiteX110" fmla="*/ 3771900 w 5553075"/>
                <a:gd name="connsiteY110" fmla="*/ 790969 h 2634056"/>
                <a:gd name="connsiteX111" fmla="*/ 3824288 w 5553075"/>
                <a:gd name="connsiteY111" fmla="*/ 767156 h 2634056"/>
                <a:gd name="connsiteX112" fmla="*/ 3814763 w 5553075"/>
                <a:gd name="connsiteY112" fmla="*/ 767156 h 2634056"/>
                <a:gd name="connsiteX113" fmla="*/ 3876675 w 5553075"/>
                <a:gd name="connsiteY113" fmla="*/ 776681 h 2634056"/>
                <a:gd name="connsiteX114" fmla="*/ 3929063 w 5553075"/>
                <a:gd name="connsiteY114" fmla="*/ 757631 h 2634056"/>
                <a:gd name="connsiteX115" fmla="*/ 3905250 w 5553075"/>
                <a:gd name="connsiteY115" fmla="*/ 805256 h 2634056"/>
                <a:gd name="connsiteX116" fmla="*/ 3914775 w 5553075"/>
                <a:gd name="connsiteY116" fmla="*/ 838594 h 2634056"/>
                <a:gd name="connsiteX117" fmla="*/ 3957638 w 5553075"/>
                <a:gd name="connsiteY117" fmla="*/ 805256 h 2634056"/>
                <a:gd name="connsiteX118" fmla="*/ 3986213 w 5553075"/>
                <a:gd name="connsiteY118" fmla="*/ 848119 h 2634056"/>
                <a:gd name="connsiteX119" fmla="*/ 4078288 w 5553075"/>
                <a:gd name="connsiteY119" fmla="*/ 895744 h 2634056"/>
                <a:gd name="connsiteX120" fmla="*/ 4071938 w 5553075"/>
                <a:gd name="connsiteY120" fmla="*/ 962419 h 2634056"/>
                <a:gd name="connsiteX121" fmla="*/ 4116388 w 5553075"/>
                <a:gd name="connsiteY121" fmla="*/ 1025919 h 2634056"/>
                <a:gd name="connsiteX122" fmla="*/ 4144963 w 5553075"/>
                <a:gd name="connsiteY122" fmla="*/ 1068781 h 2634056"/>
                <a:gd name="connsiteX123" fmla="*/ 4137025 w 5553075"/>
                <a:gd name="connsiteY123" fmla="*/ 1097356 h 2634056"/>
                <a:gd name="connsiteX124" fmla="*/ 4157663 w 5553075"/>
                <a:gd name="connsiteY124" fmla="*/ 1124344 h 2634056"/>
                <a:gd name="connsiteX125" fmla="*/ 4162425 w 5553075"/>
                <a:gd name="connsiteY125" fmla="*/ 1200544 h 2634056"/>
                <a:gd name="connsiteX126" fmla="*/ 4195763 w 5553075"/>
                <a:gd name="connsiteY126" fmla="*/ 1229119 h 2634056"/>
                <a:gd name="connsiteX127" fmla="*/ 4176713 w 5553075"/>
                <a:gd name="connsiteY127" fmla="*/ 1262456 h 2634056"/>
                <a:gd name="connsiteX128" fmla="*/ 4191000 w 5553075"/>
                <a:gd name="connsiteY128" fmla="*/ 1286269 h 2634056"/>
                <a:gd name="connsiteX129" fmla="*/ 4286250 w 5553075"/>
                <a:gd name="connsiteY129" fmla="*/ 1356119 h 2634056"/>
                <a:gd name="connsiteX130" fmla="*/ 4275138 w 5553075"/>
                <a:gd name="connsiteY130" fmla="*/ 1395806 h 2634056"/>
                <a:gd name="connsiteX131" fmla="*/ 4229100 w 5553075"/>
                <a:gd name="connsiteY131" fmla="*/ 1395806 h 2634056"/>
                <a:gd name="connsiteX132" fmla="*/ 4271963 w 5553075"/>
                <a:gd name="connsiteY132" fmla="*/ 1481531 h 2634056"/>
                <a:gd name="connsiteX133" fmla="*/ 4329113 w 5553075"/>
                <a:gd name="connsiteY133" fmla="*/ 1470419 h 2634056"/>
                <a:gd name="connsiteX134" fmla="*/ 4384675 w 5553075"/>
                <a:gd name="connsiteY134" fmla="*/ 1500581 h 2634056"/>
                <a:gd name="connsiteX135" fmla="*/ 4445000 w 5553075"/>
                <a:gd name="connsiteY135" fmla="*/ 1535506 h 2634056"/>
                <a:gd name="connsiteX136" fmla="*/ 4438650 w 5553075"/>
                <a:gd name="connsiteY136" fmla="*/ 1562494 h 2634056"/>
                <a:gd name="connsiteX137" fmla="*/ 4432300 w 5553075"/>
                <a:gd name="connsiteY137" fmla="*/ 1632344 h 2634056"/>
                <a:gd name="connsiteX138" fmla="*/ 4500563 w 5553075"/>
                <a:gd name="connsiteY138" fmla="*/ 1672031 h 2634056"/>
                <a:gd name="connsiteX139" fmla="*/ 4565650 w 5553075"/>
                <a:gd name="connsiteY139" fmla="*/ 1652981 h 2634056"/>
                <a:gd name="connsiteX140" fmla="*/ 4605338 w 5553075"/>
                <a:gd name="connsiteY140" fmla="*/ 1638694 h 2634056"/>
                <a:gd name="connsiteX141" fmla="*/ 4619625 w 5553075"/>
                <a:gd name="connsiteY141" fmla="*/ 1686319 h 2634056"/>
                <a:gd name="connsiteX142" fmla="*/ 4657725 w 5553075"/>
                <a:gd name="connsiteY142" fmla="*/ 1710131 h 2634056"/>
                <a:gd name="connsiteX143" fmla="*/ 4629150 w 5553075"/>
                <a:gd name="connsiteY143" fmla="*/ 1757756 h 2634056"/>
                <a:gd name="connsiteX144" fmla="*/ 4652963 w 5553075"/>
                <a:gd name="connsiteY144" fmla="*/ 1814906 h 2634056"/>
                <a:gd name="connsiteX145" fmla="*/ 4681538 w 5553075"/>
                <a:gd name="connsiteY145" fmla="*/ 1848244 h 2634056"/>
                <a:gd name="connsiteX146" fmla="*/ 4767263 w 5553075"/>
                <a:gd name="connsiteY146" fmla="*/ 1891106 h 2634056"/>
                <a:gd name="connsiteX147" fmla="*/ 4776788 w 5553075"/>
                <a:gd name="connsiteY147" fmla="*/ 1967306 h 2634056"/>
                <a:gd name="connsiteX148" fmla="*/ 4705350 w 5553075"/>
                <a:gd name="connsiteY148" fmla="*/ 1938731 h 2634056"/>
                <a:gd name="connsiteX149" fmla="*/ 4695825 w 5553075"/>
                <a:gd name="connsiteY149" fmla="*/ 1972069 h 2634056"/>
                <a:gd name="connsiteX150" fmla="*/ 4743450 w 5553075"/>
                <a:gd name="connsiteY150" fmla="*/ 2014931 h 2634056"/>
                <a:gd name="connsiteX151" fmla="*/ 4776788 w 5553075"/>
                <a:gd name="connsiteY151" fmla="*/ 2033981 h 2634056"/>
                <a:gd name="connsiteX152" fmla="*/ 4810125 w 5553075"/>
                <a:gd name="connsiteY152" fmla="*/ 2010169 h 2634056"/>
                <a:gd name="connsiteX153" fmla="*/ 4843463 w 5553075"/>
                <a:gd name="connsiteY153" fmla="*/ 2024456 h 2634056"/>
                <a:gd name="connsiteX154" fmla="*/ 4838700 w 5553075"/>
                <a:gd name="connsiteY154" fmla="*/ 2095894 h 2634056"/>
                <a:gd name="connsiteX155" fmla="*/ 4972050 w 5553075"/>
                <a:gd name="connsiteY155" fmla="*/ 2191144 h 2634056"/>
                <a:gd name="connsiteX156" fmla="*/ 4995863 w 5553075"/>
                <a:gd name="connsiteY156" fmla="*/ 2167331 h 2634056"/>
                <a:gd name="connsiteX157" fmla="*/ 5081588 w 5553075"/>
                <a:gd name="connsiteY157" fmla="*/ 2186381 h 2634056"/>
                <a:gd name="connsiteX158" fmla="*/ 5124450 w 5553075"/>
                <a:gd name="connsiteY158" fmla="*/ 2253056 h 2634056"/>
                <a:gd name="connsiteX159" fmla="*/ 5248275 w 5553075"/>
                <a:gd name="connsiteY159" fmla="*/ 2295919 h 2634056"/>
                <a:gd name="connsiteX160" fmla="*/ 5281613 w 5553075"/>
                <a:gd name="connsiteY160" fmla="*/ 2362594 h 2634056"/>
                <a:gd name="connsiteX161" fmla="*/ 5276850 w 5553075"/>
                <a:gd name="connsiteY161" fmla="*/ 2443556 h 2634056"/>
                <a:gd name="connsiteX162" fmla="*/ 5353050 w 5553075"/>
                <a:gd name="connsiteY162" fmla="*/ 2514994 h 2634056"/>
                <a:gd name="connsiteX163" fmla="*/ 5438775 w 5553075"/>
                <a:gd name="connsiteY163" fmla="*/ 2534044 h 2634056"/>
                <a:gd name="connsiteX164" fmla="*/ 5486400 w 5553075"/>
                <a:gd name="connsiteY164" fmla="*/ 2595956 h 2634056"/>
                <a:gd name="connsiteX165" fmla="*/ 5553075 w 5553075"/>
                <a:gd name="connsiteY165"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214313 w 5553075"/>
                <a:gd name="connsiteY8" fmla="*/ 533794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795338 w 5553075"/>
                <a:gd name="connsiteY26" fmla="*/ 233756 h 2634056"/>
                <a:gd name="connsiteX27" fmla="*/ 814388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919288 w 5553075"/>
                <a:gd name="connsiteY52" fmla="*/ 86119 h 2634056"/>
                <a:gd name="connsiteX53" fmla="*/ 1949450 w 5553075"/>
                <a:gd name="connsiteY53" fmla="*/ 62306 h 2634056"/>
                <a:gd name="connsiteX54" fmla="*/ 1952625 w 5553075"/>
                <a:gd name="connsiteY54" fmla="*/ 394 h 2634056"/>
                <a:gd name="connsiteX55" fmla="*/ 2000250 w 5553075"/>
                <a:gd name="connsiteY55" fmla="*/ 38494 h 2634056"/>
                <a:gd name="connsiteX56" fmla="*/ 2019300 w 5553075"/>
                <a:gd name="connsiteY56" fmla="*/ 90881 h 2634056"/>
                <a:gd name="connsiteX57" fmla="*/ 2057400 w 5553075"/>
                <a:gd name="connsiteY57" fmla="*/ 57544 h 2634056"/>
                <a:gd name="connsiteX58" fmla="*/ 2081213 w 5553075"/>
                <a:gd name="connsiteY58" fmla="*/ 81356 h 2634056"/>
                <a:gd name="connsiteX59" fmla="*/ 2109788 w 5553075"/>
                <a:gd name="connsiteY59" fmla="*/ 48019 h 2634056"/>
                <a:gd name="connsiteX60" fmla="*/ 2138363 w 5553075"/>
                <a:gd name="connsiteY60" fmla="*/ 76594 h 2634056"/>
                <a:gd name="connsiteX61" fmla="*/ 2181225 w 5553075"/>
                <a:gd name="connsiteY61" fmla="*/ 81356 h 2634056"/>
                <a:gd name="connsiteX62" fmla="*/ 2195513 w 5553075"/>
                <a:gd name="connsiteY62" fmla="*/ 57544 h 2634056"/>
                <a:gd name="connsiteX63" fmla="*/ 2219325 w 5553075"/>
                <a:gd name="connsiteY63" fmla="*/ 86119 h 2634056"/>
                <a:gd name="connsiteX64" fmla="*/ 2252663 w 5553075"/>
                <a:gd name="connsiteY64" fmla="*/ 52781 h 2634056"/>
                <a:gd name="connsiteX65" fmla="*/ 2286000 w 5553075"/>
                <a:gd name="connsiteY65" fmla="*/ 100406 h 2634056"/>
                <a:gd name="connsiteX66" fmla="*/ 2333625 w 5553075"/>
                <a:gd name="connsiteY66" fmla="*/ 62306 h 2634056"/>
                <a:gd name="connsiteX67" fmla="*/ 2393950 w 5553075"/>
                <a:gd name="connsiteY67" fmla="*/ 65481 h 2634056"/>
                <a:gd name="connsiteX68" fmla="*/ 2419350 w 5553075"/>
                <a:gd name="connsiteY68" fmla="*/ 57544 h 2634056"/>
                <a:gd name="connsiteX69" fmla="*/ 2419350 w 5553075"/>
                <a:gd name="connsiteY69" fmla="*/ 105169 h 2634056"/>
                <a:gd name="connsiteX70" fmla="*/ 2462213 w 5553075"/>
                <a:gd name="connsiteY70" fmla="*/ 90881 h 2634056"/>
                <a:gd name="connsiteX71" fmla="*/ 2524125 w 5553075"/>
                <a:gd name="connsiteY71" fmla="*/ 95644 h 2634056"/>
                <a:gd name="connsiteX72" fmla="*/ 2543175 w 5553075"/>
                <a:gd name="connsiteY72" fmla="*/ 71831 h 2634056"/>
                <a:gd name="connsiteX73" fmla="*/ 2609850 w 5553075"/>
                <a:gd name="connsiteY73" fmla="*/ 105169 h 2634056"/>
                <a:gd name="connsiteX74" fmla="*/ 2692400 w 5553075"/>
                <a:gd name="connsiteY74" fmla="*/ 78181 h 2634056"/>
                <a:gd name="connsiteX75" fmla="*/ 2700338 w 5553075"/>
                <a:gd name="connsiteY75" fmla="*/ 52781 h 2634056"/>
                <a:gd name="connsiteX76" fmla="*/ 2724150 w 5553075"/>
                <a:gd name="connsiteY76" fmla="*/ 86119 h 2634056"/>
                <a:gd name="connsiteX77" fmla="*/ 2814638 w 5553075"/>
                <a:gd name="connsiteY77" fmla="*/ 71831 h 2634056"/>
                <a:gd name="connsiteX78" fmla="*/ 2836863 w 5553075"/>
                <a:gd name="connsiteY78" fmla="*/ 135331 h 2634056"/>
                <a:gd name="connsiteX79" fmla="*/ 2828925 w 5553075"/>
                <a:gd name="connsiteY79" fmla="*/ 176606 h 2634056"/>
                <a:gd name="connsiteX80" fmla="*/ 2895600 w 5553075"/>
                <a:gd name="connsiteY80" fmla="*/ 152794 h 2634056"/>
                <a:gd name="connsiteX81" fmla="*/ 2895600 w 5553075"/>
                <a:gd name="connsiteY81" fmla="*/ 195656 h 2634056"/>
                <a:gd name="connsiteX82" fmla="*/ 2933700 w 5553075"/>
                <a:gd name="connsiteY82" fmla="*/ 238519 h 2634056"/>
                <a:gd name="connsiteX83" fmla="*/ 2933700 w 5553075"/>
                <a:gd name="connsiteY83" fmla="*/ 195656 h 2634056"/>
                <a:gd name="connsiteX84" fmla="*/ 2986088 w 5553075"/>
                <a:gd name="connsiteY84" fmla="*/ 224231 h 2634056"/>
                <a:gd name="connsiteX85" fmla="*/ 3000375 w 5553075"/>
                <a:gd name="connsiteY85" fmla="*/ 248044 h 2634056"/>
                <a:gd name="connsiteX86" fmla="*/ 3057525 w 5553075"/>
                <a:gd name="connsiteY86" fmla="*/ 295669 h 2634056"/>
                <a:gd name="connsiteX87" fmla="*/ 3086100 w 5553075"/>
                <a:gd name="connsiteY87" fmla="*/ 303606 h 2634056"/>
                <a:gd name="connsiteX88" fmla="*/ 3138488 w 5553075"/>
                <a:gd name="connsiteY88" fmla="*/ 371869 h 2634056"/>
                <a:gd name="connsiteX89" fmla="*/ 3190875 w 5553075"/>
                <a:gd name="connsiteY89" fmla="*/ 424256 h 2634056"/>
                <a:gd name="connsiteX90" fmla="*/ 3214688 w 5553075"/>
                <a:gd name="connsiteY90" fmla="*/ 467119 h 2634056"/>
                <a:gd name="connsiteX91" fmla="*/ 3257550 w 5553075"/>
                <a:gd name="connsiteY91" fmla="*/ 471881 h 2634056"/>
                <a:gd name="connsiteX92" fmla="*/ 3319463 w 5553075"/>
                <a:gd name="connsiteY92" fmla="*/ 529031 h 2634056"/>
                <a:gd name="connsiteX93" fmla="*/ 3281363 w 5553075"/>
                <a:gd name="connsiteY93" fmla="*/ 546494 h 2634056"/>
                <a:gd name="connsiteX94" fmla="*/ 3281363 w 5553075"/>
                <a:gd name="connsiteY94" fmla="*/ 567131 h 2634056"/>
                <a:gd name="connsiteX95" fmla="*/ 3319463 w 5553075"/>
                <a:gd name="connsiteY95" fmla="*/ 581419 h 2634056"/>
                <a:gd name="connsiteX96" fmla="*/ 3286125 w 5553075"/>
                <a:gd name="connsiteY96" fmla="*/ 633806 h 2634056"/>
                <a:gd name="connsiteX97" fmla="*/ 3352800 w 5553075"/>
                <a:gd name="connsiteY97" fmla="*/ 629044 h 2634056"/>
                <a:gd name="connsiteX98" fmla="*/ 3381375 w 5553075"/>
                <a:gd name="connsiteY98" fmla="*/ 667144 h 2634056"/>
                <a:gd name="connsiteX99" fmla="*/ 3419475 w 5553075"/>
                <a:gd name="connsiteY99" fmla="*/ 686194 h 2634056"/>
                <a:gd name="connsiteX100" fmla="*/ 3429000 w 5553075"/>
                <a:gd name="connsiteY100" fmla="*/ 714769 h 2634056"/>
                <a:gd name="connsiteX101" fmla="*/ 3429000 w 5553075"/>
                <a:gd name="connsiteY101" fmla="*/ 738581 h 2634056"/>
                <a:gd name="connsiteX102" fmla="*/ 3457575 w 5553075"/>
                <a:gd name="connsiteY102" fmla="*/ 805256 h 2634056"/>
                <a:gd name="connsiteX103" fmla="*/ 3514725 w 5553075"/>
                <a:gd name="connsiteY103" fmla="*/ 762394 h 2634056"/>
                <a:gd name="connsiteX104" fmla="*/ 3557588 w 5553075"/>
                <a:gd name="connsiteY104" fmla="*/ 752869 h 2634056"/>
                <a:gd name="connsiteX105" fmla="*/ 3595688 w 5553075"/>
                <a:gd name="connsiteY105" fmla="*/ 738581 h 2634056"/>
                <a:gd name="connsiteX106" fmla="*/ 3629025 w 5553075"/>
                <a:gd name="connsiteY106" fmla="*/ 700481 h 2634056"/>
                <a:gd name="connsiteX107" fmla="*/ 3648075 w 5553075"/>
                <a:gd name="connsiteY107" fmla="*/ 719531 h 2634056"/>
                <a:gd name="connsiteX108" fmla="*/ 3638550 w 5553075"/>
                <a:gd name="connsiteY108" fmla="*/ 757631 h 2634056"/>
                <a:gd name="connsiteX109" fmla="*/ 3657600 w 5553075"/>
                <a:gd name="connsiteY109" fmla="*/ 805256 h 2634056"/>
                <a:gd name="connsiteX110" fmla="*/ 3705225 w 5553075"/>
                <a:gd name="connsiteY110" fmla="*/ 805256 h 2634056"/>
                <a:gd name="connsiteX111" fmla="*/ 3771900 w 5553075"/>
                <a:gd name="connsiteY111" fmla="*/ 790969 h 2634056"/>
                <a:gd name="connsiteX112" fmla="*/ 3824288 w 5553075"/>
                <a:gd name="connsiteY112" fmla="*/ 767156 h 2634056"/>
                <a:gd name="connsiteX113" fmla="*/ 3814763 w 5553075"/>
                <a:gd name="connsiteY113" fmla="*/ 767156 h 2634056"/>
                <a:gd name="connsiteX114" fmla="*/ 3876675 w 5553075"/>
                <a:gd name="connsiteY114" fmla="*/ 776681 h 2634056"/>
                <a:gd name="connsiteX115" fmla="*/ 3929063 w 5553075"/>
                <a:gd name="connsiteY115" fmla="*/ 757631 h 2634056"/>
                <a:gd name="connsiteX116" fmla="*/ 3905250 w 5553075"/>
                <a:gd name="connsiteY116" fmla="*/ 805256 h 2634056"/>
                <a:gd name="connsiteX117" fmla="*/ 3914775 w 5553075"/>
                <a:gd name="connsiteY117" fmla="*/ 838594 h 2634056"/>
                <a:gd name="connsiteX118" fmla="*/ 3957638 w 5553075"/>
                <a:gd name="connsiteY118" fmla="*/ 805256 h 2634056"/>
                <a:gd name="connsiteX119" fmla="*/ 3986213 w 5553075"/>
                <a:gd name="connsiteY119" fmla="*/ 848119 h 2634056"/>
                <a:gd name="connsiteX120" fmla="*/ 4078288 w 5553075"/>
                <a:gd name="connsiteY120" fmla="*/ 895744 h 2634056"/>
                <a:gd name="connsiteX121" fmla="*/ 4071938 w 5553075"/>
                <a:gd name="connsiteY121" fmla="*/ 962419 h 2634056"/>
                <a:gd name="connsiteX122" fmla="*/ 4116388 w 5553075"/>
                <a:gd name="connsiteY122" fmla="*/ 1025919 h 2634056"/>
                <a:gd name="connsiteX123" fmla="*/ 4144963 w 5553075"/>
                <a:gd name="connsiteY123" fmla="*/ 1068781 h 2634056"/>
                <a:gd name="connsiteX124" fmla="*/ 4137025 w 5553075"/>
                <a:gd name="connsiteY124" fmla="*/ 1097356 h 2634056"/>
                <a:gd name="connsiteX125" fmla="*/ 4157663 w 5553075"/>
                <a:gd name="connsiteY125" fmla="*/ 1124344 h 2634056"/>
                <a:gd name="connsiteX126" fmla="*/ 4162425 w 5553075"/>
                <a:gd name="connsiteY126" fmla="*/ 1200544 h 2634056"/>
                <a:gd name="connsiteX127" fmla="*/ 4195763 w 5553075"/>
                <a:gd name="connsiteY127" fmla="*/ 1229119 h 2634056"/>
                <a:gd name="connsiteX128" fmla="*/ 4176713 w 5553075"/>
                <a:gd name="connsiteY128" fmla="*/ 1262456 h 2634056"/>
                <a:gd name="connsiteX129" fmla="*/ 4191000 w 5553075"/>
                <a:gd name="connsiteY129" fmla="*/ 1286269 h 2634056"/>
                <a:gd name="connsiteX130" fmla="*/ 4286250 w 5553075"/>
                <a:gd name="connsiteY130" fmla="*/ 1356119 h 2634056"/>
                <a:gd name="connsiteX131" fmla="*/ 4275138 w 5553075"/>
                <a:gd name="connsiteY131" fmla="*/ 1395806 h 2634056"/>
                <a:gd name="connsiteX132" fmla="*/ 4229100 w 5553075"/>
                <a:gd name="connsiteY132" fmla="*/ 1395806 h 2634056"/>
                <a:gd name="connsiteX133" fmla="*/ 4271963 w 5553075"/>
                <a:gd name="connsiteY133" fmla="*/ 1481531 h 2634056"/>
                <a:gd name="connsiteX134" fmla="*/ 4329113 w 5553075"/>
                <a:gd name="connsiteY134" fmla="*/ 1470419 h 2634056"/>
                <a:gd name="connsiteX135" fmla="*/ 4384675 w 5553075"/>
                <a:gd name="connsiteY135" fmla="*/ 1500581 h 2634056"/>
                <a:gd name="connsiteX136" fmla="*/ 4445000 w 5553075"/>
                <a:gd name="connsiteY136" fmla="*/ 1535506 h 2634056"/>
                <a:gd name="connsiteX137" fmla="*/ 4438650 w 5553075"/>
                <a:gd name="connsiteY137" fmla="*/ 1562494 h 2634056"/>
                <a:gd name="connsiteX138" fmla="*/ 4432300 w 5553075"/>
                <a:gd name="connsiteY138" fmla="*/ 1632344 h 2634056"/>
                <a:gd name="connsiteX139" fmla="*/ 4500563 w 5553075"/>
                <a:gd name="connsiteY139" fmla="*/ 1672031 h 2634056"/>
                <a:gd name="connsiteX140" fmla="*/ 4565650 w 5553075"/>
                <a:gd name="connsiteY140" fmla="*/ 1652981 h 2634056"/>
                <a:gd name="connsiteX141" fmla="*/ 4605338 w 5553075"/>
                <a:gd name="connsiteY141" fmla="*/ 1638694 h 2634056"/>
                <a:gd name="connsiteX142" fmla="*/ 4619625 w 5553075"/>
                <a:gd name="connsiteY142" fmla="*/ 1686319 h 2634056"/>
                <a:gd name="connsiteX143" fmla="*/ 4657725 w 5553075"/>
                <a:gd name="connsiteY143" fmla="*/ 1710131 h 2634056"/>
                <a:gd name="connsiteX144" fmla="*/ 4629150 w 5553075"/>
                <a:gd name="connsiteY144" fmla="*/ 1757756 h 2634056"/>
                <a:gd name="connsiteX145" fmla="*/ 4652963 w 5553075"/>
                <a:gd name="connsiteY145" fmla="*/ 1814906 h 2634056"/>
                <a:gd name="connsiteX146" fmla="*/ 4681538 w 5553075"/>
                <a:gd name="connsiteY146" fmla="*/ 1848244 h 2634056"/>
                <a:gd name="connsiteX147" fmla="*/ 4767263 w 5553075"/>
                <a:gd name="connsiteY147" fmla="*/ 1891106 h 2634056"/>
                <a:gd name="connsiteX148" fmla="*/ 4776788 w 5553075"/>
                <a:gd name="connsiteY148" fmla="*/ 1967306 h 2634056"/>
                <a:gd name="connsiteX149" fmla="*/ 4705350 w 5553075"/>
                <a:gd name="connsiteY149" fmla="*/ 1938731 h 2634056"/>
                <a:gd name="connsiteX150" fmla="*/ 4695825 w 5553075"/>
                <a:gd name="connsiteY150" fmla="*/ 1972069 h 2634056"/>
                <a:gd name="connsiteX151" fmla="*/ 4743450 w 5553075"/>
                <a:gd name="connsiteY151" fmla="*/ 2014931 h 2634056"/>
                <a:gd name="connsiteX152" fmla="*/ 4776788 w 5553075"/>
                <a:gd name="connsiteY152" fmla="*/ 2033981 h 2634056"/>
                <a:gd name="connsiteX153" fmla="*/ 4810125 w 5553075"/>
                <a:gd name="connsiteY153" fmla="*/ 2010169 h 2634056"/>
                <a:gd name="connsiteX154" fmla="*/ 4843463 w 5553075"/>
                <a:gd name="connsiteY154" fmla="*/ 2024456 h 2634056"/>
                <a:gd name="connsiteX155" fmla="*/ 4838700 w 5553075"/>
                <a:gd name="connsiteY155" fmla="*/ 2095894 h 2634056"/>
                <a:gd name="connsiteX156" fmla="*/ 4972050 w 5553075"/>
                <a:gd name="connsiteY156" fmla="*/ 2191144 h 2634056"/>
                <a:gd name="connsiteX157" fmla="*/ 4995863 w 5553075"/>
                <a:gd name="connsiteY157" fmla="*/ 2167331 h 2634056"/>
                <a:gd name="connsiteX158" fmla="*/ 5081588 w 5553075"/>
                <a:gd name="connsiteY158" fmla="*/ 2186381 h 2634056"/>
                <a:gd name="connsiteX159" fmla="*/ 5124450 w 5553075"/>
                <a:gd name="connsiteY159" fmla="*/ 2253056 h 2634056"/>
                <a:gd name="connsiteX160" fmla="*/ 5248275 w 5553075"/>
                <a:gd name="connsiteY160" fmla="*/ 2295919 h 2634056"/>
                <a:gd name="connsiteX161" fmla="*/ 5281613 w 5553075"/>
                <a:gd name="connsiteY161" fmla="*/ 2362594 h 2634056"/>
                <a:gd name="connsiteX162" fmla="*/ 5276850 w 5553075"/>
                <a:gd name="connsiteY162" fmla="*/ 2443556 h 2634056"/>
                <a:gd name="connsiteX163" fmla="*/ 5353050 w 5553075"/>
                <a:gd name="connsiteY163" fmla="*/ 2514994 h 2634056"/>
                <a:gd name="connsiteX164" fmla="*/ 5438775 w 5553075"/>
                <a:gd name="connsiteY164" fmla="*/ 2534044 h 2634056"/>
                <a:gd name="connsiteX165" fmla="*/ 5486400 w 5553075"/>
                <a:gd name="connsiteY165" fmla="*/ 2595956 h 2634056"/>
                <a:gd name="connsiteX166" fmla="*/ 5553075 w 5553075"/>
                <a:gd name="connsiteY166"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214313 w 5553075"/>
                <a:gd name="connsiteY8" fmla="*/ 533794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4388 w 5553075"/>
                <a:gd name="connsiteY26" fmla="*/ 271856 h 2634056"/>
                <a:gd name="connsiteX27" fmla="*/ 890588 w 5553075"/>
                <a:gd name="connsiteY27" fmla="*/ 257569 h 2634056"/>
                <a:gd name="connsiteX28" fmla="*/ 928688 w 5553075"/>
                <a:gd name="connsiteY28" fmla="*/ 271856 h 2634056"/>
                <a:gd name="connsiteX29" fmla="*/ 976313 w 5553075"/>
                <a:gd name="connsiteY29" fmla="*/ 286144 h 2634056"/>
                <a:gd name="connsiteX30" fmla="*/ 1019175 w 5553075"/>
                <a:gd name="connsiteY30" fmla="*/ 305194 h 2634056"/>
                <a:gd name="connsiteX31" fmla="*/ 1123950 w 5553075"/>
                <a:gd name="connsiteY31" fmla="*/ 276619 h 2634056"/>
                <a:gd name="connsiteX32" fmla="*/ 1128713 w 5553075"/>
                <a:gd name="connsiteY32" fmla="*/ 214706 h 2634056"/>
                <a:gd name="connsiteX33" fmla="*/ 1190625 w 5553075"/>
                <a:gd name="connsiteY33" fmla="*/ 243281 h 2634056"/>
                <a:gd name="connsiteX34" fmla="*/ 1252538 w 5553075"/>
                <a:gd name="connsiteY34" fmla="*/ 243281 h 2634056"/>
                <a:gd name="connsiteX35" fmla="*/ 1281113 w 5553075"/>
                <a:gd name="connsiteY35" fmla="*/ 209944 h 2634056"/>
                <a:gd name="connsiteX36" fmla="*/ 1276350 w 5553075"/>
                <a:gd name="connsiteY36" fmla="*/ 181369 h 2634056"/>
                <a:gd name="connsiteX37" fmla="*/ 1309688 w 5553075"/>
                <a:gd name="connsiteY37" fmla="*/ 162319 h 2634056"/>
                <a:gd name="connsiteX38" fmla="*/ 1328738 w 5553075"/>
                <a:gd name="connsiteY38" fmla="*/ 138506 h 2634056"/>
                <a:gd name="connsiteX39" fmla="*/ 1366838 w 5553075"/>
                <a:gd name="connsiteY39" fmla="*/ 152794 h 2634056"/>
                <a:gd name="connsiteX40" fmla="*/ 1400175 w 5553075"/>
                <a:gd name="connsiteY40" fmla="*/ 209944 h 2634056"/>
                <a:gd name="connsiteX41" fmla="*/ 1466850 w 5553075"/>
                <a:gd name="connsiteY41" fmla="*/ 181369 h 2634056"/>
                <a:gd name="connsiteX42" fmla="*/ 1511300 w 5553075"/>
                <a:gd name="connsiteY42" fmla="*/ 182956 h 2634056"/>
                <a:gd name="connsiteX43" fmla="*/ 1543050 w 5553075"/>
                <a:gd name="connsiteY43" fmla="*/ 157556 h 2634056"/>
                <a:gd name="connsiteX44" fmla="*/ 1649413 w 5553075"/>
                <a:gd name="connsiteY44" fmla="*/ 18295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919288 w 5553075"/>
                <a:gd name="connsiteY51" fmla="*/ 86119 h 2634056"/>
                <a:gd name="connsiteX52" fmla="*/ 1949450 w 5553075"/>
                <a:gd name="connsiteY52" fmla="*/ 62306 h 2634056"/>
                <a:gd name="connsiteX53" fmla="*/ 1952625 w 5553075"/>
                <a:gd name="connsiteY53" fmla="*/ 394 h 2634056"/>
                <a:gd name="connsiteX54" fmla="*/ 2000250 w 5553075"/>
                <a:gd name="connsiteY54" fmla="*/ 38494 h 2634056"/>
                <a:gd name="connsiteX55" fmla="*/ 2019300 w 5553075"/>
                <a:gd name="connsiteY55" fmla="*/ 90881 h 2634056"/>
                <a:gd name="connsiteX56" fmla="*/ 2057400 w 5553075"/>
                <a:gd name="connsiteY56" fmla="*/ 57544 h 2634056"/>
                <a:gd name="connsiteX57" fmla="*/ 2081213 w 5553075"/>
                <a:gd name="connsiteY57" fmla="*/ 81356 h 2634056"/>
                <a:gd name="connsiteX58" fmla="*/ 2109788 w 5553075"/>
                <a:gd name="connsiteY58" fmla="*/ 48019 h 2634056"/>
                <a:gd name="connsiteX59" fmla="*/ 2138363 w 5553075"/>
                <a:gd name="connsiteY59" fmla="*/ 76594 h 2634056"/>
                <a:gd name="connsiteX60" fmla="*/ 2181225 w 5553075"/>
                <a:gd name="connsiteY60" fmla="*/ 81356 h 2634056"/>
                <a:gd name="connsiteX61" fmla="*/ 2195513 w 5553075"/>
                <a:gd name="connsiteY61" fmla="*/ 57544 h 2634056"/>
                <a:gd name="connsiteX62" fmla="*/ 2219325 w 5553075"/>
                <a:gd name="connsiteY62" fmla="*/ 86119 h 2634056"/>
                <a:gd name="connsiteX63" fmla="*/ 2252663 w 5553075"/>
                <a:gd name="connsiteY63" fmla="*/ 52781 h 2634056"/>
                <a:gd name="connsiteX64" fmla="*/ 2286000 w 5553075"/>
                <a:gd name="connsiteY64" fmla="*/ 100406 h 2634056"/>
                <a:gd name="connsiteX65" fmla="*/ 2333625 w 5553075"/>
                <a:gd name="connsiteY65" fmla="*/ 62306 h 2634056"/>
                <a:gd name="connsiteX66" fmla="*/ 2393950 w 5553075"/>
                <a:gd name="connsiteY66" fmla="*/ 65481 h 2634056"/>
                <a:gd name="connsiteX67" fmla="*/ 2419350 w 5553075"/>
                <a:gd name="connsiteY67" fmla="*/ 57544 h 2634056"/>
                <a:gd name="connsiteX68" fmla="*/ 2419350 w 5553075"/>
                <a:gd name="connsiteY68" fmla="*/ 105169 h 2634056"/>
                <a:gd name="connsiteX69" fmla="*/ 2462213 w 5553075"/>
                <a:gd name="connsiteY69" fmla="*/ 90881 h 2634056"/>
                <a:gd name="connsiteX70" fmla="*/ 2524125 w 5553075"/>
                <a:gd name="connsiteY70" fmla="*/ 95644 h 2634056"/>
                <a:gd name="connsiteX71" fmla="*/ 2543175 w 5553075"/>
                <a:gd name="connsiteY71" fmla="*/ 71831 h 2634056"/>
                <a:gd name="connsiteX72" fmla="*/ 2609850 w 5553075"/>
                <a:gd name="connsiteY72" fmla="*/ 105169 h 2634056"/>
                <a:gd name="connsiteX73" fmla="*/ 2692400 w 5553075"/>
                <a:gd name="connsiteY73" fmla="*/ 78181 h 2634056"/>
                <a:gd name="connsiteX74" fmla="*/ 2700338 w 5553075"/>
                <a:gd name="connsiteY74" fmla="*/ 52781 h 2634056"/>
                <a:gd name="connsiteX75" fmla="*/ 2724150 w 5553075"/>
                <a:gd name="connsiteY75" fmla="*/ 86119 h 2634056"/>
                <a:gd name="connsiteX76" fmla="*/ 2814638 w 5553075"/>
                <a:gd name="connsiteY76" fmla="*/ 71831 h 2634056"/>
                <a:gd name="connsiteX77" fmla="*/ 2836863 w 5553075"/>
                <a:gd name="connsiteY77" fmla="*/ 135331 h 2634056"/>
                <a:gd name="connsiteX78" fmla="*/ 2828925 w 5553075"/>
                <a:gd name="connsiteY78" fmla="*/ 176606 h 2634056"/>
                <a:gd name="connsiteX79" fmla="*/ 2895600 w 5553075"/>
                <a:gd name="connsiteY79" fmla="*/ 152794 h 2634056"/>
                <a:gd name="connsiteX80" fmla="*/ 2895600 w 5553075"/>
                <a:gd name="connsiteY80" fmla="*/ 195656 h 2634056"/>
                <a:gd name="connsiteX81" fmla="*/ 2933700 w 5553075"/>
                <a:gd name="connsiteY81" fmla="*/ 238519 h 2634056"/>
                <a:gd name="connsiteX82" fmla="*/ 2933700 w 5553075"/>
                <a:gd name="connsiteY82" fmla="*/ 195656 h 2634056"/>
                <a:gd name="connsiteX83" fmla="*/ 2986088 w 5553075"/>
                <a:gd name="connsiteY83" fmla="*/ 224231 h 2634056"/>
                <a:gd name="connsiteX84" fmla="*/ 3000375 w 5553075"/>
                <a:gd name="connsiteY84" fmla="*/ 248044 h 2634056"/>
                <a:gd name="connsiteX85" fmla="*/ 3057525 w 5553075"/>
                <a:gd name="connsiteY85" fmla="*/ 295669 h 2634056"/>
                <a:gd name="connsiteX86" fmla="*/ 3086100 w 5553075"/>
                <a:gd name="connsiteY86" fmla="*/ 303606 h 2634056"/>
                <a:gd name="connsiteX87" fmla="*/ 3138488 w 5553075"/>
                <a:gd name="connsiteY87" fmla="*/ 371869 h 2634056"/>
                <a:gd name="connsiteX88" fmla="*/ 3190875 w 5553075"/>
                <a:gd name="connsiteY88" fmla="*/ 424256 h 2634056"/>
                <a:gd name="connsiteX89" fmla="*/ 3214688 w 5553075"/>
                <a:gd name="connsiteY89" fmla="*/ 467119 h 2634056"/>
                <a:gd name="connsiteX90" fmla="*/ 3257550 w 5553075"/>
                <a:gd name="connsiteY90" fmla="*/ 471881 h 2634056"/>
                <a:gd name="connsiteX91" fmla="*/ 3319463 w 5553075"/>
                <a:gd name="connsiteY91" fmla="*/ 529031 h 2634056"/>
                <a:gd name="connsiteX92" fmla="*/ 3281363 w 5553075"/>
                <a:gd name="connsiteY92" fmla="*/ 546494 h 2634056"/>
                <a:gd name="connsiteX93" fmla="*/ 3281363 w 5553075"/>
                <a:gd name="connsiteY93" fmla="*/ 567131 h 2634056"/>
                <a:gd name="connsiteX94" fmla="*/ 3319463 w 5553075"/>
                <a:gd name="connsiteY94" fmla="*/ 581419 h 2634056"/>
                <a:gd name="connsiteX95" fmla="*/ 3286125 w 5553075"/>
                <a:gd name="connsiteY95" fmla="*/ 633806 h 2634056"/>
                <a:gd name="connsiteX96" fmla="*/ 3352800 w 5553075"/>
                <a:gd name="connsiteY96" fmla="*/ 629044 h 2634056"/>
                <a:gd name="connsiteX97" fmla="*/ 3381375 w 5553075"/>
                <a:gd name="connsiteY97" fmla="*/ 667144 h 2634056"/>
                <a:gd name="connsiteX98" fmla="*/ 3419475 w 5553075"/>
                <a:gd name="connsiteY98" fmla="*/ 686194 h 2634056"/>
                <a:gd name="connsiteX99" fmla="*/ 3429000 w 5553075"/>
                <a:gd name="connsiteY99" fmla="*/ 714769 h 2634056"/>
                <a:gd name="connsiteX100" fmla="*/ 3429000 w 5553075"/>
                <a:gd name="connsiteY100" fmla="*/ 738581 h 2634056"/>
                <a:gd name="connsiteX101" fmla="*/ 3457575 w 5553075"/>
                <a:gd name="connsiteY101" fmla="*/ 805256 h 2634056"/>
                <a:gd name="connsiteX102" fmla="*/ 3514725 w 5553075"/>
                <a:gd name="connsiteY102" fmla="*/ 762394 h 2634056"/>
                <a:gd name="connsiteX103" fmla="*/ 3557588 w 5553075"/>
                <a:gd name="connsiteY103" fmla="*/ 752869 h 2634056"/>
                <a:gd name="connsiteX104" fmla="*/ 3595688 w 5553075"/>
                <a:gd name="connsiteY104" fmla="*/ 738581 h 2634056"/>
                <a:gd name="connsiteX105" fmla="*/ 3629025 w 5553075"/>
                <a:gd name="connsiteY105" fmla="*/ 700481 h 2634056"/>
                <a:gd name="connsiteX106" fmla="*/ 3648075 w 5553075"/>
                <a:gd name="connsiteY106" fmla="*/ 719531 h 2634056"/>
                <a:gd name="connsiteX107" fmla="*/ 3638550 w 5553075"/>
                <a:gd name="connsiteY107" fmla="*/ 757631 h 2634056"/>
                <a:gd name="connsiteX108" fmla="*/ 3657600 w 5553075"/>
                <a:gd name="connsiteY108" fmla="*/ 805256 h 2634056"/>
                <a:gd name="connsiteX109" fmla="*/ 3705225 w 5553075"/>
                <a:gd name="connsiteY109" fmla="*/ 805256 h 2634056"/>
                <a:gd name="connsiteX110" fmla="*/ 3771900 w 5553075"/>
                <a:gd name="connsiteY110" fmla="*/ 790969 h 2634056"/>
                <a:gd name="connsiteX111" fmla="*/ 3824288 w 5553075"/>
                <a:gd name="connsiteY111" fmla="*/ 767156 h 2634056"/>
                <a:gd name="connsiteX112" fmla="*/ 3814763 w 5553075"/>
                <a:gd name="connsiteY112" fmla="*/ 767156 h 2634056"/>
                <a:gd name="connsiteX113" fmla="*/ 3876675 w 5553075"/>
                <a:gd name="connsiteY113" fmla="*/ 776681 h 2634056"/>
                <a:gd name="connsiteX114" fmla="*/ 3929063 w 5553075"/>
                <a:gd name="connsiteY114" fmla="*/ 757631 h 2634056"/>
                <a:gd name="connsiteX115" fmla="*/ 3905250 w 5553075"/>
                <a:gd name="connsiteY115" fmla="*/ 805256 h 2634056"/>
                <a:gd name="connsiteX116" fmla="*/ 3914775 w 5553075"/>
                <a:gd name="connsiteY116" fmla="*/ 838594 h 2634056"/>
                <a:gd name="connsiteX117" fmla="*/ 3957638 w 5553075"/>
                <a:gd name="connsiteY117" fmla="*/ 805256 h 2634056"/>
                <a:gd name="connsiteX118" fmla="*/ 3986213 w 5553075"/>
                <a:gd name="connsiteY118" fmla="*/ 848119 h 2634056"/>
                <a:gd name="connsiteX119" fmla="*/ 4078288 w 5553075"/>
                <a:gd name="connsiteY119" fmla="*/ 895744 h 2634056"/>
                <a:gd name="connsiteX120" fmla="*/ 4071938 w 5553075"/>
                <a:gd name="connsiteY120" fmla="*/ 962419 h 2634056"/>
                <a:gd name="connsiteX121" fmla="*/ 4116388 w 5553075"/>
                <a:gd name="connsiteY121" fmla="*/ 1025919 h 2634056"/>
                <a:gd name="connsiteX122" fmla="*/ 4144963 w 5553075"/>
                <a:gd name="connsiteY122" fmla="*/ 1068781 h 2634056"/>
                <a:gd name="connsiteX123" fmla="*/ 4137025 w 5553075"/>
                <a:gd name="connsiteY123" fmla="*/ 1097356 h 2634056"/>
                <a:gd name="connsiteX124" fmla="*/ 4157663 w 5553075"/>
                <a:gd name="connsiteY124" fmla="*/ 1124344 h 2634056"/>
                <a:gd name="connsiteX125" fmla="*/ 4162425 w 5553075"/>
                <a:gd name="connsiteY125" fmla="*/ 1200544 h 2634056"/>
                <a:gd name="connsiteX126" fmla="*/ 4195763 w 5553075"/>
                <a:gd name="connsiteY126" fmla="*/ 1229119 h 2634056"/>
                <a:gd name="connsiteX127" fmla="*/ 4176713 w 5553075"/>
                <a:gd name="connsiteY127" fmla="*/ 1262456 h 2634056"/>
                <a:gd name="connsiteX128" fmla="*/ 4191000 w 5553075"/>
                <a:gd name="connsiteY128" fmla="*/ 1286269 h 2634056"/>
                <a:gd name="connsiteX129" fmla="*/ 4286250 w 5553075"/>
                <a:gd name="connsiteY129" fmla="*/ 1356119 h 2634056"/>
                <a:gd name="connsiteX130" fmla="*/ 4275138 w 5553075"/>
                <a:gd name="connsiteY130" fmla="*/ 1395806 h 2634056"/>
                <a:gd name="connsiteX131" fmla="*/ 4229100 w 5553075"/>
                <a:gd name="connsiteY131" fmla="*/ 1395806 h 2634056"/>
                <a:gd name="connsiteX132" fmla="*/ 4271963 w 5553075"/>
                <a:gd name="connsiteY132" fmla="*/ 1481531 h 2634056"/>
                <a:gd name="connsiteX133" fmla="*/ 4329113 w 5553075"/>
                <a:gd name="connsiteY133" fmla="*/ 1470419 h 2634056"/>
                <a:gd name="connsiteX134" fmla="*/ 4384675 w 5553075"/>
                <a:gd name="connsiteY134" fmla="*/ 1500581 h 2634056"/>
                <a:gd name="connsiteX135" fmla="*/ 4445000 w 5553075"/>
                <a:gd name="connsiteY135" fmla="*/ 1535506 h 2634056"/>
                <a:gd name="connsiteX136" fmla="*/ 4438650 w 5553075"/>
                <a:gd name="connsiteY136" fmla="*/ 1562494 h 2634056"/>
                <a:gd name="connsiteX137" fmla="*/ 4432300 w 5553075"/>
                <a:gd name="connsiteY137" fmla="*/ 1632344 h 2634056"/>
                <a:gd name="connsiteX138" fmla="*/ 4500563 w 5553075"/>
                <a:gd name="connsiteY138" fmla="*/ 1672031 h 2634056"/>
                <a:gd name="connsiteX139" fmla="*/ 4565650 w 5553075"/>
                <a:gd name="connsiteY139" fmla="*/ 1652981 h 2634056"/>
                <a:gd name="connsiteX140" fmla="*/ 4605338 w 5553075"/>
                <a:gd name="connsiteY140" fmla="*/ 1638694 h 2634056"/>
                <a:gd name="connsiteX141" fmla="*/ 4619625 w 5553075"/>
                <a:gd name="connsiteY141" fmla="*/ 1686319 h 2634056"/>
                <a:gd name="connsiteX142" fmla="*/ 4657725 w 5553075"/>
                <a:gd name="connsiteY142" fmla="*/ 1710131 h 2634056"/>
                <a:gd name="connsiteX143" fmla="*/ 4629150 w 5553075"/>
                <a:gd name="connsiteY143" fmla="*/ 1757756 h 2634056"/>
                <a:gd name="connsiteX144" fmla="*/ 4652963 w 5553075"/>
                <a:gd name="connsiteY144" fmla="*/ 1814906 h 2634056"/>
                <a:gd name="connsiteX145" fmla="*/ 4681538 w 5553075"/>
                <a:gd name="connsiteY145" fmla="*/ 1848244 h 2634056"/>
                <a:gd name="connsiteX146" fmla="*/ 4767263 w 5553075"/>
                <a:gd name="connsiteY146" fmla="*/ 1891106 h 2634056"/>
                <a:gd name="connsiteX147" fmla="*/ 4776788 w 5553075"/>
                <a:gd name="connsiteY147" fmla="*/ 1967306 h 2634056"/>
                <a:gd name="connsiteX148" fmla="*/ 4705350 w 5553075"/>
                <a:gd name="connsiteY148" fmla="*/ 1938731 h 2634056"/>
                <a:gd name="connsiteX149" fmla="*/ 4695825 w 5553075"/>
                <a:gd name="connsiteY149" fmla="*/ 1972069 h 2634056"/>
                <a:gd name="connsiteX150" fmla="*/ 4743450 w 5553075"/>
                <a:gd name="connsiteY150" fmla="*/ 2014931 h 2634056"/>
                <a:gd name="connsiteX151" fmla="*/ 4776788 w 5553075"/>
                <a:gd name="connsiteY151" fmla="*/ 2033981 h 2634056"/>
                <a:gd name="connsiteX152" fmla="*/ 4810125 w 5553075"/>
                <a:gd name="connsiteY152" fmla="*/ 2010169 h 2634056"/>
                <a:gd name="connsiteX153" fmla="*/ 4843463 w 5553075"/>
                <a:gd name="connsiteY153" fmla="*/ 2024456 h 2634056"/>
                <a:gd name="connsiteX154" fmla="*/ 4838700 w 5553075"/>
                <a:gd name="connsiteY154" fmla="*/ 2095894 h 2634056"/>
                <a:gd name="connsiteX155" fmla="*/ 4972050 w 5553075"/>
                <a:gd name="connsiteY155" fmla="*/ 2191144 h 2634056"/>
                <a:gd name="connsiteX156" fmla="*/ 4995863 w 5553075"/>
                <a:gd name="connsiteY156" fmla="*/ 2167331 h 2634056"/>
                <a:gd name="connsiteX157" fmla="*/ 5081588 w 5553075"/>
                <a:gd name="connsiteY157" fmla="*/ 2186381 h 2634056"/>
                <a:gd name="connsiteX158" fmla="*/ 5124450 w 5553075"/>
                <a:gd name="connsiteY158" fmla="*/ 2253056 h 2634056"/>
                <a:gd name="connsiteX159" fmla="*/ 5248275 w 5553075"/>
                <a:gd name="connsiteY159" fmla="*/ 2295919 h 2634056"/>
                <a:gd name="connsiteX160" fmla="*/ 5281613 w 5553075"/>
                <a:gd name="connsiteY160" fmla="*/ 2362594 h 2634056"/>
                <a:gd name="connsiteX161" fmla="*/ 5276850 w 5553075"/>
                <a:gd name="connsiteY161" fmla="*/ 2443556 h 2634056"/>
                <a:gd name="connsiteX162" fmla="*/ 5353050 w 5553075"/>
                <a:gd name="connsiteY162" fmla="*/ 2514994 h 2634056"/>
                <a:gd name="connsiteX163" fmla="*/ 5438775 w 5553075"/>
                <a:gd name="connsiteY163" fmla="*/ 2534044 h 2634056"/>
                <a:gd name="connsiteX164" fmla="*/ 5486400 w 5553075"/>
                <a:gd name="connsiteY164" fmla="*/ 2595956 h 2634056"/>
                <a:gd name="connsiteX165" fmla="*/ 5553075 w 5553075"/>
                <a:gd name="connsiteY165"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214313 w 5553075"/>
                <a:gd name="connsiteY8" fmla="*/ 533794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90588 w 5553075"/>
                <a:gd name="connsiteY27" fmla="*/ 257569 h 2634056"/>
                <a:gd name="connsiteX28" fmla="*/ 928688 w 5553075"/>
                <a:gd name="connsiteY28" fmla="*/ 271856 h 2634056"/>
                <a:gd name="connsiteX29" fmla="*/ 976313 w 5553075"/>
                <a:gd name="connsiteY29" fmla="*/ 286144 h 2634056"/>
                <a:gd name="connsiteX30" fmla="*/ 1019175 w 5553075"/>
                <a:gd name="connsiteY30" fmla="*/ 305194 h 2634056"/>
                <a:gd name="connsiteX31" fmla="*/ 1123950 w 5553075"/>
                <a:gd name="connsiteY31" fmla="*/ 276619 h 2634056"/>
                <a:gd name="connsiteX32" fmla="*/ 1128713 w 5553075"/>
                <a:gd name="connsiteY32" fmla="*/ 214706 h 2634056"/>
                <a:gd name="connsiteX33" fmla="*/ 1190625 w 5553075"/>
                <a:gd name="connsiteY33" fmla="*/ 243281 h 2634056"/>
                <a:gd name="connsiteX34" fmla="*/ 1252538 w 5553075"/>
                <a:gd name="connsiteY34" fmla="*/ 243281 h 2634056"/>
                <a:gd name="connsiteX35" fmla="*/ 1281113 w 5553075"/>
                <a:gd name="connsiteY35" fmla="*/ 209944 h 2634056"/>
                <a:gd name="connsiteX36" fmla="*/ 1276350 w 5553075"/>
                <a:gd name="connsiteY36" fmla="*/ 181369 h 2634056"/>
                <a:gd name="connsiteX37" fmla="*/ 1309688 w 5553075"/>
                <a:gd name="connsiteY37" fmla="*/ 162319 h 2634056"/>
                <a:gd name="connsiteX38" fmla="*/ 1328738 w 5553075"/>
                <a:gd name="connsiteY38" fmla="*/ 138506 h 2634056"/>
                <a:gd name="connsiteX39" fmla="*/ 1366838 w 5553075"/>
                <a:gd name="connsiteY39" fmla="*/ 152794 h 2634056"/>
                <a:gd name="connsiteX40" fmla="*/ 1400175 w 5553075"/>
                <a:gd name="connsiteY40" fmla="*/ 209944 h 2634056"/>
                <a:gd name="connsiteX41" fmla="*/ 1466850 w 5553075"/>
                <a:gd name="connsiteY41" fmla="*/ 181369 h 2634056"/>
                <a:gd name="connsiteX42" fmla="*/ 1511300 w 5553075"/>
                <a:gd name="connsiteY42" fmla="*/ 182956 h 2634056"/>
                <a:gd name="connsiteX43" fmla="*/ 1543050 w 5553075"/>
                <a:gd name="connsiteY43" fmla="*/ 157556 h 2634056"/>
                <a:gd name="connsiteX44" fmla="*/ 1649413 w 5553075"/>
                <a:gd name="connsiteY44" fmla="*/ 18295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919288 w 5553075"/>
                <a:gd name="connsiteY51" fmla="*/ 86119 h 2634056"/>
                <a:gd name="connsiteX52" fmla="*/ 1949450 w 5553075"/>
                <a:gd name="connsiteY52" fmla="*/ 62306 h 2634056"/>
                <a:gd name="connsiteX53" fmla="*/ 1952625 w 5553075"/>
                <a:gd name="connsiteY53" fmla="*/ 394 h 2634056"/>
                <a:gd name="connsiteX54" fmla="*/ 2000250 w 5553075"/>
                <a:gd name="connsiteY54" fmla="*/ 38494 h 2634056"/>
                <a:gd name="connsiteX55" fmla="*/ 2019300 w 5553075"/>
                <a:gd name="connsiteY55" fmla="*/ 90881 h 2634056"/>
                <a:gd name="connsiteX56" fmla="*/ 2057400 w 5553075"/>
                <a:gd name="connsiteY56" fmla="*/ 57544 h 2634056"/>
                <a:gd name="connsiteX57" fmla="*/ 2081213 w 5553075"/>
                <a:gd name="connsiteY57" fmla="*/ 81356 h 2634056"/>
                <a:gd name="connsiteX58" fmla="*/ 2109788 w 5553075"/>
                <a:gd name="connsiteY58" fmla="*/ 48019 h 2634056"/>
                <a:gd name="connsiteX59" fmla="*/ 2138363 w 5553075"/>
                <a:gd name="connsiteY59" fmla="*/ 76594 h 2634056"/>
                <a:gd name="connsiteX60" fmla="*/ 2181225 w 5553075"/>
                <a:gd name="connsiteY60" fmla="*/ 81356 h 2634056"/>
                <a:gd name="connsiteX61" fmla="*/ 2195513 w 5553075"/>
                <a:gd name="connsiteY61" fmla="*/ 57544 h 2634056"/>
                <a:gd name="connsiteX62" fmla="*/ 2219325 w 5553075"/>
                <a:gd name="connsiteY62" fmla="*/ 86119 h 2634056"/>
                <a:gd name="connsiteX63" fmla="*/ 2252663 w 5553075"/>
                <a:gd name="connsiteY63" fmla="*/ 52781 h 2634056"/>
                <a:gd name="connsiteX64" fmla="*/ 2286000 w 5553075"/>
                <a:gd name="connsiteY64" fmla="*/ 100406 h 2634056"/>
                <a:gd name="connsiteX65" fmla="*/ 2333625 w 5553075"/>
                <a:gd name="connsiteY65" fmla="*/ 62306 h 2634056"/>
                <a:gd name="connsiteX66" fmla="*/ 2393950 w 5553075"/>
                <a:gd name="connsiteY66" fmla="*/ 65481 h 2634056"/>
                <a:gd name="connsiteX67" fmla="*/ 2419350 w 5553075"/>
                <a:gd name="connsiteY67" fmla="*/ 57544 h 2634056"/>
                <a:gd name="connsiteX68" fmla="*/ 2419350 w 5553075"/>
                <a:gd name="connsiteY68" fmla="*/ 105169 h 2634056"/>
                <a:gd name="connsiteX69" fmla="*/ 2462213 w 5553075"/>
                <a:gd name="connsiteY69" fmla="*/ 90881 h 2634056"/>
                <a:gd name="connsiteX70" fmla="*/ 2524125 w 5553075"/>
                <a:gd name="connsiteY70" fmla="*/ 95644 h 2634056"/>
                <a:gd name="connsiteX71" fmla="*/ 2543175 w 5553075"/>
                <a:gd name="connsiteY71" fmla="*/ 71831 h 2634056"/>
                <a:gd name="connsiteX72" fmla="*/ 2609850 w 5553075"/>
                <a:gd name="connsiteY72" fmla="*/ 105169 h 2634056"/>
                <a:gd name="connsiteX73" fmla="*/ 2692400 w 5553075"/>
                <a:gd name="connsiteY73" fmla="*/ 78181 h 2634056"/>
                <a:gd name="connsiteX74" fmla="*/ 2700338 w 5553075"/>
                <a:gd name="connsiteY74" fmla="*/ 52781 h 2634056"/>
                <a:gd name="connsiteX75" fmla="*/ 2724150 w 5553075"/>
                <a:gd name="connsiteY75" fmla="*/ 86119 h 2634056"/>
                <a:gd name="connsiteX76" fmla="*/ 2814638 w 5553075"/>
                <a:gd name="connsiteY76" fmla="*/ 71831 h 2634056"/>
                <a:gd name="connsiteX77" fmla="*/ 2836863 w 5553075"/>
                <a:gd name="connsiteY77" fmla="*/ 135331 h 2634056"/>
                <a:gd name="connsiteX78" fmla="*/ 2828925 w 5553075"/>
                <a:gd name="connsiteY78" fmla="*/ 176606 h 2634056"/>
                <a:gd name="connsiteX79" fmla="*/ 2895600 w 5553075"/>
                <a:gd name="connsiteY79" fmla="*/ 152794 h 2634056"/>
                <a:gd name="connsiteX80" fmla="*/ 2895600 w 5553075"/>
                <a:gd name="connsiteY80" fmla="*/ 195656 h 2634056"/>
                <a:gd name="connsiteX81" fmla="*/ 2933700 w 5553075"/>
                <a:gd name="connsiteY81" fmla="*/ 238519 h 2634056"/>
                <a:gd name="connsiteX82" fmla="*/ 2933700 w 5553075"/>
                <a:gd name="connsiteY82" fmla="*/ 195656 h 2634056"/>
                <a:gd name="connsiteX83" fmla="*/ 2986088 w 5553075"/>
                <a:gd name="connsiteY83" fmla="*/ 224231 h 2634056"/>
                <a:gd name="connsiteX84" fmla="*/ 3000375 w 5553075"/>
                <a:gd name="connsiteY84" fmla="*/ 248044 h 2634056"/>
                <a:gd name="connsiteX85" fmla="*/ 3057525 w 5553075"/>
                <a:gd name="connsiteY85" fmla="*/ 295669 h 2634056"/>
                <a:gd name="connsiteX86" fmla="*/ 3086100 w 5553075"/>
                <a:gd name="connsiteY86" fmla="*/ 303606 h 2634056"/>
                <a:gd name="connsiteX87" fmla="*/ 3138488 w 5553075"/>
                <a:gd name="connsiteY87" fmla="*/ 371869 h 2634056"/>
                <a:gd name="connsiteX88" fmla="*/ 3190875 w 5553075"/>
                <a:gd name="connsiteY88" fmla="*/ 424256 h 2634056"/>
                <a:gd name="connsiteX89" fmla="*/ 3214688 w 5553075"/>
                <a:gd name="connsiteY89" fmla="*/ 467119 h 2634056"/>
                <a:gd name="connsiteX90" fmla="*/ 3257550 w 5553075"/>
                <a:gd name="connsiteY90" fmla="*/ 471881 h 2634056"/>
                <a:gd name="connsiteX91" fmla="*/ 3319463 w 5553075"/>
                <a:gd name="connsiteY91" fmla="*/ 529031 h 2634056"/>
                <a:gd name="connsiteX92" fmla="*/ 3281363 w 5553075"/>
                <a:gd name="connsiteY92" fmla="*/ 546494 h 2634056"/>
                <a:gd name="connsiteX93" fmla="*/ 3281363 w 5553075"/>
                <a:gd name="connsiteY93" fmla="*/ 567131 h 2634056"/>
                <a:gd name="connsiteX94" fmla="*/ 3319463 w 5553075"/>
                <a:gd name="connsiteY94" fmla="*/ 581419 h 2634056"/>
                <a:gd name="connsiteX95" fmla="*/ 3286125 w 5553075"/>
                <a:gd name="connsiteY95" fmla="*/ 633806 h 2634056"/>
                <a:gd name="connsiteX96" fmla="*/ 3352800 w 5553075"/>
                <a:gd name="connsiteY96" fmla="*/ 629044 h 2634056"/>
                <a:gd name="connsiteX97" fmla="*/ 3381375 w 5553075"/>
                <a:gd name="connsiteY97" fmla="*/ 667144 h 2634056"/>
                <a:gd name="connsiteX98" fmla="*/ 3419475 w 5553075"/>
                <a:gd name="connsiteY98" fmla="*/ 686194 h 2634056"/>
                <a:gd name="connsiteX99" fmla="*/ 3429000 w 5553075"/>
                <a:gd name="connsiteY99" fmla="*/ 714769 h 2634056"/>
                <a:gd name="connsiteX100" fmla="*/ 3429000 w 5553075"/>
                <a:gd name="connsiteY100" fmla="*/ 738581 h 2634056"/>
                <a:gd name="connsiteX101" fmla="*/ 3457575 w 5553075"/>
                <a:gd name="connsiteY101" fmla="*/ 805256 h 2634056"/>
                <a:gd name="connsiteX102" fmla="*/ 3514725 w 5553075"/>
                <a:gd name="connsiteY102" fmla="*/ 762394 h 2634056"/>
                <a:gd name="connsiteX103" fmla="*/ 3557588 w 5553075"/>
                <a:gd name="connsiteY103" fmla="*/ 752869 h 2634056"/>
                <a:gd name="connsiteX104" fmla="*/ 3595688 w 5553075"/>
                <a:gd name="connsiteY104" fmla="*/ 738581 h 2634056"/>
                <a:gd name="connsiteX105" fmla="*/ 3629025 w 5553075"/>
                <a:gd name="connsiteY105" fmla="*/ 700481 h 2634056"/>
                <a:gd name="connsiteX106" fmla="*/ 3648075 w 5553075"/>
                <a:gd name="connsiteY106" fmla="*/ 719531 h 2634056"/>
                <a:gd name="connsiteX107" fmla="*/ 3638550 w 5553075"/>
                <a:gd name="connsiteY107" fmla="*/ 757631 h 2634056"/>
                <a:gd name="connsiteX108" fmla="*/ 3657600 w 5553075"/>
                <a:gd name="connsiteY108" fmla="*/ 805256 h 2634056"/>
                <a:gd name="connsiteX109" fmla="*/ 3705225 w 5553075"/>
                <a:gd name="connsiteY109" fmla="*/ 805256 h 2634056"/>
                <a:gd name="connsiteX110" fmla="*/ 3771900 w 5553075"/>
                <a:gd name="connsiteY110" fmla="*/ 790969 h 2634056"/>
                <a:gd name="connsiteX111" fmla="*/ 3824288 w 5553075"/>
                <a:gd name="connsiteY111" fmla="*/ 767156 h 2634056"/>
                <a:gd name="connsiteX112" fmla="*/ 3814763 w 5553075"/>
                <a:gd name="connsiteY112" fmla="*/ 767156 h 2634056"/>
                <a:gd name="connsiteX113" fmla="*/ 3876675 w 5553075"/>
                <a:gd name="connsiteY113" fmla="*/ 776681 h 2634056"/>
                <a:gd name="connsiteX114" fmla="*/ 3929063 w 5553075"/>
                <a:gd name="connsiteY114" fmla="*/ 757631 h 2634056"/>
                <a:gd name="connsiteX115" fmla="*/ 3905250 w 5553075"/>
                <a:gd name="connsiteY115" fmla="*/ 805256 h 2634056"/>
                <a:gd name="connsiteX116" fmla="*/ 3914775 w 5553075"/>
                <a:gd name="connsiteY116" fmla="*/ 838594 h 2634056"/>
                <a:gd name="connsiteX117" fmla="*/ 3957638 w 5553075"/>
                <a:gd name="connsiteY117" fmla="*/ 805256 h 2634056"/>
                <a:gd name="connsiteX118" fmla="*/ 3986213 w 5553075"/>
                <a:gd name="connsiteY118" fmla="*/ 848119 h 2634056"/>
                <a:gd name="connsiteX119" fmla="*/ 4078288 w 5553075"/>
                <a:gd name="connsiteY119" fmla="*/ 895744 h 2634056"/>
                <a:gd name="connsiteX120" fmla="*/ 4071938 w 5553075"/>
                <a:gd name="connsiteY120" fmla="*/ 962419 h 2634056"/>
                <a:gd name="connsiteX121" fmla="*/ 4116388 w 5553075"/>
                <a:gd name="connsiteY121" fmla="*/ 1025919 h 2634056"/>
                <a:gd name="connsiteX122" fmla="*/ 4144963 w 5553075"/>
                <a:gd name="connsiteY122" fmla="*/ 1068781 h 2634056"/>
                <a:gd name="connsiteX123" fmla="*/ 4137025 w 5553075"/>
                <a:gd name="connsiteY123" fmla="*/ 1097356 h 2634056"/>
                <a:gd name="connsiteX124" fmla="*/ 4157663 w 5553075"/>
                <a:gd name="connsiteY124" fmla="*/ 1124344 h 2634056"/>
                <a:gd name="connsiteX125" fmla="*/ 4162425 w 5553075"/>
                <a:gd name="connsiteY125" fmla="*/ 1200544 h 2634056"/>
                <a:gd name="connsiteX126" fmla="*/ 4195763 w 5553075"/>
                <a:gd name="connsiteY126" fmla="*/ 1229119 h 2634056"/>
                <a:gd name="connsiteX127" fmla="*/ 4176713 w 5553075"/>
                <a:gd name="connsiteY127" fmla="*/ 1262456 h 2634056"/>
                <a:gd name="connsiteX128" fmla="*/ 4191000 w 5553075"/>
                <a:gd name="connsiteY128" fmla="*/ 1286269 h 2634056"/>
                <a:gd name="connsiteX129" fmla="*/ 4286250 w 5553075"/>
                <a:gd name="connsiteY129" fmla="*/ 1356119 h 2634056"/>
                <a:gd name="connsiteX130" fmla="*/ 4275138 w 5553075"/>
                <a:gd name="connsiteY130" fmla="*/ 1395806 h 2634056"/>
                <a:gd name="connsiteX131" fmla="*/ 4229100 w 5553075"/>
                <a:gd name="connsiteY131" fmla="*/ 1395806 h 2634056"/>
                <a:gd name="connsiteX132" fmla="*/ 4271963 w 5553075"/>
                <a:gd name="connsiteY132" fmla="*/ 1481531 h 2634056"/>
                <a:gd name="connsiteX133" fmla="*/ 4329113 w 5553075"/>
                <a:gd name="connsiteY133" fmla="*/ 1470419 h 2634056"/>
                <a:gd name="connsiteX134" fmla="*/ 4384675 w 5553075"/>
                <a:gd name="connsiteY134" fmla="*/ 1500581 h 2634056"/>
                <a:gd name="connsiteX135" fmla="*/ 4445000 w 5553075"/>
                <a:gd name="connsiteY135" fmla="*/ 1535506 h 2634056"/>
                <a:gd name="connsiteX136" fmla="*/ 4438650 w 5553075"/>
                <a:gd name="connsiteY136" fmla="*/ 1562494 h 2634056"/>
                <a:gd name="connsiteX137" fmla="*/ 4432300 w 5553075"/>
                <a:gd name="connsiteY137" fmla="*/ 1632344 h 2634056"/>
                <a:gd name="connsiteX138" fmla="*/ 4500563 w 5553075"/>
                <a:gd name="connsiteY138" fmla="*/ 1672031 h 2634056"/>
                <a:gd name="connsiteX139" fmla="*/ 4565650 w 5553075"/>
                <a:gd name="connsiteY139" fmla="*/ 1652981 h 2634056"/>
                <a:gd name="connsiteX140" fmla="*/ 4605338 w 5553075"/>
                <a:gd name="connsiteY140" fmla="*/ 1638694 h 2634056"/>
                <a:gd name="connsiteX141" fmla="*/ 4619625 w 5553075"/>
                <a:gd name="connsiteY141" fmla="*/ 1686319 h 2634056"/>
                <a:gd name="connsiteX142" fmla="*/ 4657725 w 5553075"/>
                <a:gd name="connsiteY142" fmla="*/ 1710131 h 2634056"/>
                <a:gd name="connsiteX143" fmla="*/ 4629150 w 5553075"/>
                <a:gd name="connsiteY143" fmla="*/ 1757756 h 2634056"/>
                <a:gd name="connsiteX144" fmla="*/ 4652963 w 5553075"/>
                <a:gd name="connsiteY144" fmla="*/ 1814906 h 2634056"/>
                <a:gd name="connsiteX145" fmla="*/ 4681538 w 5553075"/>
                <a:gd name="connsiteY145" fmla="*/ 1848244 h 2634056"/>
                <a:gd name="connsiteX146" fmla="*/ 4767263 w 5553075"/>
                <a:gd name="connsiteY146" fmla="*/ 1891106 h 2634056"/>
                <a:gd name="connsiteX147" fmla="*/ 4776788 w 5553075"/>
                <a:gd name="connsiteY147" fmla="*/ 1967306 h 2634056"/>
                <a:gd name="connsiteX148" fmla="*/ 4705350 w 5553075"/>
                <a:gd name="connsiteY148" fmla="*/ 1938731 h 2634056"/>
                <a:gd name="connsiteX149" fmla="*/ 4695825 w 5553075"/>
                <a:gd name="connsiteY149" fmla="*/ 1972069 h 2634056"/>
                <a:gd name="connsiteX150" fmla="*/ 4743450 w 5553075"/>
                <a:gd name="connsiteY150" fmla="*/ 2014931 h 2634056"/>
                <a:gd name="connsiteX151" fmla="*/ 4776788 w 5553075"/>
                <a:gd name="connsiteY151" fmla="*/ 2033981 h 2634056"/>
                <a:gd name="connsiteX152" fmla="*/ 4810125 w 5553075"/>
                <a:gd name="connsiteY152" fmla="*/ 2010169 h 2634056"/>
                <a:gd name="connsiteX153" fmla="*/ 4843463 w 5553075"/>
                <a:gd name="connsiteY153" fmla="*/ 2024456 h 2634056"/>
                <a:gd name="connsiteX154" fmla="*/ 4838700 w 5553075"/>
                <a:gd name="connsiteY154" fmla="*/ 2095894 h 2634056"/>
                <a:gd name="connsiteX155" fmla="*/ 4972050 w 5553075"/>
                <a:gd name="connsiteY155" fmla="*/ 2191144 h 2634056"/>
                <a:gd name="connsiteX156" fmla="*/ 4995863 w 5553075"/>
                <a:gd name="connsiteY156" fmla="*/ 2167331 h 2634056"/>
                <a:gd name="connsiteX157" fmla="*/ 5081588 w 5553075"/>
                <a:gd name="connsiteY157" fmla="*/ 2186381 h 2634056"/>
                <a:gd name="connsiteX158" fmla="*/ 5124450 w 5553075"/>
                <a:gd name="connsiteY158" fmla="*/ 2253056 h 2634056"/>
                <a:gd name="connsiteX159" fmla="*/ 5248275 w 5553075"/>
                <a:gd name="connsiteY159" fmla="*/ 2295919 h 2634056"/>
                <a:gd name="connsiteX160" fmla="*/ 5281613 w 5553075"/>
                <a:gd name="connsiteY160" fmla="*/ 2362594 h 2634056"/>
                <a:gd name="connsiteX161" fmla="*/ 5276850 w 5553075"/>
                <a:gd name="connsiteY161" fmla="*/ 2443556 h 2634056"/>
                <a:gd name="connsiteX162" fmla="*/ 5353050 w 5553075"/>
                <a:gd name="connsiteY162" fmla="*/ 2514994 h 2634056"/>
                <a:gd name="connsiteX163" fmla="*/ 5438775 w 5553075"/>
                <a:gd name="connsiteY163" fmla="*/ 2534044 h 2634056"/>
                <a:gd name="connsiteX164" fmla="*/ 5486400 w 5553075"/>
                <a:gd name="connsiteY164" fmla="*/ 2595956 h 2634056"/>
                <a:gd name="connsiteX165" fmla="*/ 5553075 w 5553075"/>
                <a:gd name="connsiteY165"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214313 w 5553075"/>
                <a:gd name="connsiteY8" fmla="*/ 533794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90588 w 5553075"/>
                <a:gd name="connsiteY27" fmla="*/ 257569 h 2634056"/>
                <a:gd name="connsiteX28" fmla="*/ 928688 w 5553075"/>
                <a:gd name="connsiteY28" fmla="*/ 271856 h 2634056"/>
                <a:gd name="connsiteX29" fmla="*/ 976313 w 5553075"/>
                <a:gd name="connsiteY29" fmla="*/ 286144 h 2634056"/>
                <a:gd name="connsiteX30" fmla="*/ 1019175 w 5553075"/>
                <a:gd name="connsiteY30" fmla="*/ 305194 h 2634056"/>
                <a:gd name="connsiteX31" fmla="*/ 1123950 w 5553075"/>
                <a:gd name="connsiteY31" fmla="*/ 276619 h 2634056"/>
                <a:gd name="connsiteX32" fmla="*/ 1128713 w 5553075"/>
                <a:gd name="connsiteY32" fmla="*/ 214706 h 2634056"/>
                <a:gd name="connsiteX33" fmla="*/ 1190625 w 5553075"/>
                <a:gd name="connsiteY33" fmla="*/ 243281 h 2634056"/>
                <a:gd name="connsiteX34" fmla="*/ 1252538 w 5553075"/>
                <a:gd name="connsiteY34" fmla="*/ 243281 h 2634056"/>
                <a:gd name="connsiteX35" fmla="*/ 1281113 w 5553075"/>
                <a:gd name="connsiteY35" fmla="*/ 209944 h 2634056"/>
                <a:gd name="connsiteX36" fmla="*/ 1276350 w 5553075"/>
                <a:gd name="connsiteY36" fmla="*/ 181369 h 2634056"/>
                <a:gd name="connsiteX37" fmla="*/ 1309688 w 5553075"/>
                <a:gd name="connsiteY37" fmla="*/ 162319 h 2634056"/>
                <a:gd name="connsiteX38" fmla="*/ 1328738 w 5553075"/>
                <a:gd name="connsiteY38" fmla="*/ 138506 h 2634056"/>
                <a:gd name="connsiteX39" fmla="*/ 1366838 w 5553075"/>
                <a:gd name="connsiteY39" fmla="*/ 152794 h 2634056"/>
                <a:gd name="connsiteX40" fmla="*/ 1400175 w 5553075"/>
                <a:gd name="connsiteY40" fmla="*/ 209944 h 2634056"/>
                <a:gd name="connsiteX41" fmla="*/ 1466850 w 5553075"/>
                <a:gd name="connsiteY41" fmla="*/ 181369 h 2634056"/>
                <a:gd name="connsiteX42" fmla="*/ 1511300 w 5553075"/>
                <a:gd name="connsiteY42" fmla="*/ 182956 h 2634056"/>
                <a:gd name="connsiteX43" fmla="*/ 1543050 w 5553075"/>
                <a:gd name="connsiteY43" fmla="*/ 157556 h 2634056"/>
                <a:gd name="connsiteX44" fmla="*/ 1649413 w 5553075"/>
                <a:gd name="connsiteY44" fmla="*/ 18295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885950 w 5553075"/>
                <a:gd name="connsiteY51" fmla="*/ 94056 h 2634056"/>
                <a:gd name="connsiteX52" fmla="*/ 1919288 w 5553075"/>
                <a:gd name="connsiteY52" fmla="*/ 86119 h 2634056"/>
                <a:gd name="connsiteX53" fmla="*/ 1949450 w 5553075"/>
                <a:gd name="connsiteY53" fmla="*/ 62306 h 2634056"/>
                <a:gd name="connsiteX54" fmla="*/ 1952625 w 5553075"/>
                <a:gd name="connsiteY54" fmla="*/ 394 h 2634056"/>
                <a:gd name="connsiteX55" fmla="*/ 2000250 w 5553075"/>
                <a:gd name="connsiteY55" fmla="*/ 38494 h 2634056"/>
                <a:gd name="connsiteX56" fmla="*/ 2019300 w 5553075"/>
                <a:gd name="connsiteY56" fmla="*/ 90881 h 2634056"/>
                <a:gd name="connsiteX57" fmla="*/ 2057400 w 5553075"/>
                <a:gd name="connsiteY57" fmla="*/ 57544 h 2634056"/>
                <a:gd name="connsiteX58" fmla="*/ 2081213 w 5553075"/>
                <a:gd name="connsiteY58" fmla="*/ 81356 h 2634056"/>
                <a:gd name="connsiteX59" fmla="*/ 2109788 w 5553075"/>
                <a:gd name="connsiteY59" fmla="*/ 48019 h 2634056"/>
                <a:gd name="connsiteX60" fmla="*/ 2138363 w 5553075"/>
                <a:gd name="connsiteY60" fmla="*/ 76594 h 2634056"/>
                <a:gd name="connsiteX61" fmla="*/ 2181225 w 5553075"/>
                <a:gd name="connsiteY61" fmla="*/ 81356 h 2634056"/>
                <a:gd name="connsiteX62" fmla="*/ 2195513 w 5553075"/>
                <a:gd name="connsiteY62" fmla="*/ 57544 h 2634056"/>
                <a:gd name="connsiteX63" fmla="*/ 2219325 w 5553075"/>
                <a:gd name="connsiteY63" fmla="*/ 86119 h 2634056"/>
                <a:gd name="connsiteX64" fmla="*/ 2252663 w 5553075"/>
                <a:gd name="connsiteY64" fmla="*/ 52781 h 2634056"/>
                <a:gd name="connsiteX65" fmla="*/ 2286000 w 5553075"/>
                <a:gd name="connsiteY65" fmla="*/ 100406 h 2634056"/>
                <a:gd name="connsiteX66" fmla="*/ 2333625 w 5553075"/>
                <a:gd name="connsiteY66" fmla="*/ 62306 h 2634056"/>
                <a:gd name="connsiteX67" fmla="*/ 2393950 w 5553075"/>
                <a:gd name="connsiteY67" fmla="*/ 65481 h 2634056"/>
                <a:gd name="connsiteX68" fmla="*/ 2419350 w 5553075"/>
                <a:gd name="connsiteY68" fmla="*/ 57544 h 2634056"/>
                <a:gd name="connsiteX69" fmla="*/ 2419350 w 5553075"/>
                <a:gd name="connsiteY69" fmla="*/ 105169 h 2634056"/>
                <a:gd name="connsiteX70" fmla="*/ 2462213 w 5553075"/>
                <a:gd name="connsiteY70" fmla="*/ 90881 h 2634056"/>
                <a:gd name="connsiteX71" fmla="*/ 2524125 w 5553075"/>
                <a:gd name="connsiteY71" fmla="*/ 95644 h 2634056"/>
                <a:gd name="connsiteX72" fmla="*/ 2543175 w 5553075"/>
                <a:gd name="connsiteY72" fmla="*/ 71831 h 2634056"/>
                <a:gd name="connsiteX73" fmla="*/ 2609850 w 5553075"/>
                <a:gd name="connsiteY73" fmla="*/ 105169 h 2634056"/>
                <a:gd name="connsiteX74" fmla="*/ 2692400 w 5553075"/>
                <a:gd name="connsiteY74" fmla="*/ 78181 h 2634056"/>
                <a:gd name="connsiteX75" fmla="*/ 2700338 w 5553075"/>
                <a:gd name="connsiteY75" fmla="*/ 52781 h 2634056"/>
                <a:gd name="connsiteX76" fmla="*/ 2724150 w 5553075"/>
                <a:gd name="connsiteY76" fmla="*/ 86119 h 2634056"/>
                <a:gd name="connsiteX77" fmla="*/ 2814638 w 5553075"/>
                <a:gd name="connsiteY77" fmla="*/ 71831 h 2634056"/>
                <a:gd name="connsiteX78" fmla="*/ 2836863 w 5553075"/>
                <a:gd name="connsiteY78" fmla="*/ 135331 h 2634056"/>
                <a:gd name="connsiteX79" fmla="*/ 2828925 w 5553075"/>
                <a:gd name="connsiteY79" fmla="*/ 176606 h 2634056"/>
                <a:gd name="connsiteX80" fmla="*/ 2895600 w 5553075"/>
                <a:gd name="connsiteY80" fmla="*/ 152794 h 2634056"/>
                <a:gd name="connsiteX81" fmla="*/ 2895600 w 5553075"/>
                <a:gd name="connsiteY81" fmla="*/ 195656 h 2634056"/>
                <a:gd name="connsiteX82" fmla="*/ 2933700 w 5553075"/>
                <a:gd name="connsiteY82" fmla="*/ 238519 h 2634056"/>
                <a:gd name="connsiteX83" fmla="*/ 2933700 w 5553075"/>
                <a:gd name="connsiteY83" fmla="*/ 195656 h 2634056"/>
                <a:gd name="connsiteX84" fmla="*/ 2986088 w 5553075"/>
                <a:gd name="connsiteY84" fmla="*/ 224231 h 2634056"/>
                <a:gd name="connsiteX85" fmla="*/ 3000375 w 5553075"/>
                <a:gd name="connsiteY85" fmla="*/ 248044 h 2634056"/>
                <a:gd name="connsiteX86" fmla="*/ 3057525 w 5553075"/>
                <a:gd name="connsiteY86" fmla="*/ 295669 h 2634056"/>
                <a:gd name="connsiteX87" fmla="*/ 3086100 w 5553075"/>
                <a:gd name="connsiteY87" fmla="*/ 303606 h 2634056"/>
                <a:gd name="connsiteX88" fmla="*/ 3138488 w 5553075"/>
                <a:gd name="connsiteY88" fmla="*/ 371869 h 2634056"/>
                <a:gd name="connsiteX89" fmla="*/ 3190875 w 5553075"/>
                <a:gd name="connsiteY89" fmla="*/ 424256 h 2634056"/>
                <a:gd name="connsiteX90" fmla="*/ 3214688 w 5553075"/>
                <a:gd name="connsiteY90" fmla="*/ 467119 h 2634056"/>
                <a:gd name="connsiteX91" fmla="*/ 3257550 w 5553075"/>
                <a:gd name="connsiteY91" fmla="*/ 471881 h 2634056"/>
                <a:gd name="connsiteX92" fmla="*/ 3319463 w 5553075"/>
                <a:gd name="connsiteY92" fmla="*/ 529031 h 2634056"/>
                <a:gd name="connsiteX93" fmla="*/ 3281363 w 5553075"/>
                <a:gd name="connsiteY93" fmla="*/ 546494 h 2634056"/>
                <a:gd name="connsiteX94" fmla="*/ 3281363 w 5553075"/>
                <a:gd name="connsiteY94" fmla="*/ 567131 h 2634056"/>
                <a:gd name="connsiteX95" fmla="*/ 3319463 w 5553075"/>
                <a:gd name="connsiteY95" fmla="*/ 581419 h 2634056"/>
                <a:gd name="connsiteX96" fmla="*/ 3286125 w 5553075"/>
                <a:gd name="connsiteY96" fmla="*/ 633806 h 2634056"/>
                <a:gd name="connsiteX97" fmla="*/ 3352800 w 5553075"/>
                <a:gd name="connsiteY97" fmla="*/ 629044 h 2634056"/>
                <a:gd name="connsiteX98" fmla="*/ 3381375 w 5553075"/>
                <a:gd name="connsiteY98" fmla="*/ 667144 h 2634056"/>
                <a:gd name="connsiteX99" fmla="*/ 3419475 w 5553075"/>
                <a:gd name="connsiteY99" fmla="*/ 686194 h 2634056"/>
                <a:gd name="connsiteX100" fmla="*/ 3429000 w 5553075"/>
                <a:gd name="connsiteY100" fmla="*/ 714769 h 2634056"/>
                <a:gd name="connsiteX101" fmla="*/ 3429000 w 5553075"/>
                <a:gd name="connsiteY101" fmla="*/ 738581 h 2634056"/>
                <a:gd name="connsiteX102" fmla="*/ 3457575 w 5553075"/>
                <a:gd name="connsiteY102" fmla="*/ 805256 h 2634056"/>
                <a:gd name="connsiteX103" fmla="*/ 3514725 w 5553075"/>
                <a:gd name="connsiteY103" fmla="*/ 762394 h 2634056"/>
                <a:gd name="connsiteX104" fmla="*/ 3557588 w 5553075"/>
                <a:gd name="connsiteY104" fmla="*/ 752869 h 2634056"/>
                <a:gd name="connsiteX105" fmla="*/ 3595688 w 5553075"/>
                <a:gd name="connsiteY105" fmla="*/ 738581 h 2634056"/>
                <a:gd name="connsiteX106" fmla="*/ 3629025 w 5553075"/>
                <a:gd name="connsiteY106" fmla="*/ 700481 h 2634056"/>
                <a:gd name="connsiteX107" fmla="*/ 3648075 w 5553075"/>
                <a:gd name="connsiteY107" fmla="*/ 719531 h 2634056"/>
                <a:gd name="connsiteX108" fmla="*/ 3638550 w 5553075"/>
                <a:gd name="connsiteY108" fmla="*/ 757631 h 2634056"/>
                <a:gd name="connsiteX109" fmla="*/ 3657600 w 5553075"/>
                <a:gd name="connsiteY109" fmla="*/ 805256 h 2634056"/>
                <a:gd name="connsiteX110" fmla="*/ 3705225 w 5553075"/>
                <a:gd name="connsiteY110" fmla="*/ 805256 h 2634056"/>
                <a:gd name="connsiteX111" fmla="*/ 3771900 w 5553075"/>
                <a:gd name="connsiteY111" fmla="*/ 790969 h 2634056"/>
                <a:gd name="connsiteX112" fmla="*/ 3824288 w 5553075"/>
                <a:gd name="connsiteY112" fmla="*/ 767156 h 2634056"/>
                <a:gd name="connsiteX113" fmla="*/ 3814763 w 5553075"/>
                <a:gd name="connsiteY113" fmla="*/ 767156 h 2634056"/>
                <a:gd name="connsiteX114" fmla="*/ 3876675 w 5553075"/>
                <a:gd name="connsiteY114" fmla="*/ 776681 h 2634056"/>
                <a:gd name="connsiteX115" fmla="*/ 3929063 w 5553075"/>
                <a:gd name="connsiteY115" fmla="*/ 757631 h 2634056"/>
                <a:gd name="connsiteX116" fmla="*/ 3905250 w 5553075"/>
                <a:gd name="connsiteY116" fmla="*/ 805256 h 2634056"/>
                <a:gd name="connsiteX117" fmla="*/ 3914775 w 5553075"/>
                <a:gd name="connsiteY117" fmla="*/ 838594 h 2634056"/>
                <a:gd name="connsiteX118" fmla="*/ 3957638 w 5553075"/>
                <a:gd name="connsiteY118" fmla="*/ 805256 h 2634056"/>
                <a:gd name="connsiteX119" fmla="*/ 3986213 w 5553075"/>
                <a:gd name="connsiteY119" fmla="*/ 848119 h 2634056"/>
                <a:gd name="connsiteX120" fmla="*/ 4078288 w 5553075"/>
                <a:gd name="connsiteY120" fmla="*/ 895744 h 2634056"/>
                <a:gd name="connsiteX121" fmla="*/ 4071938 w 5553075"/>
                <a:gd name="connsiteY121" fmla="*/ 962419 h 2634056"/>
                <a:gd name="connsiteX122" fmla="*/ 4116388 w 5553075"/>
                <a:gd name="connsiteY122" fmla="*/ 1025919 h 2634056"/>
                <a:gd name="connsiteX123" fmla="*/ 4144963 w 5553075"/>
                <a:gd name="connsiteY123" fmla="*/ 1068781 h 2634056"/>
                <a:gd name="connsiteX124" fmla="*/ 4137025 w 5553075"/>
                <a:gd name="connsiteY124" fmla="*/ 1097356 h 2634056"/>
                <a:gd name="connsiteX125" fmla="*/ 4157663 w 5553075"/>
                <a:gd name="connsiteY125" fmla="*/ 1124344 h 2634056"/>
                <a:gd name="connsiteX126" fmla="*/ 4162425 w 5553075"/>
                <a:gd name="connsiteY126" fmla="*/ 1200544 h 2634056"/>
                <a:gd name="connsiteX127" fmla="*/ 4195763 w 5553075"/>
                <a:gd name="connsiteY127" fmla="*/ 1229119 h 2634056"/>
                <a:gd name="connsiteX128" fmla="*/ 4176713 w 5553075"/>
                <a:gd name="connsiteY128" fmla="*/ 1262456 h 2634056"/>
                <a:gd name="connsiteX129" fmla="*/ 4191000 w 5553075"/>
                <a:gd name="connsiteY129" fmla="*/ 1286269 h 2634056"/>
                <a:gd name="connsiteX130" fmla="*/ 4286250 w 5553075"/>
                <a:gd name="connsiteY130" fmla="*/ 1356119 h 2634056"/>
                <a:gd name="connsiteX131" fmla="*/ 4275138 w 5553075"/>
                <a:gd name="connsiteY131" fmla="*/ 1395806 h 2634056"/>
                <a:gd name="connsiteX132" fmla="*/ 4229100 w 5553075"/>
                <a:gd name="connsiteY132" fmla="*/ 1395806 h 2634056"/>
                <a:gd name="connsiteX133" fmla="*/ 4271963 w 5553075"/>
                <a:gd name="connsiteY133" fmla="*/ 1481531 h 2634056"/>
                <a:gd name="connsiteX134" fmla="*/ 4329113 w 5553075"/>
                <a:gd name="connsiteY134" fmla="*/ 1470419 h 2634056"/>
                <a:gd name="connsiteX135" fmla="*/ 4384675 w 5553075"/>
                <a:gd name="connsiteY135" fmla="*/ 1500581 h 2634056"/>
                <a:gd name="connsiteX136" fmla="*/ 4445000 w 5553075"/>
                <a:gd name="connsiteY136" fmla="*/ 1535506 h 2634056"/>
                <a:gd name="connsiteX137" fmla="*/ 4438650 w 5553075"/>
                <a:gd name="connsiteY137" fmla="*/ 1562494 h 2634056"/>
                <a:gd name="connsiteX138" fmla="*/ 4432300 w 5553075"/>
                <a:gd name="connsiteY138" fmla="*/ 1632344 h 2634056"/>
                <a:gd name="connsiteX139" fmla="*/ 4500563 w 5553075"/>
                <a:gd name="connsiteY139" fmla="*/ 1672031 h 2634056"/>
                <a:gd name="connsiteX140" fmla="*/ 4565650 w 5553075"/>
                <a:gd name="connsiteY140" fmla="*/ 1652981 h 2634056"/>
                <a:gd name="connsiteX141" fmla="*/ 4605338 w 5553075"/>
                <a:gd name="connsiteY141" fmla="*/ 1638694 h 2634056"/>
                <a:gd name="connsiteX142" fmla="*/ 4619625 w 5553075"/>
                <a:gd name="connsiteY142" fmla="*/ 1686319 h 2634056"/>
                <a:gd name="connsiteX143" fmla="*/ 4657725 w 5553075"/>
                <a:gd name="connsiteY143" fmla="*/ 1710131 h 2634056"/>
                <a:gd name="connsiteX144" fmla="*/ 4629150 w 5553075"/>
                <a:gd name="connsiteY144" fmla="*/ 1757756 h 2634056"/>
                <a:gd name="connsiteX145" fmla="*/ 4652963 w 5553075"/>
                <a:gd name="connsiteY145" fmla="*/ 1814906 h 2634056"/>
                <a:gd name="connsiteX146" fmla="*/ 4681538 w 5553075"/>
                <a:gd name="connsiteY146" fmla="*/ 1848244 h 2634056"/>
                <a:gd name="connsiteX147" fmla="*/ 4767263 w 5553075"/>
                <a:gd name="connsiteY147" fmla="*/ 1891106 h 2634056"/>
                <a:gd name="connsiteX148" fmla="*/ 4776788 w 5553075"/>
                <a:gd name="connsiteY148" fmla="*/ 1967306 h 2634056"/>
                <a:gd name="connsiteX149" fmla="*/ 4705350 w 5553075"/>
                <a:gd name="connsiteY149" fmla="*/ 1938731 h 2634056"/>
                <a:gd name="connsiteX150" fmla="*/ 4695825 w 5553075"/>
                <a:gd name="connsiteY150" fmla="*/ 1972069 h 2634056"/>
                <a:gd name="connsiteX151" fmla="*/ 4743450 w 5553075"/>
                <a:gd name="connsiteY151" fmla="*/ 2014931 h 2634056"/>
                <a:gd name="connsiteX152" fmla="*/ 4776788 w 5553075"/>
                <a:gd name="connsiteY152" fmla="*/ 2033981 h 2634056"/>
                <a:gd name="connsiteX153" fmla="*/ 4810125 w 5553075"/>
                <a:gd name="connsiteY153" fmla="*/ 2010169 h 2634056"/>
                <a:gd name="connsiteX154" fmla="*/ 4843463 w 5553075"/>
                <a:gd name="connsiteY154" fmla="*/ 2024456 h 2634056"/>
                <a:gd name="connsiteX155" fmla="*/ 4838700 w 5553075"/>
                <a:gd name="connsiteY155" fmla="*/ 2095894 h 2634056"/>
                <a:gd name="connsiteX156" fmla="*/ 4972050 w 5553075"/>
                <a:gd name="connsiteY156" fmla="*/ 2191144 h 2634056"/>
                <a:gd name="connsiteX157" fmla="*/ 4995863 w 5553075"/>
                <a:gd name="connsiteY157" fmla="*/ 2167331 h 2634056"/>
                <a:gd name="connsiteX158" fmla="*/ 5081588 w 5553075"/>
                <a:gd name="connsiteY158" fmla="*/ 2186381 h 2634056"/>
                <a:gd name="connsiteX159" fmla="*/ 5124450 w 5553075"/>
                <a:gd name="connsiteY159" fmla="*/ 2253056 h 2634056"/>
                <a:gd name="connsiteX160" fmla="*/ 5248275 w 5553075"/>
                <a:gd name="connsiteY160" fmla="*/ 2295919 h 2634056"/>
                <a:gd name="connsiteX161" fmla="*/ 5281613 w 5553075"/>
                <a:gd name="connsiteY161" fmla="*/ 2362594 h 2634056"/>
                <a:gd name="connsiteX162" fmla="*/ 5276850 w 5553075"/>
                <a:gd name="connsiteY162" fmla="*/ 2443556 h 2634056"/>
                <a:gd name="connsiteX163" fmla="*/ 5353050 w 5553075"/>
                <a:gd name="connsiteY163" fmla="*/ 2514994 h 2634056"/>
                <a:gd name="connsiteX164" fmla="*/ 5438775 w 5553075"/>
                <a:gd name="connsiteY164" fmla="*/ 2534044 h 2634056"/>
                <a:gd name="connsiteX165" fmla="*/ 5486400 w 5553075"/>
                <a:gd name="connsiteY165" fmla="*/ 2595956 h 2634056"/>
                <a:gd name="connsiteX166" fmla="*/ 5553075 w 5553075"/>
                <a:gd name="connsiteY166"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214313 w 5553075"/>
                <a:gd name="connsiteY8" fmla="*/ 533794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90588 w 5553075"/>
                <a:gd name="connsiteY27" fmla="*/ 257569 h 2634056"/>
                <a:gd name="connsiteX28" fmla="*/ 928688 w 5553075"/>
                <a:gd name="connsiteY28" fmla="*/ 271856 h 2634056"/>
                <a:gd name="connsiteX29" fmla="*/ 976313 w 5553075"/>
                <a:gd name="connsiteY29" fmla="*/ 286144 h 2634056"/>
                <a:gd name="connsiteX30" fmla="*/ 1019175 w 5553075"/>
                <a:gd name="connsiteY30" fmla="*/ 305194 h 2634056"/>
                <a:gd name="connsiteX31" fmla="*/ 1123950 w 5553075"/>
                <a:gd name="connsiteY31" fmla="*/ 276619 h 2634056"/>
                <a:gd name="connsiteX32" fmla="*/ 1128713 w 5553075"/>
                <a:gd name="connsiteY32" fmla="*/ 214706 h 2634056"/>
                <a:gd name="connsiteX33" fmla="*/ 1190625 w 5553075"/>
                <a:gd name="connsiteY33" fmla="*/ 243281 h 2634056"/>
                <a:gd name="connsiteX34" fmla="*/ 1252538 w 5553075"/>
                <a:gd name="connsiteY34" fmla="*/ 243281 h 2634056"/>
                <a:gd name="connsiteX35" fmla="*/ 1281113 w 5553075"/>
                <a:gd name="connsiteY35" fmla="*/ 209944 h 2634056"/>
                <a:gd name="connsiteX36" fmla="*/ 1276350 w 5553075"/>
                <a:gd name="connsiteY36" fmla="*/ 181369 h 2634056"/>
                <a:gd name="connsiteX37" fmla="*/ 1309688 w 5553075"/>
                <a:gd name="connsiteY37" fmla="*/ 162319 h 2634056"/>
                <a:gd name="connsiteX38" fmla="*/ 1328738 w 5553075"/>
                <a:gd name="connsiteY38" fmla="*/ 138506 h 2634056"/>
                <a:gd name="connsiteX39" fmla="*/ 1366838 w 5553075"/>
                <a:gd name="connsiteY39" fmla="*/ 152794 h 2634056"/>
                <a:gd name="connsiteX40" fmla="*/ 1400175 w 5553075"/>
                <a:gd name="connsiteY40" fmla="*/ 209944 h 2634056"/>
                <a:gd name="connsiteX41" fmla="*/ 1466850 w 5553075"/>
                <a:gd name="connsiteY41" fmla="*/ 181369 h 2634056"/>
                <a:gd name="connsiteX42" fmla="*/ 1511300 w 5553075"/>
                <a:gd name="connsiteY42" fmla="*/ 182956 h 2634056"/>
                <a:gd name="connsiteX43" fmla="*/ 1543050 w 5553075"/>
                <a:gd name="connsiteY43" fmla="*/ 157556 h 2634056"/>
                <a:gd name="connsiteX44" fmla="*/ 1649413 w 5553075"/>
                <a:gd name="connsiteY44" fmla="*/ 18295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885950 w 5553075"/>
                <a:gd name="connsiteY51" fmla="*/ 94056 h 2634056"/>
                <a:gd name="connsiteX52" fmla="*/ 1919288 w 5553075"/>
                <a:gd name="connsiteY52" fmla="*/ 86119 h 2634056"/>
                <a:gd name="connsiteX53" fmla="*/ 1949450 w 5553075"/>
                <a:gd name="connsiteY53" fmla="*/ 62306 h 2634056"/>
                <a:gd name="connsiteX54" fmla="*/ 1952625 w 5553075"/>
                <a:gd name="connsiteY54" fmla="*/ 394 h 2634056"/>
                <a:gd name="connsiteX55" fmla="*/ 2000250 w 5553075"/>
                <a:gd name="connsiteY55" fmla="*/ 38494 h 2634056"/>
                <a:gd name="connsiteX56" fmla="*/ 2019300 w 5553075"/>
                <a:gd name="connsiteY56" fmla="*/ 90881 h 2634056"/>
                <a:gd name="connsiteX57" fmla="*/ 2057400 w 5553075"/>
                <a:gd name="connsiteY57" fmla="*/ 57544 h 2634056"/>
                <a:gd name="connsiteX58" fmla="*/ 2081213 w 5553075"/>
                <a:gd name="connsiteY58" fmla="*/ 81356 h 2634056"/>
                <a:gd name="connsiteX59" fmla="*/ 2109788 w 5553075"/>
                <a:gd name="connsiteY59" fmla="*/ 48019 h 2634056"/>
                <a:gd name="connsiteX60" fmla="*/ 2138363 w 5553075"/>
                <a:gd name="connsiteY60" fmla="*/ 76594 h 2634056"/>
                <a:gd name="connsiteX61" fmla="*/ 2181225 w 5553075"/>
                <a:gd name="connsiteY61" fmla="*/ 81356 h 2634056"/>
                <a:gd name="connsiteX62" fmla="*/ 2195513 w 5553075"/>
                <a:gd name="connsiteY62" fmla="*/ 57544 h 2634056"/>
                <a:gd name="connsiteX63" fmla="*/ 2219325 w 5553075"/>
                <a:gd name="connsiteY63" fmla="*/ 86119 h 2634056"/>
                <a:gd name="connsiteX64" fmla="*/ 2252663 w 5553075"/>
                <a:gd name="connsiteY64" fmla="*/ 52781 h 2634056"/>
                <a:gd name="connsiteX65" fmla="*/ 2286000 w 5553075"/>
                <a:gd name="connsiteY65" fmla="*/ 100406 h 2634056"/>
                <a:gd name="connsiteX66" fmla="*/ 2333625 w 5553075"/>
                <a:gd name="connsiteY66" fmla="*/ 62306 h 2634056"/>
                <a:gd name="connsiteX67" fmla="*/ 2393950 w 5553075"/>
                <a:gd name="connsiteY67" fmla="*/ 65481 h 2634056"/>
                <a:gd name="connsiteX68" fmla="*/ 2419350 w 5553075"/>
                <a:gd name="connsiteY68" fmla="*/ 57544 h 2634056"/>
                <a:gd name="connsiteX69" fmla="*/ 2419350 w 5553075"/>
                <a:gd name="connsiteY69" fmla="*/ 105169 h 2634056"/>
                <a:gd name="connsiteX70" fmla="*/ 2462213 w 5553075"/>
                <a:gd name="connsiteY70" fmla="*/ 90881 h 2634056"/>
                <a:gd name="connsiteX71" fmla="*/ 2524125 w 5553075"/>
                <a:gd name="connsiteY71" fmla="*/ 95644 h 2634056"/>
                <a:gd name="connsiteX72" fmla="*/ 2543175 w 5553075"/>
                <a:gd name="connsiteY72" fmla="*/ 71831 h 2634056"/>
                <a:gd name="connsiteX73" fmla="*/ 2609850 w 5553075"/>
                <a:gd name="connsiteY73" fmla="*/ 105169 h 2634056"/>
                <a:gd name="connsiteX74" fmla="*/ 2692400 w 5553075"/>
                <a:gd name="connsiteY74" fmla="*/ 78181 h 2634056"/>
                <a:gd name="connsiteX75" fmla="*/ 2716213 w 5553075"/>
                <a:gd name="connsiteY75" fmla="*/ 55956 h 2634056"/>
                <a:gd name="connsiteX76" fmla="*/ 2724150 w 5553075"/>
                <a:gd name="connsiteY76" fmla="*/ 86119 h 2634056"/>
                <a:gd name="connsiteX77" fmla="*/ 2814638 w 5553075"/>
                <a:gd name="connsiteY77" fmla="*/ 71831 h 2634056"/>
                <a:gd name="connsiteX78" fmla="*/ 2836863 w 5553075"/>
                <a:gd name="connsiteY78" fmla="*/ 135331 h 2634056"/>
                <a:gd name="connsiteX79" fmla="*/ 2828925 w 5553075"/>
                <a:gd name="connsiteY79" fmla="*/ 176606 h 2634056"/>
                <a:gd name="connsiteX80" fmla="*/ 2895600 w 5553075"/>
                <a:gd name="connsiteY80" fmla="*/ 152794 h 2634056"/>
                <a:gd name="connsiteX81" fmla="*/ 2895600 w 5553075"/>
                <a:gd name="connsiteY81" fmla="*/ 195656 h 2634056"/>
                <a:gd name="connsiteX82" fmla="*/ 2933700 w 5553075"/>
                <a:gd name="connsiteY82" fmla="*/ 238519 h 2634056"/>
                <a:gd name="connsiteX83" fmla="*/ 2933700 w 5553075"/>
                <a:gd name="connsiteY83" fmla="*/ 195656 h 2634056"/>
                <a:gd name="connsiteX84" fmla="*/ 2986088 w 5553075"/>
                <a:gd name="connsiteY84" fmla="*/ 224231 h 2634056"/>
                <a:gd name="connsiteX85" fmla="*/ 3000375 w 5553075"/>
                <a:gd name="connsiteY85" fmla="*/ 248044 h 2634056"/>
                <a:gd name="connsiteX86" fmla="*/ 3057525 w 5553075"/>
                <a:gd name="connsiteY86" fmla="*/ 295669 h 2634056"/>
                <a:gd name="connsiteX87" fmla="*/ 3086100 w 5553075"/>
                <a:gd name="connsiteY87" fmla="*/ 303606 h 2634056"/>
                <a:gd name="connsiteX88" fmla="*/ 3138488 w 5553075"/>
                <a:gd name="connsiteY88" fmla="*/ 371869 h 2634056"/>
                <a:gd name="connsiteX89" fmla="*/ 3190875 w 5553075"/>
                <a:gd name="connsiteY89" fmla="*/ 424256 h 2634056"/>
                <a:gd name="connsiteX90" fmla="*/ 3214688 w 5553075"/>
                <a:gd name="connsiteY90" fmla="*/ 467119 h 2634056"/>
                <a:gd name="connsiteX91" fmla="*/ 3257550 w 5553075"/>
                <a:gd name="connsiteY91" fmla="*/ 471881 h 2634056"/>
                <a:gd name="connsiteX92" fmla="*/ 3319463 w 5553075"/>
                <a:gd name="connsiteY92" fmla="*/ 529031 h 2634056"/>
                <a:gd name="connsiteX93" fmla="*/ 3281363 w 5553075"/>
                <a:gd name="connsiteY93" fmla="*/ 546494 h 2634056"/>
                <a:gd name="connsiteX94" fmla="*/ 3281363 w 5553075"/>
                <a:gd name="connsiteY94" fmla="*/ 567131 h 2634056"/>
                <a:gd name="connsiteX95" fmla="*/ 3319463 w 5553075"/>
                <a:gd name="connsiteY95" fmla="*/ 581419 h 2634056"/>
                <a:gd name="connsiteX96" fmla="*/ 3286125 w 5553075"/>
                <a:gd name="connsiteY96" fmla="*/ 633806 h 2634056"/>
                <a:gd name="connsiteX97" fmla="*/ 3352800 w 5553075"/>
                <a:gd name="connsiteY97" fmla="*/ 629044 h 2634056"/>
                <a:gd name="connsiteX98" fmla="*/ 3381375 w 5553075"/>
                <a:gd name="connsiteY98" fmla="*/ 667144 h 2634056"/>
                <a:gd name="connsiteX99" fmla="*/ 3419475 w 5553075"/>
                <a:gd name="connsiteY99" fmla="*/ 686194 h 2634056"/>
                <a:gd name="connsiteX100" fmla="*/ 3429000 w 5553075"/>
                <a:gd name="connsiteY100" fmla="*/ 714769 h 2634056"/>
                <a:gd name="connsiteX101" fmla="*/ 3429000 w 5553075"/>
                <a:gd name="connsiteY101" fmla="*/ 738581 h 2634056"/>
                <a:gd name="connsiteX102" fmla="*/ 3457575 w 5553075"/>
                <a:gd name="connsiteY102" fmla="*/ 805256 h 2634056"/>
                <a:gd name="connsiteX103" fmla="*/ 3514725 w 5553075"/>
                <a:gd name="connsiteY103" fmla="*/ 762394 h 2634056"/>
                <a:gd name="connsiteX104" fmla="*/ 3557588 w 5553075"/>
                <a:gd name="connsiteY104" fmla="*/ 752869 h 2634056"/>
                <a:gd name="connsiteX105" fmla="*/ 3595688 w 5553075"/>
                <a:gd name="connsiteY105" fmla="*/ 738581 h 2634056"/>
                <a:gd name="connsiteX106" fmla="*/ 3629025 w 5553075"/>
                <a:gd name="connsiteY106" fmla="*/ 700481 h 2634056"/>
                <a:gd name="connsiteX107" fmla="*/ 3648075 w 5553075"/>
                <a:gd name="connsiteY107" fmla="*/ 719531 h 2634056"/>
                <a:gd name="connsiteX108" fmla="*/ 3638550 w 5553075"/>
                <a:gd name="connsiteY108" fmla="*/ 757631 h 2634056"/>
                <a:gd name="connsiteX109" fmla="*/ 3657600 w 5553075"/>
                <a:gd name="connsiteY109" fmla="*/ 805256 h 2634056"/>
                <a:gd name="connsiteX110" fmla="*/ 3705225 w 5553075"/>
                <a:gd name="connsiteY110" fmla="*/ 805256 h 2634056"/>
                <a:gd name="connsiteX111" fmla="*/ 3771900 w 5553075"/>
                <a:gd name="connsiteY111" fmla="*/ 790969 h 2634056"/>
                <a:gd name="connsiteX112" fmla="*/ 3824288 w 5553075"/>
                <a:gd name="connsiteY112" fmla="*/ 767156 h 2634056"/>
                <a:gd name="connsiteX113" fmla="*/ 3814763 w 5553075"/>
                <a:gd name="connsiteY113" fmla="*/ 767156 h 2634056"/>
                <a:gd name="connsiteX114" fmla="*/ 3876675 w 5553075"/>
                <a:gd name="connsiteY114" fmla="*/ 776681 h 2634056"/>
                <a:gd name="connsiteX115" fmla="*/ 3929063 w 5553075"/>
                <a:gd name="connsiteY115" fmla="*/ 757631 h 2634056"/>
                <a:gd name="connsiteX116" fmla="*/ 3905250 w 5553075"/>
                <a:gd name="connsiteY116" fmla="*/ 805256 h 2634056"/>
                <a:gd name="connsiteX117" fmla="*/ 3914775 w 5553075"/>
                <a:gd name="connsiteY117" fmla="*/ 838594 h 2634056"/>
                <a:gd name="connsiteX118" fmla="*/ 3957638 w 5553075"/>
                <a:gd name="connsiteY118" fmla="*/ 805256 h 2634056"/>
                <a:gd name="connsiteX119" fmla="*/ 3986213 w 5553075"/>
                <a:gd name="connsiteY119" fmla="*/ 848119 h 2634056"/>
                <a:gd name="connsiteX120" fmla="*/ 4078288 w 5553075"/>
                <a:gd name="connsiteY120" fmla="*/ 895744 h 2634056"/>
                <a:gd name="connsiteX121" fmla="*/ 4071938 w 5553075"/>
                <a:gd name="connsiteY121" fmla="*/ 962419 h 2634056"/>
                <a:gd name="connsiteX122" fmla="*/ 4116388 w 5553075"/>
                <a:gd name="connsiteY122" fmla="*/ 1025919 h 2634056"/>
                <a:gd name="connsiteX123" fmla="*/ 4144963 w 5553075"/>
                <a:gd name="connsiteY123" fmla="*/ 1068781 h 2634056"/>
                <a:gd name="connsiteX124" fmla="*/ 4137025 w 5553075"/>
                <a:gd name="connsiteY124" fmla="*/ 1097356 h 2634056"/>
                <a:gd name="connsiteX125" fmla="*/ 4157663 w 5553075"/>
                <a:gd name="connsiteY125" fmla="*/ 1124344 h 2634056"/>
                <a:gd name="connsiteX126" fmla="*/ 4162425 w 5553075"/>
                <a:gd name="connsiteY126" fmla="*/ 1200544 h 2634056"/>
                <a:gd name="connsiteX127" fmla="*/ 4195763 w 5553075"/>
                <a:gd name="connsiteY127" fmla="*/ 1229119 h 2634056"/>
                <a:gd name="connsiteX128" fmla="*/ 4176713 w 5553075"/>
                <a:gd name="connsiteY128" fmla="*/ 1262456 h 2634056"/>
                <a:gd name="connsiteX129" fmla="*/ 4191000 w 5553075"/>
                <a:gd name="connsiteY129" fmla="*/ 1286269 h 2634056"/>
                <a:gd name="connsiteX130" fmla="*/ 4286250 w 5553075"/>
                <a:gd name="connsiteY130" fmla="*/ 1356119 h 2634056"/>
                <a:gd name="connsiteX131" fmla="*/ 4275138 w 5553075"/>
                <a:gd name="connsiteY131" fmla="*/ 1395806 h 2634056"/>
                <a:gd name="connsiteX132" fmla="*/ 4229100 w 5553075"/>
                <a:gd name="connsiteY132" fmla="*/ 1395806 h 2634056"/>
                <a:gd name="connsiteX133" fmla="*/ 4271963 w 5553075"/>
                <a:gd name="connsiteY133" fmla="*/ 1481531 h 2634056"/>
                <a:gd name="connsiteX134" fmla="*/ 4329113 w 5553075"/>
                <a:gd name="connsiteY134" fmla="*/ 1470419 h 2634056"/>
                <a:gd name="connsiteX135" fmla="*/ 4384675 w 5553075"/>
                <a:gd name="connsiteY135" fmla="*/ 1500581 h 2634056"/>
                <a:gd name="connsiteX136" fmla="*/ 4445000 w 5553075"/>
                <a:gd name="connsiteY136" fmla="*/ 1535506 h 2634056"/>
                <a:gd name="connsiteX137" fmla="*/ 4438650 w 5553075"/>
                <a:gd name="connsiteY137" fmla="*/ 1562494 h 2634056"/>
                <a:gd name="connsiteX138" fmla="*/ 4432300 w 5553075"/>
                <a:gd name="connsiteY138" fmla="*/ 1632344 h 2634056"/>
                <a:gd name="connsiteX139" fmla="*/ 4500563 w 5553075"/>
                <a:gd name="connsiteY139" fmla="*/ 1672031 h 2634056"/>
                <a:gd name="connsiteX140" fmla="*/ 4565650 w 5553075"/>
                <a:gd name="connsiteY140" fmla="*/ 1652981 h 2634056"/>
                <a:gd name="connsiteX141" fmla="*/ 4605338 w 5553075"/>
                <a:gd name="connsiteY141" fmla="*/ 1638694 h 2634056"/>
                <a:gd name="connsiteX142" fmla="*/ 4619625 w 5553075"/>
                <a:gd name="connsiteY142" fmla="*/ 1686319 h 2634056"/>
                <a:gd name="connsiteX143" fmla="*/ 4657725 w 5553075"/>
                <a:gd name="connsiteY143" fmla="*/ 1710131 h 2634056"/>
                <a:gd name="connsiteX144" fmla="*/ 4629150 w 5553075"/>
                <a:gd name="connsiteY144" fmla="*/ 1757756 h 2634056"/>
                <a:gd name="connsiteX145" fmla="*/ 4652963 w 5553075"/>
                <a:gd name="connsiteY145" fmla="*/ 1814906 h 2634056"/>
                <a:gd name="connsiteX146" fmla="*/ 4681538 w 5553075"/>
                <a:gd name="connsiteY146" fmla="*/ 1848244 h 2634056"/>
                <a:gd name="connsiteX147" fmla="*/ 4767263 w 5553075"/>
                <a:gd name="connsiteY147" fmla="*/ 1891106 h 2634056"/>
                <a:gd name="connsiteX148" fmla="*/ 4776788 w 5553075"/>
                <a:gd name="connsiteY148" fmla="*/ 1967306 h 2634056"/>
                <a:gd name="connsiteX149" fmla="*/ 4705350 w 5553075"/>
                <a:gd name="connsiteY149" fmla="*/ 1938731 h 2634056"/>
                <a:gd name="connsiteX150" fmla="*/ 4695825 w 5553075"/>
                <a:gd name="connsiteY150" fmla="*/ 1972069 h 2634056"/>
                <a:gd name="connsiteX151" fmla="*/ 4743450 w 5553075"/>
                <a:gd name="connsiteY151" fmla="*/ 2014931 h 2634056"/>
                <a:gd name="connsiteX152" fmla="*/ 4776788 w 5553075"/>
                <a:gd name="connsiteY152" fmla="*/ 2033981 h 2634056"/>
                <a:gd name="connsiteX153" fmla="*/ 4810125 w 5553075"/>
                <a:gd name="connsiteY153" fmla="*/ 2010169 h 2634056"/>
                <a:gd name="connsiteX154" fmla="*/ 4843463 w 5553075"/>
                <a:gd name="connsiteY154" fmla="*/ 2024456 h 2634056"/>
                <a:gd name="connsiteX155" fmla="*/ 4838700 w 5553075"/>
                <a:gd name="connsiteY155" fmla="*/ 2095894 h 2634056"/>
                <a:gd name="connsiteX156" fmla="*/ 4972050 w 5553075"/>
                <a:gd name="connsiteY156" fmla="*/ 2191144 h 2634056"/>
                <a:gd name="connsiteX157" fmla="*/ 4995863 w 5553075"/>
                <a:gd name="connsiteY157" fmla="*/ 2167331 h 2634056"/>
                <a:gd name="connsiteX158" fmla="*/ 5081588 w 5553075"/>
                <a:gd name="connsiteY158" fmla="*/ 2186381 h 2634056"/>
                <a:gd name="connsiteX159" fmla="*/ 5124450 w 5553075"/>
                <a:gd name="connsiteY159" fmla="*/ 2253056 h 2634056"/>
                <a:gd name="connsiteX160" fmla="*/ 5248275 w 5553075"/>
                <a:gd name="connsiteY160" fmla="*/ 2295919 h 2634056"/>
                <a:gd name="connsiteX161" fmla="*/ 5281613 w 5553075"/>
                <a:gd name="connsiteY161" fmla="*/ 2362594 h 2634056"/>
                <a:gd name="connsiteX162" fmla="*/ 5276850 w 5553075"/>
                <a:gd name="connsiteY162" fmla="*/ 2443556 h 2634056"/>
                <a:gd name="connsiteX163" fmla="*/ 5353050 w 5553075"/>
                <a:gd name="connsiteY163" fmla="*/ 2514994 h 2634056"/>
                <a:gd name="connsiteX164" fmla="*/ 5438775 w 5553075"/>
                <a:gd name="connsiteY164" fmla="*/ 2534044 h 2634056"/>
                <a:gd name="connsiteX165" fmla="*/ 5486400 w 5553075"/>
                <a:gd name="connsiteY165" fmla="*/ 2595956 h 2634056"/>
                <a:gd name="connsiteX166" fmla="*/ 5553075 w 5553075"/>
                <a:gd name="connsiteY166"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57163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90588 w 5553075"/>
                <a:gd name="connsiteY27" fmla="*/ 257569 h 2634056"/>
                <a:gd name="connsiteX28" fmla="*/ 928688 w 5553075"/>
                <a:gd name="connsiteY28" fmla="*/ 271856 h 2634056"/>
                <a:gd name="connsiteX29" fmla="*/ 976313 w 5553075"/>
                <a:gd name="connsiteY29" fmla="*/ 286144 h 2634056"/>
                <a:gd name="connsiteX30" fmla="*/ 1019175 w 5553075"/>
                <a:gd name="connsiteY30" fmla="*/ 305194 h 2634056"/>
                <a:gd name="connsiteX31" fmla="*/ 1123950 w 5553075"/>
                <a:gd name="connsiteY31" fmla="*/ 276619 h 2634056"/>
                <a:gd name="connsiteX32" fmla="*/ 1128713 w 5553075"/>
                <a:gd name="connsiteY32" fmla="*/ 214706 h 2634056"/>
                <a:gd name="connsiteX33" fmla="*/ 1190625 w 5553075"/>
                <a:gd name="connsiteY33" fmla="*/ 243281 h 2634056"/>
                <a:gd name="connsiteX34" fmla="*/ 1252538 w 5553075"/>
                <a:gd name="connsiteY34" fmla="*/ 243281 h 2634056"/>
                <a:gd name="connsiteX35" fmla="*/ 1281113 w 5553075"/>
                <a:gd name="connsiteY35" fmla="*/ 209944 h 2634056"/>
                <a:gd name="connsiteX36" fmla="*/ 1276350 w 5553075"/>
                <a:gd name="connsiteY36" fmla="*/ 181369 h 2634056"/>
                <a:gd name="connsiteX37" fmla="*/ 1309688 w 5553075"/>
                <a:gd name="connsiteY37" fmla="*/ 162319 h 2634056"/>
                <a:gd name="connsiteX38" fmla="*/ 1328738 w 5553075"/>
                <a:gd name="connsiteY38" fmla="*/ 138506 h 2634056"/>
                <a:gd name="connsiteX39" fmla="*/ 1366838 w 5553075"/>
                <a:gd name="connsiteY39" fmla="*/ 152794 h 2634056"/>
                <a:gd name="connsiteX40" fmla="*/ 1400175 w 5553075"/>
                <a:gd name="connsiteY40" fmla="*/ 209944 h 2634056"/>
                <a:gd name="connsiteX41" fmla="*/ 1466850 w 5553075"/>
                <a:gd name="connsiteY41" fmla="*/ 181369 h 2634056"/>
                <a:gd name="connsiteX42" fmla="*/ 1511300 w 5553075"/>
                <a:gd name="connsiteY42" fmla="*/ 182956 h 2634056"/>
                <a:gd name="connsiteX43" fmla="*/ 1543050 w 5553075"/>
                <a:gd name="connsiteY43" fmla="*/ 157556 h 2634056"/>
                <a:gd name="connsiteX44" fmla="*/ 1649413 w 5553075"/>
                <a:gd name="connsiteY44" fmla="*/ 18295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885950 w 5553075"/>
                <a:gd name="connsiteY51" fmla="*/ 94056 h 2634056"/>
                <a:gd name="connsiteX52" fmla="*/ 1919288 w 5553075"/>
                <a:gd name="connsiteY52" fmla="*/ 86119 h 2634056"/>
                <a:gd name="connsiteX53" fmla="*/ 1949450 w 5553075"/>
                <a:gd name="connsiteY53" fmla="*/ 62306 h 2634056"/>
                <a:gd name="connsiteX54" fmla="*/ 1952625 w 5553075"/>
                <a:gd name="connsiteY54" fmla="*/ 394 h 2634056"/>
                <a:gd name="connsiteX55" fmla="*/ 2000250 w 5553075"/>
                <a:gd name="connsiteY55" fmla="*/ 38494 h 2634056"/>
                <a:gd name="connsiteX56" fmla="*/ 2019300 w 5553075"/>
                <a:gd name="connsiteY56" fmla="*/ 90881 h 2634056"/>
                <a:gd name="connsiteX57" fmla="*/ 2057400 w 5553075"/>
                <a:gd name="connsiteY57" fmla="*/ 57544 h 2634056"/>
                <a:gd name="connsiteX58" fmla="*/ 2081213 w 5553075"/>
                <a:gd name="connsiteY58" fmla="*/ 81356 h 2634056"/>
                <a:gd name="connsiteX59" fmla="*/ 2109788 w 5553075"/>
                <a:gd name="connsiteY59" fmla="*/ 48019 h 2634056"/>
                <a:gd name="connsiteX60" fmla="*/ 2138363 w 5553075"/>
                <a:gd name="connsiteY60" fmla="*/ 76594 h 2634056"/>
                <a:gd name="connsiteX61" fmla="*/ 2181225 w 5553075"/>
                <a:gd name="connsiteY61" fmla="*/ 81356 h 2634056"/>
                <a:gd name="connsiteX62" fmla="*/ 2195513 w 5553075"/>
                <a:gd name="connsiteY62" fmla="*/ 57544 h 2634056"/>
                <a:gd name="connsiteX63" fmla="*/ 2219325 w 5553075"/>
                <a:gd name="connsiteY63" fmla="*/ 86119 h 2634056"/>
                <a:gd name="connsiteX64" fmla="*/ 2252663 w 5553075"/>
                <a:gd name="connsiteY64" fmla="*/ 52781 h 2634056"/>
                <a:gd name="connsiteX65" fmla="*/ 2286000 w 5553075"/>
                <a:gd name="connsiteY65" fmla="*/ 100406 h 2634056"/>
                <a:gd name="connsiteX66" fmla="*/ 2333625 w 5553075"/>
                <a:gd name="connsiteY66" fmla="*/ 62306 h 2634056"/>
                <a:gd name="connsiteX67" fmla="*/ 2393950 w 5553075"/>
                <a:gd name="connsiteY67" fmla="*/ 65481 h 2634056"/>
                <a:gd name="connsiteX68" fmla="*/ 2419350 w 5553075"/>
                <a:gd name="connsiteY68" fmla="*/ 57544 h 2634056"/>
                <a:gd name="connsiteX69" fmla="*/ 2419350 w 5553075"/>
                <a:gd name="connsiteY69" fmla="*/ 105169 h 2634056"/>
                <a:gd name="connsiteX70" fmla="*/ 2462213 w 5553075"/>
                <a:gd name="connsiteY70" fmla="*/ 90881 h 2634056"/>
                <a:gd name="connsiteX71" fmla="*/ 2524125 w 5553075"/>
                <a:gd name="connsiteY71" fmla="*/ 95644 h 2634056"/>
                <a:gd name="connsiteX72" fmla="*/ 2543175 w 5553075"/>
                <a:gd name="connsiteY72" fmla="*/ 71831 h 2634056"/>
                <a:gd name="connsiteX73" fmla="*/ 2609850 w 5553075"/>
                <a:gd name="connsiteY73" fmla="*/ 105169 h 2634056"/>
                <a:gd name="connsiteX74" fmla="*/ 2692400 w 5553075"/>
                <a:gd name="connsiteY74" fmla="*/ 78181 h 2634056"/>
                <a:gd name="connsiteX75" fmla="*/ 2716213 w 5553075"/>
                <a:gd name="connsiteY75" fmla="*/ 55956 h 2634056"/>
                <a:gd name="connsiteX76" fmla="*/ 2724150 w 5553075"/>
                <a:gd name="connsiteY76" fmla="*/ 86119 h 2634056"/>
                <a:gd name="connsiteX77" fmla="*/ 2814638 w 5553075"/>
                <a:gd name="connsiteY77" fmla="*/ 71831 h 2634056"/>
                <a:gd name="connsiteX78" fmla="*/ 2836863 w 5553075"/>
                <a:gd name="connsiteY78" fmla="*/ 135331 h 2634056"/>
                <a:gd name="connsiteX79" fmla="*/ 2828925 w 5553075"/>
                <a:gd name="connsiteY79" fmla="*/ 176606 h 2634056"/>
                <a:gd name="connsiteX80" fmla="*/ 2895600 w 5553075"/>
                <a:gd name="connsiteY80" fmla="*/ 152794 h 2634056"/>
                <a:gd name="connsiteX81" fmla="*/ 2895600 w 5553075"/>
                <a:gd name="connsiteY81" fmla="*/ 195656 h 2634056"/>
                <a:gd name="connsiteX82" fmla="*/ 2933700 w 5553075"/>
                <a:gd name="connsiteY82" fmla="*/ 238519 h 2634056"/>
                <a:gd name="connsiteX83" fmla="*/ 2933700 w 5553075"/>
                <a:gd name="connsiteY83" fmla="*/ 195656 h 2634056"/>
                <a:gd name="connsiteX84" fmla="*/ 2986088 w 5553075"/>
                <a:gd name="connsiteY84" fmla="*/ 224231 h 2634056"/>
                <a:gd name="connsiteX85" fmla="*/ 3000375 w 5553075"/>
                <a:gd name="connsiteY85" fmla="*/ 248044 h 2634056"/>
                <a:gd name="connsiteX86" fmla="*/ 3057525 w 5553075"/>
                <a:gd name="connsiteY86" fmla="*/ 295669 h 2634056"/>
                <a:gd name="connsiteX87" fmla="*/ 3086100 w 5553075"/>
                <a:gd name="connsiteY87" fmla="*/ 303606 h 2634056"/>
                <a:gd name="connsiteX88" fmla="*/ 3138488 w 5553075"/>
                <a:gd name="connsiteY88" fmla="*/ 371869 h 2634056"/>
                <a:gd name="connsiteX89" fmla="*/ 3190875 w 5553075"/>
                <a:gd name="connsiteY89" fmla="*/ 424256 h 2634056"/>
                <a:gd name="connsiteX90" fmla="*/ 3214688 w 5553075"/>
                <a:gd name="connsiteY90" fmla="*/ 467119 h 2634056"/>
                <a:gd name="connsiteX91" fmla="*/ 3257550 w 5553075"/>
                <a:gd name="connsiteY91" fmla="*/ 471881 h 2634056"/>
                <a:gd name="connsiteX92" fmla="*/ 3319463 w 5553075"/>
                <a:gd name="connsiteY92" fmla="*/ 529031 h 2634056"/>
                <a:gd name="connsiteX93" fmla="*/ 3281363 w 5553075"/>
                <a:gd name="connsiteY93" fmla="*/ 546494 h 2634056"/>
                <a:gd name="connsiteX94" fmla="*/ 3281363 w 5553075"/>
                <a:gd name="connsiteY94" fmla="*/ 567131 h 2634056"/>
                <a:gd name="connsiteX95" fmla="*/ 3319463 w 5553075"/>
                <a:gd name="connsiteY95" fmla="*/ 581419 h 2634056"/>
                <a:gd name="connsiteX96" fmla="*/ 3286125 w 5553075"/>
                <a:gd name="connsiteY96" fmla="*/ 633806 h 2634056"/>
                <a:gd name="connsiteX97" fmla="*/ 3352800 w 5553075"/>
                <a:gd name="connsiteY97" fmla="*/ 629044 h 2634056"/>
                <a:gd name="connsiteX98" fmla="*/ 3381375 w 5553075"/>
                <a:gd name="connsiteY98" fmla="*/ 667144 h 2634056"/>
                <a:gd name="connsiteX99" fmla="*/ 3419475 w 5553075"/>
                <a:gd name="connsiteY99" fmla="*/ 686194 h 2634056"/>
                <a:gd name="connsiteX100" fmla="*/ 3429000 w 5553075"/>
                <a:gd name="connsiteY100" fmla="*/ 714769 h 2634056"/>
                <a:gd name="connsiteX101" fmla="*/ 3429000 w 5553075"/>
                <a:gd name="connsiteY101" fmla="*/ 738581 h 2634056"/>
                <a:gd name="connsiteX102" fmla="*/ 3457575 w 5553075"/>
                <a:gd name="connsiteY102" fmla="*/ 805256 h 2634056"/>
                <a:gd name="connsiteX103" fmla="*/ 3514725 w 5553075"/>
                <a:gd name="connsiteY103" fmla="*/ 762394 h 2634056"/>
                <a:gd name="connsiteX104" fmla="*/ 3557588 w 5553075"/>
                <a:gd name="connsiteY104" fmla="*/ 752869 h 2634056"/>
                <a:gd name="connsiteX105" fmla="*/ 3595688 w 5553075"/>
                <a:gd name="connsiteY105" fmla="*/ 738581 h 2634056"/>
                <a:gd name="connsiteX106" fmla="*/ 3629025 w 5553075"/>
                <a:gd name="connsiteY106" fmla="*/ 700481 h 2634056"/>
                <a:gd name="connsiteX107" fmla="*/ 3648075 w 5553075"/>
                <a:gd name="connsiteY107" fmla="*/ 719531 h 2634056"/>
                <a:gd name="connsiteX108" fmla="*/ 3638550 w 5553075"/>
                <a:gd name="connsiteY108" fmla="*/ 757631 h 2634056"/>
                <a:gd name="connsiteX109" fmla="*/ 3657600 w 5553075"/>
                <a:gd name="connsiteY109" fmla="*/ 805256 h 2634056"/>
                <a:gd name="connsiteX110" fmla="*/ 3705225 w 5553075"/>
                <a:gd name="connsiteY110" fmla="*/ 805256 h 2634056"/>
                <a:gd name="connsiteX111" fmla="*/ 3771900 w 5553075"/>
                <a:gd name="connsiteY111" fmla="*/ 790969 h 2634056"/>
                <a:gd name="connsiteX112" fmla="*/ 3824288 w 5553075"/>
                <a:gd name="connsiteY112" fmla="*/ 767156 h 2634056"/>
                <a:gd name="connsiteX113" fmla="*/ 3814763 w 5553075"/>
                <a:gd name="connsiteY113" fmla="*/ 767156 h 2634056"/>
                <a:gd name="connsiteX114" fmla="*/ 3876675 w 5553075"/>
                <a:gd name="connsiteY114" fmla="*/ 776681 h 2634056"/>
                <a:gd name="connsiteX115" fmla="*/ 3929063 w 5553075"/>
                <a:gd name="connsiteY115" fmla="*/ 757631 h 2634056"/>
                <a:gd name="connsiteX116" fmla="*/ 3905250 w 5553075"/>
                <a:gd name="connsiteY116" fmla="*/ 805256 h 2634056"/>
                <a:gd name="connsiteX117" fmla="*/ 3914775 w 5553075"/>
                <a:gd name="connsiteY117" fmla="*/ 838594 h 2634056"/>
                <a:gd name="connsiteX118" fmla="*/ 3957638 w 5553075"/>
                <a:gd name="connsiteY118" fmla="*/ 805256 h 2634056"/>
                <a:gd name="connsiteX119" fmla="*/ 3986213 w 5553075"/>
                <a:gd name="connsiteY119" fmla="*/ 848119 h 2634056"/>
                <a:gd name="connsiteX120" fmla="*/ 4078288 w 5553075"/>
                <a:gd name="connsiteY120" fmla="*/ 895744 h 2634056"/>
                <a:gd name="connsiteX121" fmla="*/ 4071938 w 5553075"/>
                <a:gd name="connsiteY121" fmla="*/ 962419 h 2634056"/>
                <a:gd name="connsiteX122" fmla="*/ 4116388 w 5553075"/>
                <a:gd name="connsiteY122" fmla="*/ 1025919 h 2634056"/>
                <a:gd name="connsiteX123" fmla="*/ 4144963 w 5553075"/>
                <a:gd name="connsiteY123" fmla="*/ 1068781 h 2634056"/>
                <a:gd name="connsiteX124" fmla="*/ 4137025 w 5553075"/>
                <a:gd name="connsiteY124" fmla="*/ 1097356 h 2634056"/>
                <a:gd name="connsiteX125" fmla="*/ 4157663 w 5553075"/>
                <a:gd name="connsiteY125" fmla="*/ 1124344 h 2634056"/>
                <a:gd name="connsiteX126" fmla="*/ 4162425 w 5553075"/>
                <a:gd name="connsiteY126" fmla="*/ 1200544 h 2634056"/>
                <a:gd name="connsiteX127" fmla="*/ 4195763 w 5553075"/>
                <a:gd name="connsiteY127" fmla="*/ 1229119 h 2634056"/>
                <a:gd name="connsiteX128" fmla="*/ 4176713 w 5553075"/>
                <a:gd name="connsiteY128" fmla="*/ 1262456 h 2634056"/>
                <a:gd name="connsiteX129" fmla="*/ 4191000 w 5553075"/>
                <a:gd name="connsiteY129" fmla="*/ 1286269 h 2634056"/>
                <a:gd name="connsiteX130" fmla="*/ 4286250 w 5553075"/>
                <a:gd name="connsiteY130" fmla="*/ 1356119 h 2634056"/>
                <a:gd name="connsiteX131" fmla="*/ 4275138 w 5553075"/>
                <a:gd name="connsiteY131" fmla="*/ 1395806 h 2634056"/>
                <a:gd name="connsiteX132" fmla="*/ 4229100 w 5553075"/>
                <a:gd name="connsiteY132" fmla="*/ 1395806 h 2634056"/>
                <a:gd name="connsiteX133" fmla="*/ 4271963 w 5553075"/>
                <a:gd name="connsiteY133" fmla="*/ 1481531 h 2634056"/>
                <a:gd name="connsiteX134" fmla="*/ 4329113 w 5553075"/>
                <a:gd name="connsiteY134" fmla="*/ 1470419 h 2634056"/>
                <a:gd name="connsiteX135" fmla="*/ 4384675 w 5553075"/>
                <a:gd name="connsiteY135" fmla="*/ 1500581 h 2634056"/>
                <a:gd name="connsiteX136" fmla="*/ 4445000 w 5553075"/>
                <a:gd name="connsiteY136" fmla="*/ 1535506 h 2634056"/>
                <a:gd name="connsiteX137" fmla="*/ 4438650 w 5553075"/>
                <a:gd name="connsiteY137" fmla="*/ 1562494 h 2634056"/>
                <a:gd name="connsiteX138" fmla="*/ 4432300 w 5553075"/>
                <a:gd name="connsiteY138" fmla="*/ 1632344 h 2634056"/>
                <a:gd name="connsiteX139" fmla="*/ 4500563 w 5553075"/>
                <a:gd name="connsiteY139" fmla="*/ 1672031 h 2634056"/>
                <a:gd name="connsiteX140" fmla="*/ 4565650 w 5553075"/>
                <a:gd name="connsiteY140" fmla="*/ 1652981 h 2634056"/>
                <a:gd name="connsiteX141" fmla="*/ 4605338 w 5553075"/>
                <a:gd name="connsiteY141" fmla="*/ 1638694 h 2634056"/>
                <a:gd name="connsiteX142" fmla="*/ 4619625 w 5553075"/>
                <a:gd name="connsiteY142" fmla="*/ 1686319 h 2634056"/>
                <a:gd name="connsiteX143" fmla="*/ 4657725 w 5553075"/>
                <a:gd name="connsiteY143" fmla="*/ 1710131 h 2634056"/>
                <a:gd name="connsiteX144" fmla="*/ 4629150 w 5553075"/>
                <a:gd name="connsiteY144" fmla="*/ 1757756 h 2634056"/>
                <a:gd name="connsiteX145" fmla="*/ 4652963 w 5553075"/>
                <a:gd name="connsiteY145" fmla="*/ 1814906 h 2634056"/>
                <a:gd name="connsiteX146" fmla="*/ 4681538 w 5553075"/>
                <a:gd name="connsiteY146" fmla="*/ 1848244 h 2634056"/>
                <a:gd name="connsiteX147" fmla="*/ 4767263 w 5553075"/>
                <a:gd name="connsiteY147" fmla="*/ 1891106 h 2634056"/>
                <a:gd name="connsiteX148" fmla="*/ 4776788 w 5553075"/>
                <a:gd name="connsiteY148" fmla="*/ 1967306 h 2634056"/>
                <a:gd name="connsiteX149" fmla="*/ 4705350 w 5553075"/>
                <a:gd name="connsiteY149" fmla="*/ 1938731 h 2634056"/>
                <a:gd name="connsiteX150" fmla="*/ 4695825 w 5553075"/>
                <a:gd name="connsiteY150" fmla="*/ 1972069 h 2634056"/>
                <a:gd name="connsiteX151" fmla="*/ 4743450 w 5553075"/>
                <a:gd name="connsiteY151" fmla="*/ 2014931 h 2634056"/>
                <a:gd name="connsiteX152" fmla="*/ 4776788 w 5553075"/>
                <a:gd name="connsiteY152" fmla="*/ 2033981 h 2634056"/>
                <a:gd name="connsiteX153" fmla="*/ 4810125 w 5553075"/>
                <a:gd name="connsiteY153" fmla="*/ 2010169 h 2634056"/>
                <a:gd name="connsiteX154" fmla="*/ 4843463 w 5553075"/>
                <a:gd name="connsiteY154" fmla="*/ 2024456 h 2634056"/>
                <a:gd name="connsiteX155" fmla="*/ 4838700 w 5553075"/>
                <a:gd name="connsiteY155" fmla="*/ 2095894 h 2634056"/>
                <a:gd name="connsiteX156" fmla="*/ 4972050 w 5553075"/>
                <a:gd name="connsiteY156" fmla="*/ 2191144 h 2634056"/>
                <a:gd name="connsiteX157" fmla="*/ 4995863 w 5553075"/>
                <a:gd name="connsiteY157" fmla="*/ 2167331 h 2634056"/>
                <a:gd name="connsiteX158" fmla="*/ 5081588 w 5553075"/>
                <a:gd name="connsiteY158" fmla="*/ 2186381 h 2634056"/>
                <a:gd name="connsiteX159" fmla="*/ 5124450 w 5553075"/>
                <a:gd name="connsiteY159" fmla="*/ 2253056 h 2634056"/>
                <a:gd name="connsiteX160" fmla="*/ 5248275 w 5553075"/>
                <a:gd name="connsiteY160" fmla="*/ 2295919 h 2634056"/>
                <a:gd name="connsiteX161" fmla="*/ 5281613 w 5553075"/>
                <a:gd name="connsiteY161" fmla="*/ 2362594 h 2634056"/>
                <a:gd name="connsiteX162" fmla="*/ 5276850 w 5553075"/>
                <a:gd name="connsiteY162" fmla="*/ 2443556 h 2634056"/>
                <a:gd name="connsiteX163" fmla="*/ 5353050 w 5553075"/>
                <a:gd name="connsiteY163" fmla="*/ 2514994 h 2634056"/>
                <a:gd name="connsiteX164" fmla="*/ 5438775 w 5553075"/>
                <a:gd name="connsiteY164" fmla="*/ 2534044 h 2634056"/>
                <a:gd name="connsiteX165" fmla="*/ 5486400 w 5553075"/>
                <a:gd name="connsiteY165" fmla="*/ 2595956 h 2634056"/>
                <a:gd name="connsiteX166" fmla="*/ 5553075 w 5553075"/>
                <a:gd name="connsiteY166"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90588 w 5553075"/>
                <a:gd name="connsiteY27" fmla="*/ 257569 h 2634056"/>
                <a:gd name="connsiteX28" fmla="*/ 928688 w 5553075"/>
                <a:gd name="connsiteY28" fmla="*/ 271856 h 2634056"/>
                <a:gd name="connsiteX29" fmla="*/ 976313 w 5553075"/>
                <a:gd name="connsiteY29" fmla="*/ 286144 h 2634056"/>
                <a:gd name="connsiteX30" fmla="*/ 1019175 w 5553075"/>
                <a:gd name="connsiteY30" fmla="*/ 305194 h 2634056"/>
                <a:gd name="connsiteX31" fmla="*/ 1123950 w 5553075"/>
                <a:gd name="connsiteY31" fmla="*/ 276619 h 2634056"/>
                <a:gd name="connsiteX32" fmla="*/ 1128713 w 5553075"/>
                <a:gd name="connsiteY32" fmla="*/ 214706 h 2634056"/>
                <a:gd name="connsiteX33" fmla="*/ 1190625 w 5553075"/>
                <a:gd name="connsiteY33" fmla="*/ 243281 h 2634056"/>
                <a:gd name="connsiteX34" fmla="*/ 1252538 w 5553075"/>
                <a:gd name="connsiteY34" fmla="*/ 243281 h 2634056"/>
                <a:gd name="connsiteX35" fmla="*/ 1281113 w 5553075"/>
                <a:gd name="connsiteY35" fmla="*/ 209944 h 2634056"/>
                <a:gd name="connsiteX36" fmla="*/ 1276350 w 5553075"/>
                <a:gd name="connsiteY36" fmla="*/ 181369 h 2634056"/>
                <a:gd name="connsiteX37" fmla="*/ 1309688 w 5553075"/>
                <a:gd name="connsiteY37" fmla="*/ 162319 h 2634056"/>
                <a:gd name="connsiteX38" fmla="*/ 1328738 w 5553075"/>
                <a:gd name="connsiteY38" fmla="*/ 138506 h 2634056"/>
                <a:gd name="connsiteX39" fmla="*/ 1366838 w 5553075"/>
                <a:gd name="connsiteY39" fmla="*/ 152794 h 2634056"/>
                <a:gd name="connsiteX40" fmla="*/ 1400175 w 5553075"/>
                <a:gd name="connsiteY40" fmla="*/ 209944 h 2634056"/>
                <a:gd name="connsiteX41" fmla="*/ 1466850 w 5553075"/>
                <a:gd name="connsiteY41" fmla="*/ 181369 h 2634056"/>
                <a:gd name="connsiteX42" fmla="*/ 1511300 w 5553075"/>
                <a:gd name="connsiteY42" fmla="*/ 182956 h 2634056"/>
                <a:gd name="connsiteX43" fmla="*/ 1543050 w 5553075"/>
                <a:gd name="connsiteY43" fmla="*/ 157556 h 2634056"/>
                <a:gd name="connsiteX44" fmla="*/ 1649413 w 5553075"/>
                <a:gd name="connsiteY44" fmla="*/ 182956 h 2634056"/>
                <a:gd name="connsiteX45" fmla="*/ 1724025 w 5553075"/>
                <a:gd name="connsiteY45" fmla="*/ 133744 h 2634056"/>
                <a:gd name="connsiteX46" fmla="*/ 1776413 w 5553075"/>
                <a:gd name="connsiteY46" fmla="*/ 152794 h 2634056"/>
                <a:gd name="connsiteX47" fmla="*/ 1824038 w 5553075"/>
                <a:gd name="connsiteY47" fmla="*/ 124219 h 2634056"/>
                <a:gd name="connsiteX48" fmla="*/ 1795463 w 5553075"/>
                <a:gd name="connsiteY48" fmla="*/ 71831 h 2634056"/>
                <a:gd name="connsiteX49" fmla="*/ 1819275 w 5553075"/>
                <a:gd name="connsiteY49" fmla="*/ 28969 h 2634056"/>
                <a:gd name="connsiteX50" fmla="*/ 1881188 w 5553075"/>
                <a:gd name="connsiteY50" fmla="*/ 71831 h 2634056"/>
                <a:gd name="connsiteX51" fmla="*/ 1885950 w 5553075"/>
                <a:gd name="connsiteY51" fmla="*/ 94056 h 2634056"/>
                <a:gd name="connsiteX52" fmla="*/ 1919288 w 5553075"/>
                <a:gd name="connsiteY52" fmla="*/ 86119 h 2634056"/>
                <a:gd name="connsiteX53" fmla="*/ 1949450 w 5553075"/>
                <a:gd name="connsiteY53" fmla="*/ 62306 h 2634056"/>
                <a:gd name="connsiteX54" fmla="*/ 1952625 w 5553075"/>
                <a:gd name="connsiteY54" fmla="*/ 394 h 2634056"/>
                <a:gd name="connsiteX55" fmla="*/ 2000250 w 5553075"/>
                <a:gd name="connsiteY55" fmla="*/ 38494 h 2634056"/>
                <a:gd name="connsiteX56" fmla="*/ 2019300 w 5553075"/>
                <a:gd name="connsiteY56" fmla="*/ 90881 h 2634056"/>
                <a:gd name="connsiteX57" fmla="*/ 2057400 w 5553075"/>
                <a:gd name="connsiteY57" fmla="*/ 57544 h 2634056"/>
                <a:gd name="connsiteX58" fmla="*/ 2081213 w 5553075"/>
                <a:gd name="connsiteY58" fmla="*/ 81356 h 2634056"/>
                <a:gd name="connsiteX59" fmla="*/ 2109788 w 5553075"/>
                <a:gd name="connsiteY59" fmla="*/ 48019 h 2634056"/>
                <a:gd name="connsiteX60" fmla="*/ 2138363 w 5553075"/>
                <a:gd name="connsiteY60" fmla="*/ 76594 h 2634056"/>
                <a:gd name="connsiteX61" fmla="*/ 2181225 w 5553075"/>
                <a:gd name="connsiteY61" fmla="*/ 81356 h 2634056"/>
                <a:gd name="connsiteX62" fmla="*/ 2195513 w 5553075"/>
                <a:gd name="connsiteY62" fmla="*/ 57544 h 2634056"/>
                <a:gd name="connsiteX63" fmla="*/ 2219325 w 5553075"/>
                <a:gd name="connsiteY63" fmla="*/ 86119 h 2634056"/>
                <a:gd name="connsiteX64" fmla="*/ 2252663 w 5553075"/>
                <a:gd name="connsiteY64" fmla="*/ 52781 h 2634056"/>
                <a:gd name="connsiteX65" fmla="*/ 2286000 w 5553075"/>
                <a:gd name="connsiteY65" fmla="*/ 100406 h 2634056"/>
                <a:gd name="connsiteX66" fmla="*/ 2333625 w 5553075"/>
                <a:gd name="connsiteY66" fmla="*/ 62306 h 2634056"/>
                <a:gd name="connsiteX67" fmla="*/ 2393950 w 5553075"/>
                <a:gd name="connsiteY67" fmla="*/ 65481 h 2634056"/>
                <a:gd name="connsiteX68" fmla="*/ 2419350 w 5553075"/>
                <a:gd name="connsiteY68" fmla="*/ 57544 h 2634056"/>
                <a:gd name="connsiteX69" fmla="*/ 2419350 w 5553075"/>
                <a:gd name="connsiteY69" fmla="*/ 105169 h 2634056"/>
                <a:gd name="connsiteX70" fmla="*/ 2462213 w 5553075"/>
                <a:gd name="connsiteY70" fmla="*/ 90881 h 2634056"/>
                <a:gd name="connsiteX71" fmla="*/ 2524125 w 5553075"/>
                <a:gd name="connsiteY71" fmla="*/ 95644 h 2634056"/>
                <a:gd name="connsiteX72" fmla="*/ 2543175 w 5553075"/>
                <a:gd name="connsiteY72" fmla="*/ 71831 h 2634056"/>
                <a:gd name="connsiteX73" fmla="*/ 2609850 w 5553075"/>
                <a:gd name="connsiteY73" fmla="*/ 105169 h 2634056"/>
                <a:gd name="connsiteX74" fmla="*/ 2692400 w 5553075"/>
                <a:gd name="connsiteY74" fmla="*/ 78181 h 2634056"/>
                <a:gd name="connsiteX75" fmla="*/ 2716213 w 5553075"/>
                <a:gd name="connsiteY75" fmla="*/ 55956 h 2634056"/>
                <a:gd name="connsiteX76" fmla="*/ 2724150 w 5553075"/>
                <a:gd name="connsiteY76" fmla="*/ 86119 h 2634056"/>
                <a:gd name="connsiteX77" fmla="*/ 2814638 w 5553075"/>
                <a:gd name="connsiteY77" fmla="*/ 71831 h 2634056"/>
                <a:gd name="connsiteX78" fmla="*/ 2836863 w 5553075"/>
                <a:gd name="connsiteY78" fmla="*/ 135331 h 2634056"/>
                <a:gd name="connsiteX79" fmla="*/ 2828925 w 5553075"/>
                <a:gd name="connsiteY79" fmla="*/ 176606 h 2634056"/>
                <a:gd name="connsiteX80" fmla="*/ 2895600 w 5553075"/>
                <a:gd name="connsiteY80" fmla="*/ 152794 h 2634056"/>
                <a:gd name="connsiteX81" fmla="*/ 2895600 w 5553075"/>
                <a:gd name="connsiteY81" fmla="*/ 195656 h 2634056"/>
                <a:gd name="connsiteX82" fmla="*/ 2933700 w 5553075"/>
                <a:gd name="connsiteY82" fmla="*/ 238519 h 2634056"/>
                <a:gd name="connsiteX83" fmla="*/ 2933700 w 5553075"/>
                <a:gd name="connsiteY83" fmla="*/ 195656 h 2634056"/>
                <a:gd name="connsiteX84" fmla="*/ 2986088 w 5553075"/>
                <a:gd name="connsiteY84" fmla="*/ 224231 h 2634056"/>
                <a:gd name="connsiteX85" fmla="*/ 3000375 w 5553075"/>
                <a:gd name="connsiteY85" fmla="*/ 248044 h 2634056"/>
                <a:gd name="connsiteX86" fmla="*/ 3057525 w 5553075"/>
                <a:gd name="connsiteY86" fmla="*/ 295669 h 2634056"/>
                <a:gd name="connsiteX87" fmla="*/ 3086100 w 5553075"/>
                <a:gd name="connsiteY87" fmla="*/ 303606 h 2634056"/>
                <a:gd name="connsiteX88" fmla="*/ 3138488 w 5553075"/>
                <a:gd name="connsiteY88" fmla="*/ 371869 h 2634056"/>
                <a:gd name="connsiteX89" fmla="*/ 3190875 w 5553075"/>
                <a:gd name="connsiteY89" fmla="*/ 424256 h 2634056"/>
                <a:gd name="connsiteX90" fmla="*/ 3214688 w 5553075"/>
                <a:gd name="connsiteY90" fmla="*/ 467119 h 2634056"/>
                <a:gd name="connsiteX91" fmla="*/ 3257550 w 5553075"/>
                <a:gd name="connsiteY91" fmla="*/ 471881 h 2634056"/>
                <a:gd name="connsiteX92" fmla="*/ 3319463 w 5553075"/>
                <a:gd name="connsiteY92" fmla="*/ 529031 h 2634056"/>
                <a:gd name="connsiteX93" fmla="*/ 3281363 w 5553075"/>
                <a:gd name="connsiteY93" fmla="*/ 546494 h 2634056"/>
                <a:gd name="connsiteX94" fmla="*/ 3281363 w 5553075"/>
                <a:gd name="connsiteY94" fmla="*/ 567131 h 2634056"/>
                <a:gd name="connsiteX95" fmla="*/ 3319463 w 5553075"/>
                <a:gd name="connsiteY95" fmla="*/ 581419 h 2634056"/>
                <a:gd name="connsiteX96" fmla="*/ 3286125 w 5553075"/>
                <a:gd name="connsiteY96" fmla="*/ 633806 h 2634056"/>
                <a:gd name="connsiteX97" fmla="*/ 3352800 w 5553075"/>
                <a:gd name="connsiteY97" fmla="*/ 629044 h 2634056"/>
                <a:gd name="connsiteX98" fmla="*/ 3381375 w 5553075"/>
                <a:gd name="connsiteY98" fmla="*/ 667144 h 2634056"/>
                <a:gd name="connsiteX99" fmla="*/ 3419475 w 5553075"/>
                <a:gd name="connsiteY99" fmla="*/ 686194 h 2634056"/>
                <a:gd name="connsiteX100" fmla="*/ 3429000 w 5553075"/>
                <a:gd name="connsiteY100" fmla="*/ 714769 h 2634056"/>
                <a:gd name="connsiteX101" fmla="*/ 3429000 w 5553075"/>
                <a:gd name="connsiteY101" fmla="*/ 738581 h 2634056"/>
                <a:gd name="connsiteX102" fmla="*/ 3457575 w 5553075"/>
                <a:gd name="connsiteY102" fmla="*/ 805256 h 2634056"/>
                <a:gd name="connsiteX103" fmla="*/ 3514725 w 5553075"/>
                <a:gd name="connsiteY103" fmla="*/ 762394 h 2634056"/>
                <a:gd name="connsiteX104" fmla="*/ 3557588 w 5553075"/>
                <a:gd name="connsiteY104" fmla="*/ 752869 h 2634056"/>
                <a:gd name="connsiteX105" fmla="*/ 3595688 w 5553075"/>
                <a:gd name="connsiteY105" fmla="*/ 738581 h 2634056"/>
                <a:gd name="connsiteX106" fmla="*/ 3629025 w 5553075"/>
                <a:gd name="connsiteY106" fmla="*/ 700481 h 2634056"/>
                <a:gd name="connsiteX107" fmla="*/ 3648075 w 5553075"/>
                <a:gd name="connsiteY107" fmla="*/ 719531 h 2634056"/>
                <a:gd name="connsiteX108" fmla="*/ 3638550 w 5553075"/>
                <a:gd name="connsiteY108" fmla="*/ 757631 h 2634056"/>
                <a:gd name="connsiteX109" fmla="*/ 3657600 w 5553075"/>
                <a:gd name="connsiteY109" fmla="*/ 805256 h 2634056"/>
                <a:gd name="connsiteX110" fmla="*/ 3705225 w 5553075"/>
                <a:gd name="connsiteY110" fmla="*/ 805256 h 2634056"/>
                <a:gd name="connsiteX111" fmla="*/ 3771900 w 5553075"/>
                <a:gd name="connsiteY111" fmla="*/ 790969 h 2634056"/>
                <a:gd name="connsiteX112" fmla="*/ 3824288 w 5553075"/>
                <a:gd name="connsiteY112" fmla="*/ 767156 h 2634056"/>
                <a:gd name="connsiteX113" fmla="*/ 3814763 w 5553075"/>
                <a:gd name="connsiteY113" fmla="*/ 767156 h 2634056"/>
                <a:gd name="connsiteX114" fmla="*/ 3876675 w 5553075"/>
                <a:gd name="connsiteY114" fmla="*/ 776681 h 2634056"/>
                <a:gd name="connsiteX115" fmla="*/ 3929063 w 5553075"/>
                <a:gd name="connsiteY115" fmla="*/ 757631 h 2634056"/>
                <a:gd name="connsiteX116" fmla="*/ 3905250 w 5553075"/>
                <a:gd name="connsiteY116" fmla="*/ 805256 h 2634056"/>
                <a:gd name="connsiteX117" fmla="*/ 3914775 w 5553075"/>
                <a:gd name="connsiteY117" fmla="*/ 838594 h 2634056"/>
                <a:gd name="connsiteX118" fmla="*/ 3957638 w 5553075"/>
                <a:gd name="connsiteY118" fmla="*/ 805256 h 2634056"/>
                <a:gd name="connsiteX119" fmla="*/ 3986213 w 5553075"/>
                <a:gd name="connsiteY119" fmla="*/ 848119 h 2634056"/>
                <a:gd name="connsiteX120" fmla="*/ 4078288 w 5553075"/>
                <a:gd name="connsiteY120" fmla="*/ 895744 h 2634056"/>
                <a:gd name="connsiteX121" fmla="*/ 4071938 w 5553075"/>
                <a:gd name="connsiteY121" fmla="*/ 962419 h 2634056"/>
                <a:gd name="connsiteX122" fmla="*/ 4116388 w 5553075"/>
                <a:gd name="connsiteY122" fmla="*/ 1025919 h 2634056"/>
                <a:gd name="connsiteX123" fmla="*/ 4144963 w 5553075"/>
                <a:gd name="connsiteY123" fmla="*/ 1068781 h 2634056"/>
                <a:gd name="connsiteX124" fmla="*/ 4137025 w 5553075"/>
                <a:gd name="connsiteY124" fmla="*/ 1097356 h 2634056"/>
                <a:gd name="connsiteX125" fmla="*/ 4157663 w 5553075"/>
                <a:gd name="connsiteY125" fmla="*/ 1124344 h 2634056"/>
                <a:gd name="connsiteX126" fmla="*/ 4162425 w 5553075"/>
                <a:gd name="connsiteY126" fmla="*/ 1200544 h 2634056"/>
                <a:gd name="connsiteX127" fmla="*/ 4195763 w 5553075"/>
                <a:gd name="connsiteY127" fmla="*/ 1229119 h 2634056"/>
                <a:gd name="connsiteX128" fmla="*/ 4176713 w 5553075"/>
                <a:gd name="connsiteY128" fmla="*/ 1262456 h 2634056"/>
                <a:gd name="connsiteX129" fmla="*/ 4191000 w 5553075"/>
                <a:gd name="connsiteY129" fmla="*/ 1286269 h 2634056"/>
                <a:gd name="connsiteX130" fmla="*/ 4286250 w 5553075"/>
                <a:gd name="connsiteY130" fmla="*/ 1356119 h 2634056"/>
                <a:gd name="connsiteX131" fmla="*/ 4275138 w 5553075"/>
                <a:gd name="connsiteY131" fmla="*/ 1395806 h 2634056"/>
                <a:gd name="connsiteX132" fmla="*/ 4229100 w 5553075"/>
                <a:gd name="connsiteY132" fmla="*/ 1395806 h 2634056"/>
                <a:gd name="connsiteX133" fmla="*/ 4271963 w 5553075"/>
                <a:gd name="connsiteY133" fmla="*/ 1481531 h 2634056"/>
                <a:gd name="connsiteX134" fmla="*/ 4329113 w 5553075"/>
                <a:gd name="connsiteY134" fmla="*/ 1470419 h 2634056"/>
                <a:gd name="connsiteX135" fmla="*/ 4384675 w 5553075"/>
                <a:gd name="connsiteY135" fmla="*/ 1500581 h 2634056"/>
                <a:gd name="connsiteX136" fmla="*/ 4445000 w 5553075"/>
                <a:gd name="connsiteY136" fmla="*/ 1535506 h 2634056"/>
                <a:gd name="connsiteX137" fmla="*/ 4438650 w 5553075"/>
                <a:gd name="connsiteY137" fmla="*/ 1562494 h 2634056"/>
                <a:gd name="connsiteX138" fmla="*/ 4432300 w 5553075"/>
                <a:gd name="connsiteY138" fmla="*/ 1632344 h 2634056"/>
                <a:gd name="connsiteX139" fmla="*/ 4500563 w 5553075"/>
                <a:gd name="connsiteY139" fmla="*/ 1672031 h 2634056"/>
                <a:gd name="connsiteX140" fmla="*/ 4565650 w 5553075"/>
                <a:gd name="connsiteY140" fmla="*/ 1652981 h 2634056"/>
                <a:gd name="connsiteX141" fmla="*/ 4605338 w 5553075"/>
                <a:gd name="connsiteY141" fmla="*/ 1638694 h 2634056"/>
                <a:gd name="connsiteX142" fmla="*/ 4619625 w 5553075"/>
                <a:gd name="connsiteY142" fmla="*/ 1686319 h 2634056"/>
                <a:gd name="connsiteX143" fmla="*/ 4657725 w 5553075"/>
                <a:gd name="connsiteY143" fmla="*/ 1710131 h 2634056"/>
                <a:gd name="connsiteX144" fmla="*/ 4629150 w 5553075"/>
                <a:gd name="connsiteY144" fmla="*/ 1757756 h 2634056"/>
                <a:gd name="connsiteX145" fmla="*/ 4652963 w 5553075"/>
                <a:gd name="connsiteY145" fmla="*/ 1814906 h 2634056"/>
                <a:gd name="connsiteX146" fmla="*/ 4681538 w 5553075"/>
                <a:gd name="connsiteY146" fmla="*/ 1848244 h 2634056"/>
                <a:gd name="connsiteX147" fmla="*/ 4767263 w 5553075"/>
                <a:gd name="connsiteY147" fmla="*/ 1891106 h 2634056"/>
                <a:gd name="connsiteX148" fmla="*/ 4776788 w 5553075"/>
                <a:gd name="connsiteY148" fmla="*/ 1967306 h 2634056"/>
                <a:gd name="connsiteX149" fmla="*/ 4705350 w 5553075"/>
                <a:gd name="connsiteY149" fmla="*/ 1938731 h 2634056"/>
                <a:gd name="connsiteX150" fmla="*/ 4695825 w 5553075"/>
                <a:gd name="connsiteY150" fmla="*/ 1972069 h 2634056"/>
                <a:gd name="connsiteX151" fmla="*/ 4743450 w 5553075"/>
                <a:gd name="connsiteY151" fmla="*/ 2014931 h 2634056"/>
                <a:gd name="connsiteX152" fmla="*/ 4776788 w 5553075"/>
                <a:gd name="connsiteY152" fmla="*/ 2033981 h 2634056"/>
                <a:gd name="connsiteX153" fmla="*/ 4810125 w 5553075"/>
                <a:gd name="connsiteY153" fmla="*/ 2010169 h 2634056"/>
                <a:gd name="connsiteX154" fmla="*/ 4843463 w 5553075"/>
                <a:gd name="connsiteY154" fmla="*/ 2024456 h 2634056"/>
                <a:gd name="connsiteX155" fmla="*/ 4838700 w 5553075"/>
                <a:gd name="connsiteY155" fmla="*/ 2095894 h 2634056"/>
                <a:gd name="connsiteX156" fmla="*/ 4972050 w 5553075"/>
                <a:gd name="connsiteY156" fmla="*/ 2191144 h 2634056"/>
                <a:gd name="connsiteX157" fmla="*/ 4995863 w 5553075"/>
                <a:gd name="connsiteY157" fmla="*/ 2167331 h 2634056"/>
                <a:gd name="connsiteX158" fmla="*/ 5081588 w 5553075"/>
                <a:gd name="connsiteY158" fmla="*/ 2186381 h 2634056"/>
                <a:gd name="connsiteX159" fmla="*/ 5124450 w 5553075"/>
                <a:gd name="connsiteY159" fmla="*/ 2253056 h 2634056"/>
                <a:gd name="connsiteX160" fmla="*/ 5248275 w 5553075"/>
                <a:gd name="connsiteY160" fmla="*/ 2295919 h 2634056"/>
                <a:gd name="connsiteX161" fmla="*/ 5281613 w 5553075"/>
                <a:gd name="connsiteY161" fmla="*/ 2362594 h 2634056"/>
                <a:gd name="connsiteX162" fmla="*/ 5276850 w 5553075"/>
                <a:gd name="connsiteY162" fmla="*/ 2443556 h 2634056"/>
                <a:gd name="connsiteX163" fmla="*/ 5353050 w 5553075"/>
                <a:gd name="connsiteY163" fmla="*/ 2514994 h 2634056"/>
                <a:gd name="connsiteX164" fmla="*/ 5438775 w 5553075"/>
                <a:gd name="connsiteY164" fmla="*/ 2534044 h 2634056"/>
                <a:gd name="connsiteX165" fmla="*/ 5486400 w 5553075"/>
                <a:gd name="connsiteY165" fmla="*/ 2595956 h 2634056"/>
                <a:gd name="connsiteX166" fmla="*/ 5553075 w 5553075"/>
                <a:gd name="connsiteY166"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05250 w 5553075"/>
                <a:gd name="connsiteY117" fmla="*/ 805256 h 2634056"/>
                <a:gd name="connsiteX118" fmla="*/ 3914775 w 5553075"/>
                <a:gd name="connsiteY118" fmla="*/ 838594 h 2634056"/>
                <a:gd name="connsiteX119" fmla="*/ 3957638 w 5553075"/>
                <a:gd name="connsiteY119" fmla="*/ 805256 h 2634056"/>
                <a:gd name="connsiteX120" fmla="*/ 3986213 w 5553075"/>
                <a:gd name="connsiteY120" fmla="*/ 848119 h 2634056"/>
                <a:gd name="connsiteX121" fmla="*/ 4078288 w 5553075"/>
                <a:gd name="connsiteY121" fmla="*/ 895744 h 2634056"/>
                <a:gd name="connsiteX122" fmla="*/ 4071938 w 5553075"/>
                <a:gd name="connsiteY122" fmla="*/ 962419 h 2634056"/>
                <a:gd name="connsiteX123" fmla="*/ 4116388 w 5553075"/>
                <a:gd name="connsiteY123" fmla="*/ 1025919 h 2634056"/>
                <a:gd name="connsiteX124" fmla="*/ 4144963 w 5553075"/>
                <a:gd name="connsiteY124" fmla="*/ 1068781 h 2634056"/>
                <a:gd name="connsiteX125" fmla="*/ 4137025 w 5553075"/>
                <a:gd name="connsiteY125" fmla="*/ 1097356 h 2634056"/>
                <a:gd name="connsiteX126" fmla="*/ 4157663 w 5553075"/>
                <a:gd name="connsiteY126" fmla="*/ 1124344 h 2634056"/>
                <a:gd name="connsiteX127" fmla="*/ 4162425 w 5553075"/>
                <a:gd name="connsiteY127" fmla="*/ 1200544 h 2634056"/>
                <a:gd name="connsiteX128" fmla="*/ 4195763 w 5553075"/>
                <a:gd name="connsiteY128" fmla="*/ 1229119 h 2634056"/>
                <a:gd name="connsiteX129" fmla="*/ 4176713 w 5553075"/>
                <a:gd name="connsiteY129" fmla="*/ 1262456 h 2634056"/>
                <a:gd name="connsiteX130" fmla="*/ 4191000 w 5553075"/>
                <a:gd name="connsiteY130" fmla="*/ 1286269 h 2634056"/>
                <a:gd name="connsiteX131" fmla="*/ 4286250 w 5553075"/>
                <a:gd name="connsiteY131" fmla="*/ 1356119 h 2634056"/>
                <a:gd name="connsiteX132" fmla="*/ 4275138 w 5553075"/>
                <a:gd name="connsiteY132" fmla="*/ 1395806 h 2634056"/>
                <a:gd name="connsiteX133" fmla="*/ 4229100 w 5553075"/>
                <a:gd name="connsiteY133" fmla="*/ 1395806 h 2634056"/>
                <a:gd name="connsiteX134" fmla="*/ 4271963 w 5553075"/>
                <a:gd name="connsiteY134" fmla="*/ 1481531 h 2634056"/>
                <a:gd name="connsiteX135" fmla="*/ 4329113 w 5553075"/>
                <a:gd name="connsiteY135" fmla="*/ 1470419 h 2634056"/>
                <a:gd name="connsiteX136" fmla="*/ 4384675 w 5553075"/>
                <a:gd name="connsiteY136" fmla="*/ 1500581 h 2634056"/>
                <a:gd name="connsiteX137" fmla="*/ 4445000 w 5553075"/>
                <a:gd name="connsiteY137" fmla="*/ 1535506 h 2634056"/>
                <a:gd name="connsiteX138" fmla="*/ 4438650 w 5553075"/>
                <a:gd name="connsiteY138" fmla="*/ 1562494 h 2634056"/>
                <a:gd name="connsiteX139" fmla="*/ 4432300 w 5553075"/>
                <a:gd name="connsiteY139" fmla="*/ 1632344 h 2634056"/>
                <a:gd name="connsiteX140" fmla="*/ 4500563 w 5553075"/>
                <a:gd name="connsiteY140" fmla="*/ 1672031 h 2634056"/>
                <a:gd name="connsiteX141" fmla="*/ 4565650 w 5553075"/>
                <a:gd name="connsiteY141" fmla="*/ 1652981 h 2634056"/>
                <a:gd name="connsiteX142" fmla="*/ 4605338 w 5553075"/>
                <a:gd name="connsiteY142" fmla="*/ 1638694 h 2634056"/>
                <a:gd name="connsiteX143" fmla="*/ 4619625 w 5553075"/>
                <a:gd name="connsiteY143" fmla="*/ 1686319 h 2634056"/>
                <a:gd name="connsiteX144" fmla="*/ 4657725 w 5553075"/>
                <a:gd name="connsiteY144" fmla="*/ 1710131 h 2634056"/>
                <a:gd name="connsiteX145" fmla="*/ 4629150 w 5553075"/>
                <a:gd name="connsiteY145" fmla="*/ 1757756 h 2634056"/>
                <a:gd name="connsiteX146" fmla="*/ 4652963 w 5553075"/>
                <a:gd name="connsiteY146" fmla="*/ 1814906 h 2634056"/>
                <a:gd name="connsiteX147" fmla="*/ 4681538 w 5553075"/>
                <a:gd name="connsiteY147" fmla="*/ 1848244 h 2634056"/>
                <a:gd name="connsiteX148" fmla="*/ 4767263 w 5553075"/>
                <a:gd name="connsiteY148" fmla="*/ 1891106 h 2634056"/>
                <a:gd name="connsiteX149" fmla="*/ 4776788 w 5553075"/>
                <a:gd name="connsiteY149" fmla="*/ 1967306 h 2634056"/>
                <a:gd name="connsiteX150" fmla="*/ 4705350 w 5553075"/>
                <a:gd name="connsiteY150" fmla="*/ 1938731 h 2634056"/>
                <a:gd name="connsiteX151" fmla="*/ 4695825 w 5553075"/>
                <a:gd name="connsiteY151" fmla="*/ 1972069 h 2634056"/>
                <a:gd name="connsiteX152" fmla="*/ 4743450 w 5553075"/>
                <a:gd name="connsiteY152" fmla="*/ 2014931 h 2634056"/>
                <a:gd name="connsiteX153" fmla="*/ 4776788 w 5553075"/>
                <a:gd name="connsiteY153" fmla="*/ 2033981 h 2634056"/>
                <a:gd name="connsiteX154" fmla="*/ 4810125 w 5553075"/>
                <a:gd name="connsiteY154" fmla="*/ 2010169 h 2634056"/>
                <a:gd name="connsiteX155" fmla="*/ 4843463 w 5553075"/>
                <a:gd name="connsiteY155" fmla="*/ 2024456 h 2634056"/>
                <a:gd name="connsiteX156" fmla="*/ 4838700 w 5553075"/>
                <a:gd name="connsiteY156" fmla="*/ 2095894 h 2634056"/>
                <a:gd name="connsiteX157" fmla="*/ 4972050 w 5553075"/>
                <a:gd name="connsiteY157" fmla="*/ 2191144 h 2634056"/>
                <a:gd name="connsiteX158" fmla="*/ 4995863 w 5553075"/>
                <a:gd name="connsiteY158" fmla="*/ 2167331 h 2634056"/>
                <a:gd name="connsiteX159" fmla="*/ 5081588 w 5553075"/>
                <a:gd name="connsiteY159" fmla="*/ 2186381 h 2634056"/>
                <a:gd name="connsiteX160" fmla="*/ 5124450 w 5553075"/>
                <a:gd name="connsiteY160" fmla="*/ 2253056 h 2634056"/>
                <a:gd name="connsiteX161" fmla="*/ 5248275 w 5553075"/>
                <a:gd name="connsiteY161" fmla="*/ 2295919 h 2634056"/>
                <a:gd name="connsiteX162" fmla="*/ 5281613 w 5553075"/>
                <a:gd name="connsiteY162" fmla="*/ 2362594 h 2634056"/>
                <a:gd name="connsiteX163" fmla="*/ 5276850 w 5553075"/>
                <a:gd name="connsiteY163" fmla="*/ 2443556 h 2634056"/>
                <a:gd name="connsiteX164" fmla="*/ 5353050 w 5553075"/>
                <a:gd name="connsiteY164" fmla="*/ 2514994 h 2634056"/>
                <a:gd name="connsiteX165" fmla="*/ 5438775 w 5553075"/>
                <a:gd name="connsiteY165" fmla="*/ 2534044 h 2634056"/>
                <a:gd name="connsiteX166" fmla="*/ 5486400 w 5553075"/>
                <a:gd name="connsiteY166" fmla="*/ 2595956 h 2634056"/>
                <a:gd name="connsiteX167" fmla="*/ 5553075 w 5553075"/>
                <a:gd name="connsiteY167"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29150 w 5553075"/>
                <a:gd name="connsiteY146" fmla="*/ 1757756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10125 w 5553075"/>
                <a:gd name="connsiteY155" fmla="*/ 2010169 h 2634056"/>
                <a:gd name="connsiteX156" fmla="*/ 4843463 w 5553075"/>
                <a:gd name="connsiteY156" fmla="*/ 2024456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81588 w 5553075"/>
                <a:gd name="connsiteY160" fmla="*/ 2186381 h 2634056"/>
                <a:gd name="connsiteX161" fmla="*/ 5124450 w 5553075"/>
                <a:gd name="connsiteY161" fmla="*/ 2253056 h 2634056"/>
                <a:gd name="connsiteX162" fmla="*/ 5248275 w 5553075"/>
                <a:gd name="connsiteY162" fmla="*/ 2295919 h 2634056"/>
                <a:gd name="connsiteX163" fmla="*/ 5281613 w 5553075"/>
                <a:gd name="connsiteY163" fmla="*/ 2362594 h 2634056"/>
                <a:gd name="connsiteX164" fmla="*/ 5276850 w 5553075"/>
                <a:gd name="connsiteY164" fmla="*/ 2443556 h 2634056"/>
                <a:gd name="connsiteX165" fmla="*/ 5353050 w 5553075"/>
                <a:gd name="connsiteY165" fmla="*/ 2514994 h 2634056"/>
                <a:gd name="connsiteX166" fmla="*/ 5438775 w 5553075"/>
                <a:gd name="connsiteY166" fmla="*/ 2534044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10125 w 5553075"/>
                <a:gd name="connsiteY155" fmla="*/ 2010169 h 2634056"/>
                <a:gd name="connsiteX156" fmla="*/ 4843463 w 5553075"/>
                <a:gd name="connsiteY156" fmla="*/ 2024456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81588 w 5553075"/>
                <a:gd name="connsiteY160" fmla="*/ 2186381 h 2634056"/>
                <a:gd name="connsiteX161" fmla="*/ 5124450 w 5553075"/>
                <a:gd name="connsiteY161" fmla="*/ 2253056 h 2634056"/>
                <a:gd name="connsiteX162" fmla="*/ 5248275 w 5553075"/>
                <a:gd name="connsiteY162" fmla="*/ 2295919 h 2634056"/>
                <a:gd name="connsiteX163" fmla="*/ 5281613 w 5553075"/>
                <a:gd name="connsiteY163" fmla="*/ 2362594 h 2634056"/>
                <a:gd name="connsiteX164" fmla="*/ 5276850 w 5553075"/>
                <a:gd name="connsiteY164" fmla="*/ 2443556 h 2634056"/>
                <a:gd name="connsiteX165" fmla="*/ 5353050 w 5553075"/>
                <a:gd name="connsiteY165" fmla="*/ 2514994 h 2634056"/>
                <a:gd name="connsiteX166" fmla="*/ 5438775 w 5553075"/>
                <a:gd name="connsiteY166" fmla="*/ 2534044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10125 w 5553075"/>
                <a:gd name="connsiteY155" fmla="*/ 2010169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81588 w 5553075"/>
                <a:gd name="connsiteY160" fmla="*/ 2186381 h 2634056"/>
                <a:gd name="connsiteX161" fmla="*/ 5124450 w 5553075"/>
                <a:gd name="connsiteY161" fmla="*/ 2253056 h 2634056"/>
                <a:gd name="connsiteX162" fmla="*/ 5248275 w 5553075"/>
                <a:gd name="connsiteY162" fmla="*/ 2295919 h 2634056"/>
                <a:gd name="connsiteX163" fmla="*/ 5281613 w 5553075"/>
                <a:gd name="connsiteY163" fmla="*/ 2362594 h 2634056"/>
                <a:gd name="connsiteX164" fmla="*/ 5276850 w 5553075"/>
                <a:gd name="connsiteY164" fmla="*/ 2443556 h 2634056"/>
                <a:gd name="connsiteX165" fmla="*/ 5353050 w 5553075"/>
                <a:gd name="connsiteY165" fmla="*/ 2514994 h 2634056"/>
                <a:gd name="connsiteX166" fmla="*/ 5438775 w 5553075"/>
                <a:gd name="connsiteY166" fmla="*/ 2534044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81588 w 5553075"/>
                <a:gd name="connsiteY160" fmla="*/ 2186381 h 2634056"/>
                <a:gd name="connsiteX161" fmla="*/ 5124450 w 5553075"/>
                <a:gd name="connsiteY161" fmla="*/ 2253056 h 2634056"/>
                <a:gd name="connsiteX162" fmla="*/ 5248275 w 5553075"/>
                <a:gd name="connsiteY162" fmla="*/ 2295919 h 2634056"/>
                <a:gd name="connsiteX163" fmla="*/ 5281613 w 5553075"/>
                <a:gd name="connsiteY163" fmla="*/ 2362594 h 2634056"/>
                <a:gd name="connsiteX164" fmla="*/ 5276850 w 5553075"/>
                <a:gd name="connsiteY164" fmla="*/ 2443556 h 2634056"/>
                <a:gd name="connsiteX165" fmla="*/ 5353050 w 5553075"/>
                <a:gd name="connsiteY165" fmla="*/ 2514994 h 2634056"/>
                <a:gd name="connsiteX166" fmla="*/ 5438775 w 5553075"/>
                <a:gd name="connsiteY166" fmla="*/ 2534044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48275 w 5553075"/>
                <a:gd name="connsiteY162" fmla="*/ 2295919 h 2634056"/>
                <a:gd name="connsiteX163" fmla="*/ 5281613 w 5553075"/>
                <a:gd name="connsiteY163" fmla="*/ 2362594 h 2634056"/>
                <a:gd name="connsiteX164" fmla="*/ 5276850 w 5553075"/>
                <a:gd name="connsiteY164" fmla="*/ 2443556 h 2634056"/>
                <a:gd name="connsiteX165" fmla="*/ 5353050 w 5553075"/>
                <a:gd name="connsiteY165" fmla="*/ 2514994 h 2634056"/>
                <a:gd name="connsiteX166" fmla="*/ 5438775 w 5553075"/>
                <a:gd name="connsiteY166" fmla="*/ 2534044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48275 w 5553075"/>
                <a:gd name="connsiteY162" fmla="*/ 2295919 h 2634056"/>
                <a:gd name="connsiteX163" fmla="*/ 5281613 w 5553075"/>
                <a:gd name="connsiteY163" fmla="*/ 2362594 h 2634056"/>
                <a:gd name="connsiteX164" fmla="*/ 5276850 w 5553075"/>
                <a:gd name="connsiteY164" fmla="*/ 2443556 h 2634056"/>
                <a:gd name="connsiteX165" fmla="*/ 5353050 w 5553075"/>
                <a:gd name="connsiteY165" fmla="*/ 2514994 h 2634056"/>
                <a:gd name="connsiteX166" fmla="*/ 5426075 w 5553075"/>
                <a:gd name="connsiteY166" fmla="*/ 2543569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48275 w 5553075"/>
                <a:gd name="connsiteY162" fmla="*/ 2295919 h 2634056"/>
                <a:gd name="connsiteX163" fmla="*/ 5281613 w 5553075"/>
                <a:gd name="connsiteY163" fmla="*/ 2362594 h 2634056"/>
                <a:gd name="connsiteX164" fmla="*/ 5286375 w 5553075"/>
                <a:gd name="connsiteY164" fmla="*/ 2443556 h 2634056"/>
                <a:gd name="connsiteX165" fmla="*/ 5353050 w 5553075"/>
                <a:gd name="connsiteY165" fmla="*/ 2514994 h 2634056"/>
                <a:gd name="connsiteX166" fmla="*/ 5426075 w 5553075"/>
                <a:gd name="connsiteY166" fmla="*/ 2543569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05225 w 5553075"/>
                <a:gd name="connsiteY111" fmla="*/ 80525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29225 w 5553075"/>
                <a:gd name="connsiteY162" fmla="*/ 2292744 h 2634056"/>
                <a:gd name="connsiteX163" fmla="*/ 5281613 w 5553075"/>
                <a:gd name="connsiteY163" fmla="*/ 2362594 h 2634056"/>
                <a:gd name="connsiteX164" fmla="*/ 5286375 w 5553075"/>
                <a:gd name="connsiteY164" fmla="*/ 2443556 h 2634056"/>
                <a:gd name="connsiteX165" fmla="*/ 5353050 w 5553075"/>
                <a:gd name="connsiteY165" fmla="*/ 2514994 h 2634056"/>
                <a:gd name="connsiteX166" fmla="*/ 5426075 w 5553075"/>
                <a:gd name="connsiteY166" fmla="*/ 2543569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57575 w 5553075"/>
                <a:gd name="connsiteY103" fmla="*/ 805256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17925 w 5553075"/>
                <a:gd name="connsiteY111" fmla="*/ 81160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29225 w 5553075"/>
                <a:gd name="connsiteY162" fmla="*/ 2292744 h 2634056"/>
                <a:gd name="connsiteX163" fmla="*/ 5281613 w 5553075"/>
                <a:gd name="connsiteY163" fmla="*/ 2362594 h 2634056"/>
                <a:gd name="connsiteX164" fmla="*/ 5286375 w 5553075"/>
                <a:gd name="connsiteY164" fmla="*/ 2443556 h 2634056"/>
                <a:gd name="connsiteX165" fmla="*/ 5353050 w 5553075"/>
                <a:gd name="connsiteY165" fmla="*/ 2514994 h 2634056"/>
                <a:gd name="connsiteX166" fmla="*/ 5426075 w 5553075"/>
                <a:gd name="connsiteY166" fmla="*/ 2543569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286125 w 5553075"/>
                <a:gd name="connsiteY97" fmla="*/ 633806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73450 w 5553075"/>
                <a:gd name="connsiteY103" fmla="*/ 795731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17925 w 5553075"/>
                <a:gd name="connsiteY111" fmla="*/ 81160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29225 w 5553075"/>
                <a:gd name="connsiteY162" fmla="*/ 2292744 h 2634056"/>
                <a:gd name="connsiteX163" fmla="*/ 5281613 w 5553075"/>
                <a:gd name="connsiteY163" fmla="*/ 2362594 h 2634056"/>
                <a:gd name="connsiteX164" fmla="*/ 5286375 w 5553075"/>
                <a:gd name="connsiteY164" fmla="*/ 2443556 h 2634056"/>
                <a:gd name="connsiteX165" fmla="*/ 5353050 w 5553075"/>
                <a:gd name="connsiteY165" fmla="*/ 2514994 h 2634056"/>
                <a:gd name="connsiteX166" fmla="*/ 5426075 w 5553075"/>
                <a:gd name="connsiteY166" fmla="*/ 2543569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317875 w 5553075"/>
                <a:gd name="connsiteY97" fmla="*/ 656031 h 2634056"/>
                <a:gd name="connsiteX98" fmla="*/ 3352800 w 5553075"/>
                <a:gd name="connsiteY98" fmla="*/ 629044 h 2634056"/>
                <a:gd name="connsiteX99" fmla="*/ 3381375 w 5553075"/>
                <a:gd name="connsiteY99" fmla="*/ 667144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73450 w 5553075"/>
                <a:gd name="connsiteY103" fmla="*/ 795731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17925 w 5553075"/>
                <a:gd name="connsiteY111" fmla="*/ 81160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29225 w 5553075"/>
                <a:gd name="connsiteY162" fmla="*/ 2292744 h 2634056"/>
                <a:gd name="connsiteX163" fmla="*/ 5281613 w 5553075"/>
                <a:gd name="connsiteY163" fmla="*/ 2362594 h 2634056"/>
                <a:gd name="connsiteX164" fmla="*/ 5286375 w 5553075"/>
                <a:gd name="connsiteY164" fmla="*/ 2443556 h 2634056"/>
                <a:gd name="connsiteX165" fmla="*/ 5353050 w 5553075"/>
                <a:gd name="connsiteY165" fmla="*/ 2514994 h 2634056"/>
                <a:gd name="connsiteX166" fmla="*/ 5426075 w 5553075"/>
                <a:gd name="connsiteY166" fmla="*/ 2543569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814638 w 5553075"/>
                <a:gd name="connsiteY78" fmla="*/ 71831 h 2634056"/>
                <a:gd name="connsiteX79" fmla="*/ 2836863 w 5553075"/>
                <a:gd name="connsiteY79" fmla="*/ 135331 h 2634056"/>
                <a:gd name="connsiteX80" fmla="*/ 2828925 w 5553075"/>
                <a:gd name="connsiteY80" fmla="*/ 176606 h 2634056"/>
                <a:gd name="connsiteX81" fmla="*/ 2895600 w 5553075"/>
                <a:gd name="connsiteY81" fmla="*/ 152794 h 2634056"/>
                <a:gd name="connsiteX82" fmla="*/ 2895600 w 5553075"/>
                <a:gd name="connsiteY82" fmla="*/ 195656 h 2634056"/>
                <a:gd name="connsiteX83" fmla="*/ 2933700 w 5553075"/>
                <a:gd name="connsiteY83" fmla="*/ 238519 h 2634056"/>
                <a:gd name="connsiteX84" fmla="*/ 2933700 w 5553075"/>
                <a:gd name="connsiteY84" fmla="*/ 195656 h 2634056"/>
                <a:gd name="connsiteX85" fmla="*/ 2986088 w 5553075"/>
                <a:gd name="connsiteY85" fmla="*/ 224231 h 2634056"/>
                <a:gd name="connsiteX86" fmla="*/ 3000375 w 5553075"/>
                <a:gd name="connsiteY86" fmla="*/ 248044 h 2634056"/>
                <a:gd name="connsiteX87" fmla="*/ 3057525 w 5553075"/>
                <a:gd name="connsiteY87" fmla="*/ 295669 h 2634056"/>
                <a:gd name="connsiteX88" fmla="*/ 3086100 w 5553075"/>
                <a:gd name="connsiteY88" fmla="*/ 303606 h 2634056"/>
                <a:gd name="connsiteX89" fmla="*/ 3138488 w 5553075"/>
                <a:gd name="connsiteY89" fmla="*/ 371869 h 2634056"/>
                <a:gd name="connsiteX90" fmla="*/ 3190875 w 5553075"/>
                <a:gd name="connsiteY90" fmla="*/ 424256 h 2634056"/>
                <a:gd name="connsiteX91" fmla="*/ 3214688 w 5553075"/>
                <a:gd name="connsiteY91" fmla="*/ 467119 h 2634056"/>
                <a:gd name="connsiteX92" fmla="*/ 3257550 w 5553075"/>
                <a:gd name="connsiteY92" fmla="*/ 471881 h 2634056"/>
                <a:gd name="connsiteX93" fmla="*/ 3319463 w 5553075"/>
                <a:gd name="connsiteY93" fmla="*/ 529031 h 2634056"/>
                <a:gd name="connsiteX94" fmla="*/ 3281363 w 5553075"/>
                <a:gd name="connsiteY94" fmla="*/ 546494 h 2634056"/>
                <a:gd name="connsiteX95" fmla="*/ 3281363 w 5553075"/>
                <a:gd name="connsiteY95" fmla="*/ 567131 h 2634056"/>
                <a:gd name="connsiteX96" fmla="*/ 3319463 w 5553075"/>
                <a:gd name="connsiteY96" fmla="*/ 581419 h 2634056"/>
                <a:gd name="connsiteX97" fmla="*/ 3317875 w 5553075"/>
                <a:gd name="connsiteY97" fmla="*/ 656031 h 2634056"/>
                <a:gd name="connsiteX98" fmla="*/ 3352800 w 5553075"/>
                <a:gd name="connsiteY98" fmla="*/ 629044 h 2634056"/>
                <a:gd name="connsiteX99" fmla="*/ 3397250 w 5553075"/>
                <a:gd name="connsiteY99" fmla="*/ 683019 h 2634056"/>
                <a:gd name="connsiteX100" fmla="*/ 3419475 w 5553075"/>
                <a:gd name="connsiteY100" fmla="*/ 686194 h 2634056"/>
                <a:gd name="connsiteX101" fmla="*/ 3429000 w 5553075"/>
                <a:gd name="connsiteY101" fmla="*/ 714769 h 2634056"/>
                <a:gd name="connsiteX102" fmla="*/ 3429000 w 5553075"/>
                <a:gd name="connsiteY102" fmla="*/ 738581 h 2634056"/>
                <a:gd name="connsiteX103" fmla="*/ 3473450 w 5553075"/>
                <a:gd name="connsiteY103" fmla="*/ 795731 h 2634056"/>
                <a:gd name="connsiteX104" fmla="*/ 3514725 w 5553075"/>
                <a:gd name="connsiteY104" fmla="*/ 762394 h 2634056"/>
                <a:gd name="connsiteX105" fmla="*/ 3557588 w 5553075"/>
                <a:gd name="connsiteY105" fmla="*/ 752869 h 2634056"/>
                <a:gd name="connsiteX106" fmla="*/ 3595688 w 5553075"/>
                <a:gd name="connsiteY106" fmla="*/ 738581 h 2634056"/>
                <a:gd name="connsiteX107" fmla="*/ 3629025 w 5553075"/>
                <a:gd name="connsiteY107" fmla="*/ 700481 h 2634056"/>
                <a:gd name="connsiteX108" fmla="*/ 3648075 w 5553075"/>
                <a:gd name="connsiteY108" fmla="*/ 719531 h 2634056"/>
                <a:gd name="connsiteX109" fmla="*/ 3638550 w 5553075"/>
                <a:gd name="connsiteY109" fmla="*/ 757631 h 2634056"/>
                <a:gd name="connsiteX110" fmla="*/ 3657600 w 5553075"/>
                <a:gd name="connsiteY110" fmla="*/ 805256 h 2634056"/>
                <a:gd name="connsiteX111" fmla="*/ 3717925 w 5553075"/>
                <a:gd name="connsiteY111" fmla="*/ 811606 h 2634056"/>
                <a:gd name="connsiteX112" fmla="*/ 3771900 w 5553075"/>
                <a:gd name="connsiteY112" fmla="*/ 790969 h 2634056"/>
                <a:gd name="connsiteX113" fmla="*/ 3824288 w 5553075"/>
                <a:gd name="connsiteY113" fmla="*/ 767156 h 2634056"/>
                <a:gd name="connsiteX114" fmla="*/ 3814763 w 5553075"/>
                <a:gd name="connsiteY114" fmla="*/ 767156 h 2634056"/>
                <a:gd name="connsiteX115" fmla="*/ 3876675 w 5553075"/>
                <a:gd name="connsiteY115" fmla="*/ 776681 h 2634056"/>
                <a:gd name="connsiteX116" fmla="*/ 3929063 w 5553075"/>
                <a:gd name="connsiteY116" fmla="*/ 757631 h 2634056"/>
                <a:gd name="connsiteX117" fmla="*/ 3956050 w 5553075"/>
                <a:gd name="connsiteY117" fmla="*/ 779856 h 2634056"/>
                <a:gd name="connsiteX118" fmla="*/ 3905250 w 5553075"/>
                <a:gd name="connsiteY118" fmla="*/ 805256 h 2634056"/>
                <a:gd name="connsiteX119" fmla="*/ 3914775 w 5553075"/>
                <a:gd name="connsiteY119" fmla="*/ 838594 h 2634056"/>
                <a:gd name="connsiteX120" fmla="*/ 3957638 w 5553075"/>
                <a:gd name="connsiteY120" fmla="*/ 805256 h 2634056"/>
                <a:gd name="connsiteX121" fmla="*/ 3986213 w 5553075"/>
                <a:gd name="connsiteY121" fmla="*/ 848119 h 2634056"/>
                <a:gd name="connsiteX122" fmla="*/ 4078288 w 5553075"/>
                <a:gd name="connsiteY122" fmla="*/ 895744 h 2634056"/>
                <a:gd name="connsiteX123" fmla="*/ 4071938 w 5553075"/>
                <a:gd name="connsiteY123" fmla="*/ 962419 h 2634056"/>
                <a:gd name="connsiteX124" fmla="*/ 4116388 w 5553075"/>
                <a:gd name="connsiteY124" fmla="*/ 1025919 h 2634056"/>
                <a:gd name="connsiteX125" fmla="*/ 4144963 w 5553075"/>
                <a:gd name="connsiteY125" fmla="*/ 1068781 h 2634056"/>
                <a:gd name="connsiteX126" fmla="*/ 4137025 w 5553075"/>
                <a:gd name="connsiteY126" fmla="*/ 1097356 h 2634056"/>
                <a:gd name="connsiteX127" fmla="*/ 4157663 w 5553075"/>
                <a:gd name="connsiteY127" fmla="*/ 1124344 h 2634056"/>
                <a:gd name="connsiteX128" fmla="*/ 4162425 w 5553075"/>
                <a:gd name="connsiteY128" fmla="*/ 1200544 h 2634056"/>
                <a:gd name="connsiteX129" fmla="*/ 4195763 w 5553075"/>
                <a:gd name="connsiteY129" fmla="*/ 1229119 h 2634056"/>
                <a:gd name="connsiteX130" fmla="*/ 4176713 w 5553075"/>
                <a:gd name="connsiteY130" fmla="*/ 1262456 h 2634056"/>
                <a:gd name="connsiteX131" fmla="*/ 4191000 w 5553075"/>
                <a:gd name="connsiteY131" fmla="*/ 1286269 h 2634056"/>
                <a:gd name="connsiteX132" fmla="*/ 4286250 w 5553075"/>
                <a:gd name="connsiteY132" fmla="*/ 1356119 h 2634056"/>
                <a:gd name="connsiteX133" fmla="*/ 4275138 w 5553075"/>
                <a:gd name="connsiteY133" fmla="*/ 1395806 h 2634056"/>
                <a:gd name="connsiteX134" fmla="*/ 4229100 w 5553075"/>
                <a:gd name="connsiteY134" fmla="*/ 1395806 h 2634056"/>
                <a:gd name="connsiteX135" fmla="*/ 4271963 w 5553075"/>
                <a:gd name="connsiteY135" fmla="*/ 1481531 h 2634056"/>
                <a:gd name="connsiteX136" fmla="*/ 4329113 w 5553075"/>
                <a:gd name="connsiteY136" fmla="*/ 1470419 h 2634056"/>
                <a:gd name="connsiteX137" fmla="*/ 4384675 w 5553075"/>
                <a:gd name="connsiteY137" fmla="*/ 1500581 h 2634056"/>
                <a:gd name="connsiteX138" fmla="*/ 4445000 w 5553075"/>
                <a:gd name="connsiteY138" fmla="*/ 1535506 h 2634056"/>
                <a:gd name="connsiteX139" fmla="*/ 4438650 w 5553075"/>
                <a:gd name="connsiteY139" fmla="*/ 1562494 h 2634056"/>
                <a:gd name="connsiteX140" fmla="*/ 4432300 w 5553075"/>
                <a:gd name="connsiteY140" fmla="*/ 1632344 h 2634056"/>
                <a:gd name="connsiteX141" fmla="*/ 4500563 w 5553075"/>
                <a:gd name="connsiteY141" fmla="*/ 1672031 h 2634056"/>
                <a:gd name="connsiteX142" fmla="*/ 4565650 w 5553075"/>
                <a:gd name="connsiteY142" fmla="*/ 1652981 h 2634056"/>
                <a:gd name="connsiteX143" fmla="*/ 4605338 w 5553075"/>
                <a:gd name="connsiteY143" fmla="*/ 1638694 h 2634056"/>
                <a:gd name="connsiteX144" fmla="*/ 4619625 w 5553075"/>
                <a:gd name="connsiteY144" fmla="*/ 1686319 h 2634056"/>
                <a:gd name="connsiteX145" fmla="*/ 4657725 w 5553075"/>
                <a:gd name="connsiteY145" fmla="*/ 1710131 h 2634056"/>
                <a:gd name="connsiteX146" fmla="*/ 4638675 w 5553075"/>
                <a:gd name="connsiteY146" fmla="*/ 1779981 h 2634056"/>
                <a:gd name="connsiteX147" fmla="*/ 4652963 w 5553075"/>
                <a:gd name="connsiteY147" fmla="*/ 1814906 h 2634056"/>
                <a:gd name="connsiteX148" fmla="*/ 4681538 w 5553075"/>
                <a:gd name="connsiteY148" fmla="*/ 1848244 h 2634056"/>
                <a:gd name="connsiteX149" fmla="*/ 4767263 w 5553075"/>
                <a:gd name="connsiteY149" fmla="*/ 1891106 h 2634056"/>
                <a:gd name="connsiteX150" fmla="*/ 4776788 w 5553075"/>
                <a:gd name="connsiteY150" fmla="*/ 1967306 h 2634056"/>
                <a:gd name="connsiteX151" fmla="*/ 4705350 w 5553075"/>
                <a:gd name="connsiteY151" fmla="*/ 1938731 h 2634056"/>
                <a:gd name="connsiteX152" fmla="*/ 4695825 w 5553075"/>
                <a:gd name="connsiteY152" fmla="*/ 1972069 h 2634056"/>
                <a:gd name="connsiteX153" fmla="*/ 4743450 w 5553075"/>
                <a:gd name="connsiteY153" fmla="*/ 2014931 h 2634056"/>
                <a:gd name="connsiteX154" fmla="*/ 4776788 w 5553075"/>
                <a:gd name="connsiteY154" fmla="*/ 2033981 h 2634056"/>
                <a:gd name="connsiteX155" fmla="*/ 4822825 w 5553075"/>
                <a:gd name="connsiteY155" fmla="*/ 2026044 h 2634056"/>
                <a:gd name="connsiteX156" fmla="*/ 4843463 w 5553075"/>
                <a:gd name="connsiteY156" fmla="*/ 2040331 h 2634056"/>
                <a:gd name="connsiteX157" fmla="*/ 4838700 w 5553075"/>
                <a:gd name="connsiteY157" fmla="*/ 2095894 h 2634056"/>
                <a:gd name="connsiteX158" fmla="*/ 4972050 w 5553075"/>
                <a:gd name="connsiteY158" fmla="*/ 2191144 h 2634056"/>
                <a:gd name="connsiteX159" fmla="*/ 4995863 w 5553075"/>
                <a:gd name="connsiteY159" fmla="*/ 2167331 h 2634056"/>
                <a:gd name="connsiteX160" fmla="*/ 5065713 w 5553075"/>
                <a:gd name="connsiteY160" fmla="*/ 2192731 h 2634056"/>
                <a:gd name="connsiteX161" fmla="*/ 5124450 w 5553075"/>
                <a:gd name="connsiteY161" fmla="*/ 2253056 h 2634056"/>
                <a:gd name="connsiteX162" fmla="*/ 5229225 w 5553075"/>
                <a:gd name="connsiteY162" fmla="*/ 2292744 h 2634056"/>
                <a:gd name="connsiteX163" fmla="*/ 5281613 w 5553075"/>
                <a:gd name="connsiteY163" fmla="*/ 2362594 h 2634056"/>
                <a:gd name="connsiteX164" fmla="*/ 5286375 w 5553075"/>
                <a:gd name="connsiteY164" fmla="*/ 2443556 h 2634056"/>
                <a:gd name="connsiteX165" fmla="*/ 5353050 w 5553075"/>
                <a:gd name="connsiteY165" fmla="*/ 2514994 h 2634056"/>
                <a:gd name="connsiteX166" fmla="*/ 5426075 w 5553075"/>
                <a:gd name="connsiteY166" fmla="*/ 2543569 h 2634056"/>
                <a:gd name="connsiteX167" fmla="*/ 5486400 w 5553075"/>
                <a:gd name="connsiteY167" fmla="*/ 2595956 h 2634056"/>
                <a:gd name="connsiteX168" fmla="*/ 5553075 w 5553075"/>
                <a:gd name="connsiteY168"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784475 w 5553075"/>
                <a:gd name="connsiteY78" fmla="*/ 75006 h 2634056"/>
                <a:gd name="connsiteX79" fmla="*/ 2814638 w 5553075"/>
                <a:gd name="connsiteY79" fmla="*/ 71831 h 2634056"/>
                <a:gd name="connsiteX80" fmla="*/ 2836863 w 5553075"/>
                <a:gd name="connsiteY80" fmla="*/ 135331 h 2634056"/>
                <a:gd name="connsiteX81" fmla="*/ 2828925 w 5553075"/>
                <a:gd name="connsiteY81" fmla="*/ 176606 h 2634056"/>
                <a:gd name="connsiteX82" fmla="*/ 2895600 w 5553075"/>
                <a:gd name="connsiteY82" fmla="*/ 152794 h 2634056"/>
                <a:gd name="connsiteX83" fmla="*/ 2895600 w 5553075"/>
                <a:gd name="connsiteY83" fmla="*/ 195656 h 2634056"/>
                <a:gd name="connsiteX84" fmla="*/ 2933700 w 5553075"/>
                <a:gd name="connsiteY84" fmla="*/ 238519 h 2634056"/>
                <a:gd name="connsiteX85" fmla="*/ 2933700 w 5553075"/>
                <a:gd name="connsiteY85" fmla="*/ 195656 h 2634056"/>
                <a:gd name="connsiteX86" fmla="*/ 2986088 w 5553075"/>
                <a:gd name="connsiteY86" fmla="*/ 224231 h 2634056"/>
                <a:gd name="connsiteX87" fmla="*/ 3000375 w 5553075"/>
                <a:gd name="connsiteY87" fmla="*/ 248044 h 2634056"/>
                <a:gd name="connsiteX88" fmla="*/ 3057525 w 5553075"/>
                <a:gd name="connsiteY88" fmla="*/ 295669 h 2634056"/>
                <a:gd name="connsiteX89" fmla="*/ 3086100 w 5553075"/>
                <a:gd name="connsiteY89" fmla="*/ 303606 h 2634056"/>
                <a:gd name="connsiteX90" fmla="*/ 3138488 w 5553075"/>
                <a:gd name="connsiteY90" fmla="*/ 371869 h 2634056"/>
                <a:gd name="connsiteX91" fmla="*/ 3190875 w 5553075"/>
                <a:gd name="connsiteY91" fmla="*/ 424256 h 2634056"/>
                <a:gd name="connsiteX92" fmla="*/ 3214688 w 5553075"/>
                <a:gd name="connsiteY92" fmla="*/ 467119 h 2634056"/>
                <a:gd name="connsiteX93" fmla="*/ 3257550 w 5553075"/>
                <a:gd name="connsiteY93" fmla="*/ 471881 h 2634056"/>
                <a:gd name="connsiteX94" fmla="*/ 3319463 w 5553075"/>
                <a:gd name="connsiteY94" fmla="*/ 529031 h 2634056"/>
                <a:gd name="connsiteX95" fmla="*/ 3281363 w 5553075"/>
                <a:gd name="connsiteY95" fmla="*/ 546494 h 2634056"/>
                <a:gd name="connsiteX96" fmla="*/ 3281363 w 5553075"/>
                <a:gd name="connsiteY96" fmla="*/ 567131 h 2634056"/>
                <a:gd name="connsiteX97" fmla="*/ 3319463 w 5553075"/>
                <a:gd name="connsiteY97" fmla="*/ 581419 h 2634056"/>
                <a:gd name="connsiteX98" fmla="*/ 3317875 w 5553075"/>
                <a:gd name="connsiteY98" fmla="*/ 656031 h 2634056"/>
                <a:gd name="connsiteX99" fmla="*/ 3352800 w 5553075"/>
                <a:gd name="connsiteY99" fmla="*/ 629044 h 2634056"/>
                <a:gd name="connsiteX100" fmla="*/ 3397250 w 5553075"/>
                <a:gd name="connsiteY100" fmla="*/ 683019 h 2634056"/>
                <a:gd name="connsiteX101" fmla="*/ 3419475 w 5553075"/>
                <a:gd name="connsiteY101" fmla="*/ 686194 h 2634056"/>
                <a:gd name="connsiteX102" fmla="*/ 3429000 w 5553075"/>
                <a:gd name="connsiteY102" fmla="*/ 714769 h 2634056"/>
                <a:gd name="connsiteX103" fmla="*/ 3429000 w 5553075"/>
                <a:gd name="connsiteY103" fmla="*/ 738581 h 2634056"/>
                <a:gd name="connsiteX104" fmla="*/ 3473450 w 5553075"/>
                <a:gd name="connsiteY104" fmla="*/ 795731 h 2634056"/>
                <a:gd name="connsiteX105" fmla="*/ 3514725 w 5553075"/>
                <a:gd name="connsiteY105" fmla="*/ 762394 h 2634056"/>
                <a:gd name="connsiteX106" fmla="*/ 3557588 w 5553075"/>
                <a:gd name="connsiteY106" fmla="*/ 752869 h 2634056"/>
                <a:gd name="connsiteX107" fmla="*/ 3595688 w 5553075"/>
                <a:gd name="connsiteY107" fmla="*/ 738581 h 2634056"/>
                <a:gd name="connsiteX108" fmla="*/ 3629025 w 5553075"/>
                <a:gd name="connsiteY108" fmla="*/ 700481 h 2634056"/>
                <a:gd name="connsiteX109" fmla="*/ 3648075 w 5553075"/>
                <a:gd name="connsiteY109" fmla="*/ 719531 h 2634056"/>
                <a:gd name="connsiteX110" fmla="*/ 3638550 w 5553075"/>
                <a:gd name="connsiteY110" fmla="*/ 757631 h 2634056"/>
                <a:gd name="connsiteX111" fmla="*/ 3657600 w 5553075"/>
                <a:gd name="connsiteY111" fmla="*/ 805256 h 2634056"/>
                <a:gd name="connsiteX112" fmla="*/ 3717925 w 5553075"/>
                <a:gd name="connsiteY112" fmla="*/ 811606 h 2634056"/>
                <a:gd name="connsiteX113" fmla="*/ 3771900 w 5553075"/>
                <a:gd name="connsiteY113" fmla="*/ 790969 h 2634056"/>
                <a:gd name="connsiteX114" fmla="*/ 3824288 w 5553075"/>
                <a:gd name="connsiteY114" fmla="*/ 767156 h 2634056"/>
                <a:gd name="connsiteX115" fmla="*/ 3814763 w 5553075"/>
                <a:gd name="connsiteY115" fmla="*/ 767156 h 2634056"/>
                <a:gd name="connsiteX116" fmla="*/ 3876675 w 5553075"/>
                <a:gd name="connsiteY116" fmla="*/ 776681 h 2634056"/>
                <a:gd name="connsiteX117" fmla="*/ 3929063 w 5553075"/>
                <a:gd name="connsiteY117" fmla="*/ 757631 h 2634056"/>
                <a:gd name="connsiteX118" fmla="*/ 3956050 w 5553075"/>
                <a:gd name="connsiteY118" fmla="*/ 779856 h 2634056"/>
                <a:gd name="connsiteX119" fmla="*/ 3905250 w 5553075"/>
                <a:gd name="connsiteY119" fmla="*/ 805256 h 2634056"/>
                <a:gd name="connsiteX120" fmla="*/ 3914775 w 5553075"/>
                <a:gd name="connsiteY120" fmla="*/ 838594 h 2634056"/>
                <a:gd name="connsiteX121" fmla="*/ 3957638 w 5553075"/>
                <a:gd name="connsiteY121" fmla="*/ 805256 h 2634056"/>
                <a:gd name="connsiteX122" fmla="*/ 3986213 w 5553075"/>
                <a:gd name="connsiteY122" fmla="*/ 848119 h 2634056"/>
                <a:gd name="connsiteX123" fmla="*/ 4078288 w 5553075"/>
                <a:gd name="connsiteY123" fmla="*/ 895744 h 2634056"/>
                <a:gd name="connsiteX124" fmla="*/ 4071938 w 5553075"/>
                <a:gd name="connsiteY124" fmla="*/ 962419 h 2634056"/>
                <a:gd name="connsiteX125" fmla="*/ 4116388 w 5553075"/>
                <a:gd name="connsiteY125" fmla="*/ 1025919 h 2634056"/>
                <a:gd name="connsiteX126" fmla="*/ 4144963 w 5553075"/>
                <a:gd name="connsiteY126" fmla="*/ 1068781 h 2634056"/>
                <a:gd name="connsiteX127" fmla="*/ 4137025 w 5553075"/>
                <a:gd name="connsiteY127" fmla="*/ 1097356 h 2634056"/>
                <a:gd name="connsiteX128" fmla="*/ 4157663 w 5553075"/>
                <a:gd name="connsiteY128" fmla="*/ 1124344 h 2634056"/>
                <a:gd name="connsiteX129" fmla="*/ 4162425 w 5553075"/>
                <a:gd name="connsiteY129" fmla="*/ 1200544 h 2634056"/>
                <a:gd name="connsiteX130" fmla="*/ 4195763 w 5553075"/>
                <a:gd name="connsiteY130" fmla="*/ 1229119 h 2634056"/>
                <a:gd name="connsiteX131" fmla="*/ 4176713 w 5553075"/>
                <a:gd name="connsiteY131" fmla="*/ 1262456 h 2634056"/>
                <a:gd name="connsiteX132" fmla="*/ 4191000 w 5553075"/>
                <a:gd name="connsiteY132" fmla="*/ 1286269 h 2634056"/>
                <a:gd name="connsiteX133" fmla="*/ 4286250 w 5553075"/>
                <a:gd name="connsiteY133" fmla="*/ 1356119 h 2634056"/>
                <a:gd name="connsiteX134" fmla="*/ 4275138 w 5553075"/>
                <a:gd name="connsiteY134" fmla="*/ 1395806 h 2634056"/>
                <a:gd name="connsiteX135" fmla="*/ 4229100 w 5553075"/>
                <a:gd name="connsiteY135" fmla="*/ 1395806 h 2634056"/>
                <a:gd name="connsiteX136" fmla="*/ 4271963 w 5553075"/>
                <a:gd name="connsiteY136" fmla="*/ 1481531 h 2634056"/>
                <a:gd name="connsiteX137" fmla="*/ 4329113 w 5553075"/>
                <a:gd name="connsiteY137" fmla="*/ 1470419 h 2634056"/>
                <a:gd name="connsiteX138" fmla="*/ 4384675 w 5553075"/>
                <a:gd name="connsiteY138" fmla="*/ 1500581 h 2634056"/>
                <a:gd name="connsiteX139" fmla="*/ 4445000 w 5553075"/>
                <a:gd name="connsiteY139" fmla="*/ 1535506 h 2634056"/>
                <a:gd name="connsiteX140" fmla="*/ 4438650 w 5553075"/>
                <a:gd name="connsiteY140" fmla="*/ 1562494 h 2634056"/>
                <a:gd name="connsiteX141" fmla="*/ 4432300 w 5553075"/>
                <a:gd name="connsiteY141" fmla="*/ 1632344 h 2634056"/>
                <a:gd name="connsiteX142" fmla="*/ 4500563 w 5553075"/>
                <a:gd name="connsiteY142" fmla="*/ 1672031 h 2634056"/>
                <a:gd name="connsiteX143" fmla="*/ 4565650 w 5553075"/>
                <a:gd name="connsiteY143" fmla="*/ 1652981 h 2634056"/>
                <a:gd name="connsiteX144" fmla="*/ 4605338 w 5553075"/>
                <a:gd name="connsiteY144" fmla="*/ 1638694 h 2634056"/>
                <a:gd name="connsiteX145" fmla="*/ 4619625 w 5553075"/>
                <a:gd name="connsiteY145" fmla="*/ 1686319 h 2634056"/>
                <a:gd name="connsiteX146" fmla="*/ 4657725 w 5553075"/>
                <a:gd name="connsiteY146" fmla="*/ 1710131 h 2634056"/>
                <a:gd name="connsiteX147" fmla="*/ 4638675 w 5553075"/>
                <a:gd name="connsiteY147" fmla="*/ 1779981 h 2634056"/>
                <a:gd name="connsiteX148" fmla="*/ 4652963 w 5553075"/>
                <a:gd name="connsiteY148" fmla="*/ 1814906 h 2634056"/>
                <a:gd name="connsiteX149" fmla="*/ 4681538 w 5553075"/>
                <a:gd name="connsiteY149" fmla="*/ 1848244 h 2634056"/>
                <a:gd name="connsiteX150" fmla="*/ 4767263 w 5553075"/>
                <a:gd name="connsiteY150" fmla="*/ 1891106 h 2634056"/>
                <a:gd name="connsiteX151" fmla="*/ 4776788 w 5553075"/>
                <a:gd name="connsiteY151" fmla="*/ 1967306 h 2634056"/>
                <a:gd name="connsiteX152" fmla="*/ 4705350 w 5553075"/>
                <a:gd name="connsiteY152" fmla="*/ 1938731 h 2634056"/>
                <a:gd name="connsiteX153" fmla="*/ 4695825 w 5553075"/>
                <a:gd name="connsiteY153" fmla="*/ 1972069 h 2634056"/>
                <a:gd name="connsiteX154" fmla="*/ 4743450 w 5553075"/>
                <a:gd name="connsiteY154" fmla="*/ 2014931 h 2634056"/>
                <a:gd name="connsiteX155" fmla="*/ 4776788 w 5553075"/>
                <a:gd name="connsiteY155" fmla="*/ 2033981 h 2634056"/>
                <a:gd name="connsiteX156" fmla="*/ 4822825 w 5553075"/>
                <a:gd name="connsiteY156" fmla="*/ 2026044 h 2634056"/>
                <a:gd name="connsiteX157" fmla="*/ 4843463 w 5553075"/>
                <a:gd name="connsiteY157" fmla="*/ 2040331 h 2634056"/>
                <a:gd name="connsiteX158" fmla="*/ 4838700 w 5553075"/>
                <a:gd name="connsiteY158" fmla="*/ 2095894 h 2634056"/>
                <a:gd name="connsiteX159" fmla="*/ 4972050 w 5553075"/>
                <a:gd name="connsiteY159" fmla="*/ 2191144 h 2634056"/>
                <a:gd name="connsiteX160" fmla="*/ 4995863 w 5553075"/>
                <a:gd name="connsiteY160" fmla="*/ 2167331 h 2634056"/>
                <a:gd name="connsiteX161" fmla="*/ 5065713 w 5553075"/>
                <a:gd name="connsiteY161" fmla="*/ 2192731 h 2634056"/>
                <a:gd name="connsiteX162" fmla="*/ 5124450 w 5553075"/>
                <a:gd name="connsiteY162" fmla="*/ 2253056 h 2634056"/>
                <a:gd name="connsiteX163" fmla="*/ 5229225 w 5553075"/>
                <a:gd name="connsiteY163" fmla="*/ 2292744 h 2634056"/>
                <a:gd name="connsiteX164" fmla="*/ 5281613 w 5553075"/>
                <a:gd name="connsiteY164" fmla="*/ 2362594 h 2634056"/>
                <a:gd name="connsiteX165" fmla="*/ 5286375 w 5553075"/>
                <a:gd name="connsiteY165" fmla="*/ 2443556 h 2634056"/>
                <a:gd name="connsiteX166" fmla="*/ 5353050 w 5553075"/>
                <a:gd name="connsiteY166" fmla="*/ 2514994 h 2634056"/>
                <a:gd name="connsiteX167" fmla="*/ 5426075 w 5553075"/>
                <a:gd name="connsiteY167" fmla="*/ 2543569 h 2634056"/>
                <a:gd name="connsiteX168" fmla="*/ 5486400 w 5553075"/>
                <a:gd name="connsiteY168" fmla="*/ 2595956 h 2634056"/>
                <a:gd name="connsiteX169" fmla="*/ 5553075 w 5553075"/>
                <a:gd name="connsiteY169"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784475 w 5553075"/>
                <a:gd name="connsiteY78" fmla="*/ 75006 h 2634056"/>
                <a:gd name="connsiteX79" fmla="*/ 2814638 w 5553075"/>
                <a:gd name="connsiteY79" fmla="*/ 71831 h 2634056"/>
                <a:gd name="connsiteX80" fmla="*/ 2836863 w 5553075"/>
                <a:gd name="connsiteY80" fmla="*/ 135331 h 2634056"/>
                <a:gd name="connsiteX81" fmla="*/ 2828925 w 5553075"/>
                <a:gd name="connsiteY81" fmla="*/ 176606 h 2634056"/>
                <a:gd name="connsiteX82" fmla="*/ 2895600 w 5553075"/>
                <a:gd name="connsiteY82" fmla="*/ 152794 h 2634056"/>
                <a:gd name="connsiteX83" fmla="*/ 2917825 w 5553075"/>
                <a:gd name="connsiteY83" fmla="*/ 170256 h 2634056"/>
                <a:gd name="connsiteX84" fmla="*/ 2933700 w 5553075"/>
                <a:gd name="connsiteY84" fmla="*/ 238519 h 2634056"/>
                <a:gd name="connsiteX85" fmla="*/ 2933700 w 5553075"/>
                <a:gd name="connsiteY85" fmla="*/ 195656 h 2634056"/>
                <a:gd name="connsiteX86" fmla="*/ 2986088 w 5553075"/>
                <a:gd name="connsiteY86" fmla="*/ 224231 h 2634056"/>
                <a:gd name="connsiteX87" fmla="*/ 3000375 w 5553075"/>
                <a:gd name="connsiteY87" fmla="*/ 248044 h 2634056"/>
                <a:gd name="connsiteX88" fmla="*/ 3057525 w 5553075"/>
                <a:gd name="connsiteY88" fmla="*/ 295669 h 2634056"/>
                <a:gd name="connsiteX89" fmla="*/ 3086100 w 5553075"/>
                <a:gd name="connsiteY89" fmla="*/ 303606 h 2634056"/>
                <a:gd name="connsiteX90" fmla="*/ 3138488 w 5553075"/>
                <a:gd name="connsiteY90" fmla="*/ 371869 h 2634056"/>
                <a:gd name="connsiteX91" fmla="*/ 3190875 w 5553075"/>
                <a:gd name="connsiteY91" fmla="*/ 424256 h 2634056"/>
                <a:gd name="connsiteX92" fmla="*/ 3214688 w 5553075"/>
                <a:gd name="connsiteY92" fmla="*/ 467119 h 2634056"/>
                <a:gd name="connsiteX93" fmla="*/ 3257550 w 5553075"/>
                <a:gd name="connsiteY93" fmla="*/ 471881 h 2634056"/>
                <a:gd name="connsiteX94" fmla="*/ 3319463 w 5553075"/>
                <a:gd name="connsiteY94" fmla="*/ 529031 h 2634056"/>
                <a:gd name="connsiteX95" fmla="*/ 3281363 w 5553075"/>
                <a:gd name="connsiteY95" fmla="*/ 546494 h 2634056"/>
                <a:gd name="connsiteX96" fmla="*/ 3281363 w 5553075"/>
                <a:gd name="connsiteY96" fmla="*/ 567131 h 2634056"/>
                <a:gd name="connsiteX97" fmla="*/ 3319463 w 5553075"/>
                <a:gd name="connsiteY97" fmla="*/ 581419 h 2634056"/>
                <a:gd name="connsiteX98" fmla="*/ 3317875 w 5553075"/>
                <a:gd name="connsiteY98" fmla="*/ 656031 h 2634056"/>
                <a:gd name="connsiteX99" fmla="*/ 3352800 w 5553075"/>
                <a:gd name="connsiteY99" fmla="*/ 629044 h 2634056"/>
                <a:gd name="connsiteX100" fmla="*/ 3397250 w 5553075"/>
                <a:gd name="connsiteY100" fmla="*/ 683019 h 2634056"/>
                <a:gd name="connsiteX101" fmla="*/ 3419475 w 5553075"/>
                <a:gd name="connsiteY101" fmla="*/ 686194 h 2634056"/>
                <a:gd name="connsiteX102" fmla="*/ 3429000 w 5553075"/>
                <a:gd name="connsiteY102" fmla="*/ 714769 h 2634056"/>
                <a:gd name="connsiteX103" fmla="*/ 3429000 w 5553075"/>
                <a:gd name="connsiteY103" fmla="*/ 738581 h 2634056"/>
                <a:gd name="connsiteX104" fmla="*/ 3473450 w 5553075"/>
                <a:gd name="connsiteY104" fmla="*/ 795731 h 2634056"/>
                <a:gd name="connsiteX105" fmla="*/ 3514725 w 5553075"/>
                <a:gd name="connsiteY105" fmla="*/ 762394 h 2634056"/>
                <a:gd name="connsiteX106" fmla="*/ 3557588 w 5553075"/>
                <a:gd name="connsiteY106" fmla="*/ 752869 h 2634056"/>
                <a:gd name="connsiteX107" fmla="*/ 3595688 w 5553075"/>
                <a:gd name="connsiteY107" fmla="*/ 738581 h 2634056"/>
                <a:gd name="connsiteX108" fmla="*/ 3629025 w 5553075"/>
                <a:gd name="connsiteY108" fmla="*/ 700481 h 2634056"/>
                <a:gd name="connsiteX109" fmla="*/ 3648075 w 5553075"/>
                <a:gd name="connsiteY109" fmla="*/ 719531 h 2634056"/>
                <a:gd name="connsiteX110" fmla="*/ 3638550 w 5553075"/>
                <a:gd name="connsiteY110" fmla="*/ 757631 h 2634056"/>
                <a:gd name="connsiteX111" fmla="*/ 3657600 w 5553075"/>
                <a:gd name="connsiteY111" fmla="*/ 805256 h 2634056"/>
                <a:gd name="connsiteX112" fmla="*/ 3717925 w 5553075"/>
                <a:gd name="connsiteY112" fmla="*/ 811606 h 2634056"/>
                <a:gd name="connsiteX113" fmla="*/ 3771900 w 5553075"/>
                <a:gd name="connsiteY113" fmla="*/ 790969 h 2634056"/>
                <a:gd name="connsiteX114" fmla="*/ 3824288 w 5553075"/>
                <a:gd name="connsiteY114" fmla="*/ 767156 h 2634056"/>
                <a:gd name="connsiteX115" fmla="*/ 3814763 w 5553075"/>
                <a:gd name="connsiteY115" fmla="*/ 767156 h 2634056"/>
                <a:gd name="connsiteX116" fmla="*/ 3876675 w 5553075"/>
                <a:gd name="connsiteY116" fmla="*/ 776681 h 2634056"/>
                <a:gd name="connsiteX117" fmla="*/ 3929063 w 5553075"/>
                <a:gd name="connsiteY117" fmla="*/ 757631 h 2634056"/>
                <a:gd name="connsiteX118" fmla="*/ 3956050 w 5553075"/>
                <a:gd name="connsiteY118" fmla="*/ 779856 h 2634056"/>
                <a:gd name="connsiteX119" fmla="*/ 3905250 w 5553075"/>
                <a:gd name="connsiteY119" fmla="*/ 805256 h 2634056"/>
                <a:gd name="connsiteX120" fmla="*/ 3914775 w 5553075"/>
                <a:gd name="connsiteY120" fmla="*/ 838594 h 2634056"/>
                <a:gd name="connsiteX121" fmla="*/ 3957638 w 5553075"/>
                <a:gd name="connsiteY121" fmla="*/ 805256 h 2634056"/>
                <a:gd name="connsiteX122" fmla="*/ 3986213 w 5553075"/>
                <a:gd name="connsiteY122" fmla="*/ 848119 h 2634056"/>
                <a:gd name="connsiteX123" fmla="*/ 4078288 w 5553075"/>
                <a:gd name="connsiteY123" fmla="*/ 895744 h 2634056"/>
                <a:gd name="connsiteX124" fmla="*/ 4071938 w 5553075"/>
                <a:gd name="connsiteY124" fmla="*/ 962419 h 2634056"/>
                <a:gd name="connsiteX125" fmla="*/ 4116388 w 5553075"/>
                <a:gd name="connsiteY125" fmla="*/ 1025919 h 2634056"/>
                <a:gd name="connsiteX126" fmla="*/ 4144963 w 5553075"/>
                <a:gd name="connsiteY126" fmla="*/ 1068781 h 2634056"/>
                <a:gd name="connsiteX127" fmla="*/ 4137025 w 5553075"/>
                <a:gd name="connsiteY127" fmla="*/ 1097356 h 2634056"/>
                <a:gd name="connsiteX128" fmla="*/ 4157663 w 5553075"/>
                <a:gd name="connsiteY128" fmla="*/ 1124344 h 2634056"/>
                <a:gd name="connsiteX129" fmla="*/ 4162425 w 5553075"/>
                <a:gd name="connsiteY129" fmla="*/ 1200544 h 2634056"/>
                <a:gd name="connsiteX130" fmla="*/ 4195763 w 5553075"/>
                <a:gd name="connsiteY130" fmla="*/ 1229119 h 2634056"/>
                <a:gd name="connsiteX131" fmla="*/ 4176713 w 5553075"/>
                <a:gd name="connsiteY131" fmla="*/ 1262456 h 2634056"/>
                <a:gd name="connsiteX132" fmla="*/ 4191000 w 5553075"/>
                <a:gd name="connsiteY132" fmla="*/ 1286269 h 2634056"/>
                <a:gd name="connsiteX133" fmla="*/ 4286250 w 5553075"/>
                <a:gd name="connsiteY133" fmla="*/ 1356119 h 2634056"/>
                <a:gd name="connsiteX134" fmla="*/ 4275138 w 5553075"/>
                <a:gd name="connsiteY134" fmla="*/ 1395806 h 2634056"/>
                <a:gd name="connsiteX135" fmla="*/ 4229100 w 5553075"/>
                <a:gd name="connsiteY135" fmla="*/ 1395806 h 2634056"/>
                <a:gd name="connsiteX136" fmla="*/ 4271963 w 5553075"/>
                <a:gd name="connsiteY136" fmla="*/ 1481531 h 2634056"/>
                <a:gd name="connsiteX137" fmla="*/ 4329113 w 5553075"/>
                <a:gd name="connsiteY137" fmla="*/ 1470419 h 2634056"/>
                <a:gd name="connsiteX138" fmla="*/ 4384675 w 5553075"/>
                <a:gd name="connsiteY138" fmla="*/ 1500581 h 2634056"/>
                <a:gd name="connsiteX139" fmla="*/ 4445000 w 5553075"/>
                <a:gd name="connsiteY139" fmla="*/ 1535506 h 2634056"/>
                <a:gd name="connsiteX140" fmla="*/ 4438650 w 5553075"/>
                <a:gd name="connsiteY140" fmla="*/ 1562494 h 2634056"/>
                <a:gd name="connsiteX141" fmla="*/ 4432300 w 5553075"/>
                <a:gd name="connsiteY141" fmla="*/ 1632344 h 2634056"/>
                <a:gd name="connsiteX142" fmla="*/ 4500563 w 5553075"/>
                <a:gd name="connsiteY142" fmla="*/ 1672031 h 2634056"/>
                <a:gd name="connsiteX143" fmla="*/ 4565650 w 5553075"/>
                <a:gd name="connsiteY143" fmla="*/ 1652981 h 2634056"/>
                <a:gd name="connsiteX144" fmla="*/ 4605338 w 5553075"/>
                <a:gd name="connsiteY144" fmla="*/ 1638694 h 2634056"/>
                <a:gd name="connsiteX145" fmla="*/ 4619625 w 5553075"/>
                <a:gd name="connsiteY145" fmla="*/ 1686319 h 2634056"/>
                <a:gd name="connsiteX146" fmla="*/ 4657725 w 5553075"/>
                <a:gd name="connsiteY146" fmla="*/ 1710131 h 2634056"/>
                <a:gd name="connsiteX147" fmla="*/ 4638675 w 5553075"/>
                <a:gd name="connsiteY147" fmla="*/ 1779981 h 2634056"/>
                <a:gd name="connsiteX148" fmla="*/ 4652963 w 5553075"/>
                <a:gd name="connsiteY148" fmla="*/ 1814906 h 2634056"/>
                <a:gd name="connsiteX149" fmla="*/ 4681538 w 5553075"/>
                <a:gd name="connsiteY149" fmla="*/ 1848244 h 2634056"/>
                <a:gd name="connsiteX150" fmla="*/ 4767263 w 5553075"/>
                <a:gd name="connsiteY150" fmla="*/ 1891106 h 2634056"/>
                <a:gd name="connsiteX151" fmla="*/ 4776788 w 5553075"/>
                <a:gd name="connsiteY151" fmla="*/ 1967306 h 2634056"/>
                <a:gd name="connsiteX152" fmla="*/ 4705350 w 5553075"/>
                <a:gd name="connsiteY152" fmla="*/ 1938731 h 2634056"/>
                <a:gd name="connsiteX153" fmla="*/ 4695825 w 5553075"/>
                <a:gd name="connsiteY153" fmla="*/ 1972069 h 2634056"/>
                <a:gd name="connsiteX154" fmla="*/ 4743450 w 5553075"/>
                <a:gd name="connsiteY154" fmla="*/ 2014931 h 2634056"/>
                <a:gd name="connsiteX155" fmla="*/ 4776788 w 5553075"/>
                <a:gd name="connsiteY155" fmla="*/ 2033981 h 2634056"/>
                <a:gd name="connsiteX156" fmla="*/ 4822825 w 5553075"/>
                <a:gd name="connsiteY156" fmla="*/ 2026044 h 2634056"/>
                <a:gd name="connsiteX157" fmla="*/ 4843463 w 5553075"/>
                <a:gd name="connsiteY157" fmla="*/ 2040331 h 2634056"/>
                <a:gd name="connsiteX158" fmla="*/ 4838700 w 5553075"/>
                <a:gd name="connsiteY158" fmla="*/ 2095894 h 2634056"/>
                <a:gd name="connsiteX159" fmla="*/ 4972050 w 5553075"/>
                <a:gd name="connsiteY159" fmla="*/ 2191144 h 2634056"/>
                <a:gd name="connsiteX160" fmla="*/ 4995863 w 5553075"/>
                <a:gd name="connsiteY160" fmla="*/ 2167331 h 2634056"/>
                <a:gd name="connsiteX161" fmla="*/ 5065713 w 5553075"/>
                <a:gd name="connsiteY161" fmla="*/ 2192731 h 2634056"/>
                <a:gd name="connsiteX162" fmla="*/ 5124450 w 5553075"/>
                <a:gd name="connsiteY162" fmla="*/ 2253056 h 2634056"/>
                <a:gd name="connsiteX163" fmla="*/ 5229225 w 5553075"/>
                <a:gd name="connsiteY163" fmla="*/ 2292744 h 2634056"/>
                <a:gd name="connsiteX164" fmla="*/ 5281613 w 5553075"/>
                <a:gd name="connsiteY164" fmla="*/ 2362594 h 2634056"/>
                <a:gd name="connsiteX165" fmla="*/ 5286375 w 5553075"/>
                <a:gd name="connsiteY165" fmla="*/ 2443556 h 2634056"/>
                <a:gd name="connsiteX166" fmla="*/ 5353050 w 5553075"/>
                <a:gd name="connsiteY166" fmla="*/ 2514994 h 2634056"/>
                <a:gd name="connsiteX167" fmla="*/ 5426075 w 5553075"/>
                <a:gd name="connsiteY167" fmla="*/ 2543569 h 2634056"/>
                <a:gd name="connsiteX168" fmla="*/ 5486400 w 5553075"/>
                <a:gd name="connsiteY168" fmla="*/ 2595956 h 2634056"/>
                <a:gd name="connsiteX169" fmla="*/ 5553075 w 5553075"/>
                <a:gd name="connsiteY169"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784475 w 5553075"/>
                <a:gd name="connsiteY78" fmla="*/ 75006 h 2634056"/>
                <a:gd name="connsiteX79" fmla="*/ 2814638 w 5553075"/>
                <a:gd name="connsiteY79" fmla="*/ 71831 h 2634056"/>
                <a:gd name="connsiteX80" fmla="*/ 2836863 w 5553075"/>
                <a:gd name="connsiteY80" fmla="*/ 135331 h 2634056"/>
                <a:gd name="connsiteX81" fmla="*/ 2828925 w 5553075"/>
                <a:gd name="connsiteY81" fmla="*/ 176606 h 2634056"/>
                <a:gd name="connsiteX82" fmla="*/ 2895600 w 5553075"/>
                <a:gd name="connsiteY82" fmla="*/ 152794 h 2634056"/>
                <a:gd name="connsiteX83" fmla="*/ 2911475 w 5553075"/>
                <a:gd name="connsiteY83" fmla="*/ 202006 h 2634056"/>
                <a:gd name="connsiteX84" fmla="*/ 2933700 w 5553075"/>
                <a:gd name="connsiteY84" fmla="*/ 238519 h 2634056"/>
                <a:gd name="connsiteX85" fmla="*/ 2933700 w 5553075"/>
                <a:gd name="connsiteY85" fmla="*/ 195656 h 2634056"/>
                <a:gd name="connsiteX86" fmla="*/ 2986088 w 5553075"/>
                <a:gd name="connsiteY86" fmla="*/ 224231 h 2634056"/>
                <a:gd name="connsiteX87" fmla="*/ 3000375 w 5553075"/>
                <a:gd name="connsiteY87" fmla="*/ 248044 h 2634056"/>
                <a:gd name="connsiteX88" fmla="*/ 3057525 w 5553075"/>
                <a:gd name="connsiteY88" fmla="*/ 295669 h 2634056"/>
                <a:gd name="connsiteX89" fmla="*/ 3086100 w 5553075"/>
                <a:gd name="connsiteY89" fmla="*/ 303606 h 2634056"/>
                <a:gd name="connsiteX90" fmla="*/ 3138488 w 5553075"/>
                <a:gd name="connsiteY90" fmla="*/ 371869 h 2634056"/>
                <a:gd name="connsiteX91" fmla="*/ 3190875 w 5553075"/>
                <a:gd name="connsiteY91" fmla="*/ 424256 h 2634056"/>
                <a:gd name="connsiteX92" fmla="*/ 3214688 w 5553075"/>
                <a:gd name="connsiteY92" fmla="*/ 467119 h 2634056"/>
                <a:gd name="connsiteX93" fmla="*/ 3257550 w 5553075"/>
                <a:gd name="connsiteY93" fmla="*/ 471881 h 2634056"/>
                <a:gd name="connsiteX94" fmla="*/ 3319463 w 5553075"/>
                <a:gd name="connsiteY94" fmla="*/ 529031 h 2634056"/>
                <a:gd name="connsiteX95" fmla="*/ 3281363 w 5553075"/>
                <a:gd name="connsiteY95" fmla="*/ 546494 h 2634056"/>
                <a:gd name="connsiteX96" fmla="*/ 3281363 w 5553075"/>
                <a:gd name="connsiteY96" fmla="*/ 567131 h 2634056"/>
                <a:gd name="connsiteX97" fmla="*/ 3319463 w 5553075"/>
                <a:gd name="connsiteY97" fmla="*/ 581419 h 2634056"/>
                <a:gd name="connsiteX98" fmla="*/ 3317875 w 5553075"/>
                <a:gd name="connsiteY98" fmla="*/ 656031 h 2634056"/>
                <a:gd name="connsiteX99" fmla="*/ 3352800 w 5553075"/>
                <a:gd name="connsiteY99" fmla="*/ 629044 h 2634056"/>
                <a:gd name="connsiteX100" fmla="*/ 3397250 w 5553075"/>
                <a:gd name="connsiteY100" fmla="*/ 683019 h 2634056"/>
                <a:gd name="connsiteX101" fmla="*/ 3419475 w 5553075"/>
                <a:gd name="connsiteY101" fmla="*/ 686194 h 2634056"/>
                <a:gd name="connsiteX102" fmla="*/ 3429000 w 5553075"/>
                <a:gd name="connsiteY102" fmla="*/ 714769 h 2634056"/>
                <a:gd name="connsiteX103" fmla="*/ 3429000 w 5553075"/>
                <a:gd name="connsiteY103" fmla="*/ 738581 h 2634056"/>
                <a:gd name="connsiteX104" fmla="*/ 3473450 w 5553075"/>
                <a:gd name="connsiteY104" fmla="*/ 795731 h 2634056"/>
                <a:gd name="connsiteX105" fmla="*/ 3514725 w 5553075"/>
                <a:gd name="connsiteY105" fmla="*/ 762394 h 2634056"/>
                <a:gd name="connsiteX106" fmla="*/ 3557588 w 5553075"/>
                <a:gd name="connsiteY106" fmla="*/ 752869 h 2634056"/>
                <a:gd name="connsiteX107" fmla="*/ 3595688 w 5553075"/>
                <a:gd name="connsiteY107" fmla="*/ 738581 h 2634056"/>
                <a:gd name="connsiteX108" fmla="*/ 3629025 w 5553075"/>
                <a:gd name="connsiteY108" fmla="*/ 700481 h 2634056"/>
                <a:gd name="connsiteX109" fmla="*/ 3648075 w 5553075"/>
                <a:gd name="connsiteY109" fmla="*/ 719531 h 2634056"/>
                <a:gd name="connsiteX110" fmla="*/ 3638550 w 5553075"/>
                <a:gd name="connsiteY110" fmla="*/ 757631 h 2634056"/>
                <a:gd name="connsiteX111" fmla="*/ 3657600 w 5553075"/>
                <a:gd name="connsiteY111" fmla="*/ 805256 h 2634056"/>
                <a:gd name="connsiteX112" fmla="*/ 3717925 w 5553075"/>
                <a:gd name="connsiteY112" fmla="*/ 811606 h 2634056"/>
                <a:gd name="connsiteX113" fmla="*/ 3771900 w 5553075"/>
                <a:gd name="connsiteY113" fmla="*/ 790969 h 2634056"/>
                <a:gd name="connsiteX114" fmla="*/ 3824288 w 5553075"/>
                <a:gd name="connsiteY114" fmla="*/ 767156 h 2634056"/>
                <a:gd name="connsiteX115" fmla="*/ 3814763 w 5553075"/>
                <a:gd name="connsiteY115" fmla="*/ 767156 h 2634056"/>
                <a:gd name="connsiteX116" fmla="*/ 3876675 w 5553075"/>
                <a:gd name="connsiteY116" fmla="*/ 776681 h 2634056"/>
                <a:gd name="connsiteX117" fmla="*/ 3929063 w 5553075"/>
                <a:gd name="connsiteY117" fmla="*/ 757631 h 2634056"/>
                <a:gd name="connsiteX118" fmla="*/ 3956050 w 5553075"/>
                <a:gd name="connsiteY118" fmla="*/ 779856 h 2634056"/>
                <a:gd name="connsiteX119" fmla="*/ 3905250 w 5553075"/>
                <a:gd name="connsiteY119" fmla="*/ 805256 h 2634056"/>
                <a:gd name="connsiteX120" fmla="*/ 3914775 w 5553075"/>
                <a:gd name="connsiteY120" fmla="*/ 838594 h 2634056"/>
                <a:gd name="connsiteX121" fmla="*/ 3957638 w 5553075"/>
                <a:gd name="connsiteY121" fmla="*/ 805256 h 2634056"/>
                <a:gd name="connsiteX122" fmla="*/ 3986213 w 5553075"/>
                <a:gd name="connsiteY122" fmla="*/ 848119 h 2634056"/>
                <a:gd name="connsiteX123" fmla="*/ 4078288 w 5553075"/>
                <a:gd name="connsiteY123" fmla="*/ 895744 h 2634056"/>
                <a:gd name="connsiteX124" fmla="*/ 4071938 w 5553075"/>
                <a:gd name="connsiteY124" fmla="*/ 962419 h 2634056"/>
                <a:gd name="connsiteX125" fmla="*/ 4116388 w 5553075"/>
                <a:gd name="connsiteY125" fmla="*/ 1025919 h 2634056"/>
                <a:gd name="connsiteX126" fmla="*/ 4144963 w 5553075"/>
                <a:gd name="connsiteY126" fmla="*/ 1068781 h 2634056"/>
                <a:gd name="connsiteX127" fmla="*/ 4137025 w 5553075"/>
                <a:gd name="connsiteY127" fmla="*/ 1097356 h 2634056"/>
                <a:gd name="connsiteX128" fmla="*/ 4157663 w 5553075"/>
                <a:gd name="connsiteY128" fmla="*/ 1124344 h 2634056"/>
                <a:gd name="connsiteX129" fmla="*/ 4162425 w 5553075"/>
                <a:gd name="connsiteY129" fmla="*/ 1200544 h 2634056"/>
                <a:gd name="connsiteX130" fmla="*/ 4195763 w 5553075"/>
                <a:gd name="connsiteY130" fmla="*/ 1229119 h 2634056"/>
                <a:gd name="connsiteX131" fmla="*/ 4176713 w 5553075"/>
                <a:gd name="connsiteY131" fmla="*/ 1262456 h 2634056"/>
                <a:gd name="connsiteX132" fmla="*/ 4191000 w 5553075"/>
                <a:gd name="connsiteY132" fmla="*/ 1286269 h 2634056"/>
                <a:gd name="connsiteX133" fmla="*/ 4286250 w 5553075"/>
                <a:gd name="connsiteY133" fmla="*/ 1356119 h 2634056"/>
                <a:gd name="connsiteX134" fmla="*/ 4275138 w 5553075"/>
                <a:gd name="connsiteY134" fmla="*/ 1395806 h 2634056"/>
                <a:gd name="connsiteX135" fmla="*/ 4229100 w 5553075"/>
                <a:gd name="connsiteY135" fmla="*/ 1395806 h 2634056"/>
                <a:gd name="connsiteX136" fmla="*/ 4271963 w 5553075"/>
                <a:gd name="connsiteY136" fmla="*/ 1481531 h 2634056"/>
                <a:gd name="connsiteX137" fmla="*/ 4329113 w 5553075"/>
                <a:gd name="connsiteY137" fmla="*/ 1470419 h 2634056"/>
                <a:gd name="connsiteX138" fmla="*/ 4384675 w 5553075"/>
                <a:gd name="connsiteY138" fmla="*/ 1500581 h 2634056"/>
                <a:gd name="connsiteX139" fmla="*/ 4445000 w 5553075"/>
                <a:gd name="connsiteY139" fmla="*/ 1535506 h 2634056"/>
                <a:gd name="connsiteX140" fmla="*/ 4438650 w 5553075"/>
                <a:gd name="connsiteY140" fmla="*/ 1562494 h 2634056"/>
                <a:gd name="connsiteX141" fmla="*/ 4432300 w 5553075"/>
                <a:gd name="connsiteY141" fmla="*/ 1632344 h 2634056"/>
                <a:gd name="connsiteX142" fmla="*/ 4500563 w 5553075"/>
                <a:gd name="connsiteY142" fmla="*/ 1672031 h 2634056"/>
                <a:gd name="connsiteX143" fmla="*/ 4565650 w 5553075"/>
                <a:gd name="connsiteY143" fmla="*/ 1652981 h 2634056"/>
                <a:gd name="connsiteX144" fmla="*/ 4605338 w 5553075"/>
                <a:gd name="connsiteY144" fmla="*/ 1638694 h 2634056"/>
                <a:gd name="connsiteX145" fmla="*/ 4619625 w 5553075"/>
                <a:gd name="connsiteY145" fmla="*/ 1686319 h 2634056"/>
                <a:gd name="connsiteX146" fmla="*/ 4657725 w 5553075"/>
                <a:gd name="connsiteY146" fmla="*/ 1710131 h 2634056"/>
                <a:gd name="connsiteX147" fmla="*/ 4638675 w 5553075"/>
                <a:gd name="connsiteY147" fmla="*/ 1779981 h 2634056"/>
                <a:gd name="connsiteX148" fmla="*/ 4652963 w 5553075"/>
                <a:gd name="connsiteY148" fmla="*/ 1814906 h 2634056"/>
                <a:gd name="connsiteX149" fmla="*/ 4681538 w 5553075"/>
                <a:gd name="connsiteY149" fmla="*/ 1848244 h 2634056"/>
                <a:gd name="connsiteX150" fmla="*/ 4767263 w 5553075"/>
                <a:gd name="connsiteY150" fmla="*/ 1891106 h 2634056"/>
                <a:gd name="connsiteX151" fmla="*/ 4776788 w 5553075"/>
                <a:gd name="connsiteY151" fmla="*/ 1967306 h 2634056"/>
                <a:gd name="connsiteX152" fmla="*/ 4705350 w 5553075"/>
                <a:gd name="connsiteY152" fmla="*/ 1938731 h 2634056"/>
                <a:gd name="connsiteX153" fmla="*/ 4695825 w 5553075"/>
                <a:gd name="connsiteY153" fmla="*/ 1972069 h 2634056"/>
                <a:gd name="connsiteX154" fmla="*/ 4743450 w 5553075"/>
                <a:gd name="connsiteY154" fmla="*/ 2014931 h 2634056"/>
                <a:gd name="connsiteX155" fmla="*/ 4776788 w 5553075"/>
                <a:gd name="connsiteY155" fmla="*/ 2033981 h 2634056"/>
                <a:gd name="connsiteX156" fmla="*/ 4822825 w 5553075"/>
                <a:gd name="connsiteY156" fmla="*/ 2026044 h 2634056"/>
                <a:gd name="connsiteX157" fmla="*/ 4843463 w 5553075"/>
                <a:gd name="connsiteY157" fmla="*/ 2040331 h 2634056"/>
                <a:gd name="connsiteX158" fmla="*/ 4838700 w 5553075"/>
                <a:gd name="connsiteY158" fmla="*/ 2095894 h 2634056"/>
                <a:gd name="connsiteX159" fmla="*/ 4972050 w 5553075"/>
                <a:gd name="connsiteY159" fmla="*/ 2191144 h 2634056"/>
                <a:gd name="connsiteX160" fmla="*/ 4995863 w 5553075"/>
                <a:gd name="connsiteY160" fmla="*/ 2167331 h 2634056"/>
                <a:gd name="connsiteX161" fmla="*/ 5065713 w 5553075"/>
                <a:gd name="connsiteY161" fmla="*/ 2192731 h 2634056"/>
                <a:gd name="connsiteX162" fmla="*/ 5124450 w 5553075"/>
                <a:gd name="connsiteY162" fmla="*/ 2253056 h 2634056"/>
                <a:gd name="connsiteX163" fmla="*/ 5229225 w 5553075"/>
                <a:gd name="connsiteY163" fmla="*/ 2292744 h 2634056"/>
                <a:gd name="connsiteX164" fmla="*/ 5281613 w 5553075"/>
                <a:gd name="connsiteY164" fmla="*/ 2362594 h 2634056"/>
                <a:gd name="connsiteX165" fmla="*/ 5286375 w 5553075"/>
                <a:gd name="connsiteY165" fmla="*/ 2443556 h 2634056"/>
                <a:gd name="connsiteX166" fmla="*/ 5353050 w 5553075"/>
                <a:gd name="connsiteY166" fmla="*/ 2514994 h 2634056"/>
                <a:gd name="connsiteX167" fmla="*/ 5426075 w 5553075"/>
                <a:gd name="connsiteY167" fmla="*/ 2543569 h 2634056"/>
                <a:gd name="connsiteX168" fmla="*/ 5486400 w 5553075"/>
                <a:gd name="connsiteY168" fmla="*/ 2595956 h 2634056"/>
                <a:gd name="connsiteX169" fmla="*/ 5553075 w 5553075"/>
                <a:gd name="connsiteY169"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784475 w 5553075"/>
                <a:gd name="connsiteY78" fmla="*/ 75006 h 2634056"/>
                <a:gd name="connsiteX79" fmla="*/ 2814638 w 5553075"/>
                <a:gd name="connsiteY79" fmla="*/ 71831 h 2634056"/>
                <a:gd name="connsiteX80" fmla="*/ 2836863 w 5553075"/>
                <a:gd name="connsiteY80" fmla="*/ 135331 h 2634056"/>
                <a:gd name="connsiteX81" fmla="*/ 2828925 w 5553075"/>
                <a:gd name="connsiteY81" fmla="*/ 176606 h 2634056"/>
                <a:gd name="connsiteX82" fmla="*/ 2895600 w 5553075"/>
                <a:gd name="connsiteY82" fmla="*/ 152794 h 2634056"/>
                <a:gd name="connsiteX83" fmla="*/ 2911475 w 5553075"/>
                <a:gd name="connsiteY83" fmla="*/ 202006 h 2634056"/>
                <a:gd name="connsiteX84" fmla="*/ 2933700 w 5553075"/>
                <a:gd name="connsiteY84" fmla="*/ 238519 h 2634056"/>
                <a:gd name="connsiteX85" fmla="*/ 2933700 w 5553075"/>
                <a:gd name="connsiteY85" fmla="*/ 195656 h 2634056"/>
                <a:gd name="connsiteX86" fmla="*/ 2986088 w 5553075"/>
                <a:gd name="connsiteY86" fmla="*/ 224231 h 2634056"/>
                <a:gd name="connsiteX87" fmla="*/ 3000375 w 5553075"/>
                <a:gd name="connsiteY87" fmla="*/ 248044 h 2634056"/>
                <a:gd name="connsiteX88" fmla="*/ 3057525 w 5553075"/>
                <a:gd name="connsiteY88" fmla="*/ 295669 h 2634056"/>
                <a:gd name="connsiteX89" fmla="*/ 3086100 w 5553075"/>
                <a:gd name="connsiteY89" fmla="*/ 303606 h 2634056"/>
                <a:gd name="connsiteX90" fmla="*/ 3138488 w 5553075"/>
                <a:gd name="connsiteY90" fmla="*/ 371869 h 2634056"/>
                <a:gd name="connsiteX91" fmla="*/ 3190875 w 5553075"/>
                <a:gd name="connsiteY91" fmla="*/ 424256 h 2634056"/>
                <a:gd name="connsiteX92" fmla="*/ 3214688 w 5553075"/>
                <a:gd name="connsiteY92" fmla="*/ 467119 h 2634056"/>
                <a:gd name="connsiteX93" fmla="*/ 3257550 w 5553075"/>
                <a:gd name="connsiteY93" fmla="*/ 471881 h 2634056"/>
                <a:gd name="connsiteX94" fmla="*/ 3319463 w 5553075"/>
                <a:gd name="connsiteY94" fmla="*/ 529031 h 2634056"/>
                <a:gd name="connsiteX95" fmla="*/ 3281363 w 5553075"/>
                <a:gd name="connsiteY95" fmla="*/ 546494 h 2634056"/>
                <a:gd name="connsiteX96" fmla="*/ 3281363 w 5553075"/>
                <a:gd name="connsiteY96" fmla="*/ 567131 h 2634056"/>
                <a:gd name="connsiteX97" fmla="*/ 3319463 w 5553075"/>
                <a:gd name="connsiteY97" fmla="*/ 581419 h 2634056"/>
                <a:gd name="connsiteX98" fmla="*/ 3317875 w 5553075"/>
                <a:gd name="connsiteY98" fmla="*/ 656031 h 2634056"/>
                <a:gd name="connsiteX99" fmla="*/ 3352800 w 5553075"/>
                <a:gd name="connsiteY99" fmla="*/ 629044 h 2634056"/>
                <a:gd name="connsiteX100" fmla="*/ 3397250 w 5553075"/>
                <a:gd name="connsiteY100" fmla="*/ 683019 h 2634056"/>
                <a:gd name="connsiteX101" fmla="*/ 3419475 w 5553075"/>
                <a:gd name="connsiteY101" fmla="*/ 686194 h 2634056"/>
                <a:gd name="connsiteX102" fmla="*/ 3429000 w 5553075"/>
                <a:gd name="connsiteY102" fmla="*/ 714769 h 2634056"/>
                <a:gd name="connsiteX103" fmla="*/ 3429000 w 5553075"/>
                <a:gd name="connsiteY103" fmla="*/ 738581 h 2634056"/>
                <a:gd name="connsiteX104" fmla="*/ 3473450 w 5553075"/>
                <a:gd name="connsiteY104" fmla="*/ 795731 h 2634056"/>
                <a:gd name="connsiteX105" fmla="*/ 3514725 w 5553075"/>
                <a:gd name="connsiteY105" fmla="*/ 762394 h 2634056"/>
                <a:gd name="connsiteX106" fmla="*/ 3557588 w 5553075"/>
                <a:gd name="connsiteY106" fmla="*/ 752869 h 2634056"/>
                <a:gd name="connsiteX107" fmla="*/ 3595688 w 5553075"/>
                <a:gd name="connsiteY107" fmla="*/ 738581 h 2634056"/>
                <a:gd name="connsiteX108" fmla="*/ 3629025 w 5553075"/>
                <a:gd name="connsiteY108" fmla="*/ 700481 h 2634056"/>
                <a:gd name="connsiteX109" fmla="*/ 3648075 w 5553075"/>
                <a:gd name="connsiteY109" fmla="*/ 719531 h 2634056"/>
                <a:gd name="connsiteX110" fmla="*/ 3638550 w 5553075"/>
                <a:gd name="connsiteY110" fmla="*/ 757631 h 2634056"/>
                <a:gd name="connsiteX111" fmla="*/ 3657600 w 5553075"/>
                <a:gd name="connsiteY111" fmla="*/ 805256 h 2634056"/>
                <a:gd name="connsiteX112" fmla="*/ 3717925 w 5553075"/>
                <a:gd name="connsiteY112" fmla="*/ 811606 h 2634056"/>
                <a:gd name="connsiteX113" fmla="*/ 3771900 w 5553075"/>
                <a:gd name="connsiteY113" fmla="*/ 790969 h 2634056"/>
                <a:gd name="connsiteX114" fmla="*/ 3824288 w 5553075"/>
                <a:gd name="connsiteY114" fmla="*/ 767156 h 2634056"/>
                <a:gd name="connsiteX115" fmla="*/ 3814763 w 5553075"/>
                <a:gd name="connsiteY115" fmla="*/ 767156 h 2634056"/>
                <a:gd name="connsiteX116" fmla="*/ 3876675 w 5553075"/>
                <a:gd name="connsiteY116" fmla="*/ 776681 h 2634056"/>
                <a:gd name="connsiteX117" fmla="*/ 3929063 w 5553075"/>
                <a:gd name="connsiteY117" fmla="*/ 757631 h 2634056"/>
                <a:gd name="connsiteX118" fmla="*/ 3956050 w 5553075"/>
                <a:gd name="connsiteY118" fmla="*/ 779856 h 2634056"/>
                <a:gd name="connsiteX119" fmla="*/ 3905250 w 5553075"/>
                <a:gd name="connsiteY119" fmla="*/ 805256 h 2634056"/>
                <a:gd name="connsiteX120" fmla="*/ 3914775 w 5553075"/>
                <a:gd name="connsiteY120" fmla="*/ 838594 h 2634056"/>
                <a:gd name="connsiteX121" fmla="*/ 3957638 w 5553075"/>
                <a:gd name="connsiteY121" fmla="*/ 805256 h 2634056"/>
                <a:gd name="connsiteX122" fmla="*/ 3986213 w 5553075"/>
                <a:gd name="connsiteY122" fmla="*/ 848119 h 2634056"/>
                <a:gd name="connsiteX123" fmla="*/ 4078288 w 5553075"/>
                <a:gd name="connsiteY123" fmla="*/ 895744 h 2634056"/>
                <a:gd name="connsiteX124" fmla="*/ 4071938 w 5553075"/>
                <a:gd name="connsiteY124" fmla="*/ 962419 h 2634056"/>
                <a:gd name="connsiteX125" fmla="*/ 4116388 w 5553075"/>
                <a:gd name="connsiteY125" fmla="*/ 1025919 h 2634056"/>
                <a:gd name="connsiteX126" fmla="*/ 4144963 w 5553075"/>
                <a:gd name="connsiteY126" fmla="*/ 1068781 h 2634056"/>
                <a:gd name="connsiteX127" fmla="*/ 4137025 w 5553075"/>
                <a:gd name="connsiteY127" fmla="*/ 1097356 h 2634056"/>
                <a:gd name="connsiteX128" fmla="*/ 4157663 w 5553075"/>
                <a:gd name="connsiteY128" fmla="*/ 1124344 h 2634056"/>
                <a:gd name="connsiteX129" fmla="*/ 4162425 w 5553075"/>
                <a:gd name="connsiteY129" fmla="*/ 1200544 h 2634056"/>
                <a:gd name="connsiteX130" fmla="*/ 4195763 w 5553075"/>
                <a:gd name="connsiteY130" fmla="*/ 1229119 h 2634056"/>
                <a:gd name="connsiteX131" fmla="*/ 4176713 w 5553075"/>
                <a:gd name="connsiteY131" fmla="*/ 1262456 h 2634056"/>
                <a:gd name="connsiteX132" fmla="*/ 4191000 w 5553075"/>
                <a:gd name="connsiteY132" fmla="*/ 1286269 h 2634056"/>
                <a:gd name="connsiteX133" fmla="*/ 4270375 w 5553075"/>
                <a:gd name="connsiteY133" fmla="*/ 1349769 h 2634056"/>
                <a:gd name="connsiteX134" fmla="*/ 4275138 w 5553075"/>
                <a:gd name="connsiteY134" fmla="*/ 1395806 h 2634056"/>
                <a:gd name="connsiteX135" fmla="*/ 4229100 w 5553075"/>
                <a:gd name="connsiteY135" fmla="*/ 1395806 h 2634056"/>
                <a:gd name="connsiteX136" fmla="*/ 4271963 w 5553075"/>
                <a:gd name="connsiteY136" fmla="*/ 1481531 h 2634056"/>
                <a:gd name="connsiteX137" fmla="*/ 4329113 w 5553075"/>
                <a:gd name="connsiteY137" fmla="*/ 1470419 h 2634056"/>
                <a:gd name="connsiteX138" fmla="*/ 4384675 w 5553075"/>
                <a:gd name="connsiteY138" fmla="*/ 1500581 h 2634056"/>
                <a:gd name="connsiteX139" fmla="*/ 4445000 w 5553075"/>
                <a:gd name="connsiteY139" fmla="*/ 1535506 h 2634056"/>
                <a:gd name="connsiteX140" fmla="*/ 4438650 w 5553075"/>
                <a:gd name="connsiteY140" fmla="*/ 1562494 h 2634056"/>
                <a:gd name="connsiteX141" fmla="*/ 4432300 w 5553075"/>
                <a:gd name="connsiteY141" fmla="*/ 1632344 h 2634056"/>
                <a:gd name="connsiteX142" fmla="*/ 4500563 w 5553075"/>
                <a:gd name="connsiteY142" fmla="*/ 1672031 h 2634056"/>
                <a:gd name="connsiteX143" fmla="*/ 4565650 w 5553075"/>
                <a:gd name="connsiteY143" fmla="*/ 1652981 h 2634056"/>
                <a:gd name="connsiteX144" fmla="*/ 4605338 w 5553075"/>
                <a:gd name="connsiteY144" fmla="*/ 1638694 h 2634056"/>
                <a:gd name="connsiteX145" fmla="*/ 4619625 w 5553075"/>
                <a:gd name="connsiteY145" fmla="*/ 1686319 h 2634056"/>
                <a:gd name="connsiteX146" fmla="*/ 4657725 w 5553075"/>
                <a:gd name="connsiteY146" fmla="*/ 1710131 h 2634056"/>
                <a:gd name="connsiteX147" fmla="*/ 4638675 w 5553075"/>
                <a:gd name="connsiteY147" fmla="*/ 1779981 h 2634056"/>
                <a:gd name="connsiteX148" fmla="*/ 4652963 w 5553075"/>
                <a:gd name="connsiteY148" fmla="*/ 1814906 h 2634056"/>
                <a:gd name="connsiteX149" fmla="*/ 4681538 w 5553075"/>
                <a:gd name="connsiteY149" fmla="*/ 1848244 h 2634056"/>
                <a:gd name="connsiteX150" fmla="*/ 4767263 w 5553075"/>
                <a:gd name="connsiteY150" fmla="*/ 1891106 h 2634056"/>
                <a:gd name="connsiteX151" fmla="*/ 4776788 w 5553075"/>
                <a:gd name="connsiteY151" fmla="*/ 1967306 h 2634056"/>
                <a:gd name="connsiteX152" fmla="*/ 4705350 w 5553075"/>
                <a:gd name="connsiteY152" fmla="*/ 1938731 h 2634056"/>
                <a:gd name="connsiteX153" fmla="*/ 4695825 w 5553075"/>
                <a:gd name="connsiteY153" fmla="*/ 1972069 h 2634056"/>
                <a:gd name="connsiteX154" fmla="*/ 4743450 w 5553075"/>
                <a:gd name="connsiteY154" fmla="*/ 2014931 h 2634056"/>
                <a:gd name="connsiteX155" fmla="*/ 4776788 w 5553075"/>
                <a:gd name="connsiteY155" fmla="*/ 2033981 h 2634056"/>
                <a:gd name="connsiteX156" fmla="*/ 4822825 w 5553075"/>
                <a:gd name="connsiteY156" fmla="*/ 2026044 h 2634056"/>
                <a:gd name="connsiteX157" fmla="*/ 4843463 w 5553075"/>
                <a:gd name="connsiteY157" fmla="*/ 2040331 h 2634056"/>
                <a:gd name="connsiteX158" fmla="*/ 4838700 w 5553075"/>
                <a:gd name="connsiteY158" fmla="*/ 2095894 h 2634056"/>
                <a:gd name="connsiteX159" fmla="*/ 4972050 w 5553075"/>
                <a:gd name="connsiteY159" fmla="*/ 2191144 h 2634056"/>
                <a:gd name="connsiteX160" fmla="*/ 4995863 w 5553075"/>
                <a:gd name="connsiteY160" fmla="*/ 2167331 h 2634056"/>
                <a:gd name="connsiteX161" fmla="*/ 5065713 w 5553075"/>
                <a:gd name="connsiteY161" fmla="*/ 2192731 h 2634056"/>
                <a:gd name="connsiteX162" fmla="*/ 5124450 w 5553075"/>
                <a:gd name="connsiteY162" fmla="*/ 2253056 h 2634056"/>
                <a:gd name="connsiteX163" fmla="*/ 5229225 w 5553075"/>
                <a:gd name="connsiteY163" fmla="*/ 2292744 h 2634056"/>
                <a:gd name="connsiteX164" fmla="*/ 5281613 w 5553075"/>
                <a:gd name="connsiteY164" fmla="*/ 2362594 h 2634056"/>
                <a:gd name="connsiteX165" fmla="*/ 5286375 w 5553075"/>
                <a:gd name="connsiteY165" fmla="*/ 2443556 h 2634056"/>
                <a:gd name="connsiteX166" fmla="*/ 5353050 w 5553075"/>
                <a:gd name="connsiteY166" fmla="*/ 2514994 h 2634056"/>
                <a:gd name="connsiteX167" fmla="*/ 5426075 w 5553075"/>
                <a:gd name="connsiteY167" fmla="*/ 2543569 h 2634056"/>
                <a:gd name="connsiteX168" fmla="*/ 5486400 w 5553075"/>
                <a:gd name="connsiteY168" fmla="*/ 2595956 h 2634056"/>
                <a:gd name="connsiteX169" fmla="*/ 5553075 w 5553075"/>
                <a:gd name="connsiteY169" fmla="*/ 2634056 h 2634056"/>
                <a:gd name="connsiteX0" fmla="*/ 0 w 5553075"/>
                <a:gd name="connsiteY0" fmla="*/ 862406 h 2634056"/>
                <a:gd name="connsiteX1" fmla="*/ 57150 w 5553075"/>
                <a:gd name="connsiteY1" fmla="*/ 819544 h 2634056"/>
                <a:gd name="connsiteX2" fmla="*/ 57150 w 5553075"/>
                <a:gd name="connsiteY2" fmla="*/ 771919 h 2634056"/>
                <a:gd name="connsiteX3" fmla="*/ 47625 w 5553075"/>
                <a:gd name="connsiteY3" fmla="*/ 700481 h 2634056"/>
                <a:gd name="connsiteX4" fmla="*/ 95250 w 5553075"/>
                <a:gd name="connsiteY4" fmla="*/ 657619 h 2634056"/>
                <a:gd name="connsiteX5" fmla="*/ 142875 w 5553075"/>
                <a:gd name="connsiteY5" fmla="*/ 657619 h 2634056"/>
                <a:gd name="connsiteX6" fmla="*/ 179388 w 5553075"/>
                <a:gd name="connsiteY6" fmla="*/ 605231 h 2634056"/>
                <a:gd name="connsiteX7" fmla="*/ 176213 w 5553075"/>
                <a:gd name="connsiteY7" fmla="*/ 567131 h 2634056"/>
                <a:gd name="connsiteX8" fmla="*/ 169863 w 5553075"/>
                <a:gd name="connsiteY8" fmla="*/ 517919 h 2634056"/>
                <a:gd name="connsiteX9" fmla="*/ 195263 w 5553075"/>
                <a:gd name="connsiteY9" fmla="*/ 495694 h 2634056"/>
                <a:gd name="connsiteX10" fmla="*/ 209550 w 5553075"/>
                <a:gd name="connsiteY10" fmla="*/ 467119 h 2634056"/>
                <a:gd name="connsiteX11" fmla="*/ 209550 w 5553075"/>
                <a:gd name="connsiteY11" fmla="*/ 390919 h 2634056"/>
                <a:gd name="connsiteX12" fmla="*/ 242888 w 5553075"/>
                <a:gd name="connsiteY12" fmla="*/ 390919 h 2634056"/>
                <a:gd name="connsiteX13" fmla="*/ 242888 w 5553075"/>
                <a:gd name="connsiteY13" fmla="*/ 319481 h 2634056"/>
                <a:gd name="connsiteX14" fmla="*/ 271463 w 5553075"/>
                <a:gd name="connsiteY14" fmla="*/ 305194 h 2634056"/>
                <a:gd name="connsiteX15" fmla="*/ 280988 w 5553075"/>
                <a:gd name="connsiteY15" fmla="*/ 238519 h 2634056"/>
                <a:gd name="connsiteX16" fmla="*/ 361950 w 5553075"/>
                <a:gd name="connsiteY16" fmla="*/ 248044 h 2634056"/>
                <a:gd name="connsiteX17" fmla="*/ 395288 w 5553075"/>
                <a:gd name="connsiteY17" fmla="*/ 243281 h 2634056"/>
                <a:gd name="connsiteX18" fmla="*/ 433388 w 5553075"/>
                <a:gd name="connsiteY18" fmla="*/ 209944 h 2634056"/>
                <a:gd name="connsiteX19" fmla="*/ 495300 w 5553075"/>
                <a:gd name="connsiteY19" fmla="*/ 195656 h 2634056"/>
                <a:gd name="connsiteX20" fmla="*/ 509588 w 5553075"/>
                <a:gd name="connsiteY20" fmla="*/ 238519 h 2634056"/>
                <a:gd name="connsiteX21" fmla="*/ 552450 w 5553075"/>
                <a:gd name="connsiteY21" fmla="*/ 271856 h 2634056"/>
                <a:gd name="connsiteX22" fmla="*/ 576263 w 5553075"/>
                <a:gd name="connsiteY22" fmla="*/ 300431 h 2634056"/>
                <a:gd name="connsiteX23" fmla="*/ 633413 w 5553075"/>
                <a:gd name="connsiteY23" fmla="*/ 267094 h 2634056"/>
                <a:gd name="connsiteX24" fmla="*/ 690563 w 5553075"/>
                <a:gd name="connsiteY24" fmla="*/ 281381 h 2634056"/>
                <a:gd name="connsiteX25" fmla="*/ 733425 w 5553075"/>
                <a:gd name="connsiteY25" fmla="*/ 252806 h 2634056"/>
                <a:gd name="connsiteX26" fmla="*/ 817563 w 5553075"/>
                <a:gd name="connsiteY26" fmla="*/ 252806 h 2634056"/>
                <a:gd name="connsiteX27" fmla="*/ 841375 w 5553075"/>
                <a:gd name="connsiteY27" fmla="*/ 271856 h 2634056"/>
                <a:gd name="connsiteX28" fmla="*/ 890588 w 5553075"/>
                <a:gd name="connsiteY28" fmla="*/ 257569 h 2634056"/>
                <a:gd name="connsiteX29" fmla="*/ 928688 w 5553075"/>
                <a:gd name="connsiteY29" fmla="*/ 271856 h 2634056"/>
                <a:gd name="connsiteX30" fmla="*/ 976313 w 5553075"/>
                <a:gd name="connsiteY30" fmla="*/ 286144 h 2634056"/>
                <a:gd name="connsiteX31" fmla="*/ 1019175 w 5553075"/>
                <a:gd name="connsiteY31" fmla="*/ 305194 h 2634056"/>
                <a:gd name="connsiteX32" fmla="*/ 1123950 w 5553075"/>
                <a:gd name="connsiteY32" fmla="*/ 276619 h 2634056"/>
                <a:gd name="connsiteX33" fmla="*/ 1128713 w 5553075"/>
                <a:gd name="connsiteY33" fmla="*/ 214706 h 2634056"/>
                <a:gd name="connsiteX34" fmla="*/ 1190625 w 5553075"/>
                <a:gd name="connsiteY34" fmla="*/ 243281 h 2634056"/>
                <a:gd name="connsiteX35" fmla="*/ 1252538 w 5553075"/>
                <a:gd name="connsiteY35" fmla="*/ 243281 h 2634056"/>
                <a:gd name="connsiteX36" fmla="*/ 1281113 w 5553075"/>
                <a:gd name="connsiteY36" fmla="*/ 209944 h 2634056"/>
                <a:gd name="connsiteX37" fmla="*/ 1276350 w 5553075"/>
                <a:gd name="connsiteY37" fmla="*/ 181369 h 2634056"/>
                <a:gd name="connsiteX38" fmla="*/ 1309688 w 5553075"/>
                <a:gd name="connsiteY38" fmla="*/ 162319 h 2634056"/>
                <a:gd name="connsiteX39" fmla="*/ 1328738 w 5553075"/>
                <a:gd name="connsiteY39" fmla="*/ 138506 h 2634056"/>
                <a:gd name="connsiteX40" fmla="*/ 1366838 w 5553075"/>
                <a:gd name="connsiteY40" fmla="*/ 152794 h 2634056"/>
                <a:gd name="connsiteX41" fmla="*/ 1400175 w 5553075"/>
                <a:gd name="connsiteY41" fmla="*/ 209944 h 2634056"/>
                <a:gd name="connsiteX42" fmla="*/ 1466850 w 5553075"/>
                <a:gd name="connsiteY42" fmla="*/ 181369 h 2634056"/>
                <a:gd name="connsiteX43" fmla="*/ 1511300 w 5553075"/>
                <a:gd name="connsiteY43" fmla="*/ 182956 h 2634056"/>
                <a:gd name="connsiteX44" fmla="*/ 1543050 w 5553075"/>
                <a:gd name="connsiteY44" fmla="*/ 157556 h 2634056"/>
                <a:gd name="connsiteX45" fmla="*/ 1649413 w 5553075"/>
                <a:gd name="connsiteY45" fmla="*/ 182956 h 2634056"/>
                <a:gd name="connsiteX46" fmla="*/ 1724025 w 5553075"/>
                <a:gd name="connsiteY46" fmla="*/ 133744 h 2634056"/>
                <a:gd name="connsiteX47" fmla="*/ 1776413 w 5553075"/>
                <a:gd name="connsiteY47" fmla="*/ 152794 h 2634056"/>
                <a:gd name="connsiteX48" fmla="*/ 1824038 w 5553075"/>
                <a:gd name="connsiteY48" fmla="*/ 124219 h 2634056"/>
                <a:gd name="connsiteX49" fmla="*/ 1795463 w 5553075"/>
                <a:gd name="connsiteY49" fmla="*/ 71831 h 2634056"/>
                <a:gd name="connsiteX50" fmla="*/ 1819275 w 5553075"/>
                <a:gd name="connsiteY50" fmla="*/ 28969 h 2634056"/>
                <a:gd name="connsiteX51" fmla="*/ 1881188 w 5553075"/>
                <a:gd name="connsiteY51" fmla="*/ 71831 h 2634056"/>
                <a:gd name="connsiteX52" fmla="*/ 1885950 w 5553075"/>
                <a:gd name="connsiteY52" fmla="*/ 94056 h 2634056"/>
                <a:gd name="connsiteX53" fmla="*/ 1919288 w 5553075"/>
                <a:gd name="connsiteY53" fmla="*/ 86119 h 2634056"/>
                <a:gd name="connsiteX54" fmla="*/ 1949450 w 5553075"/>
                <a:gd name="connsiteY54" fmla="*/ 62306 h 2634056"/>
                <a:gd name="connsiteX55" fmla="*/ 1952625 w 5553075"/>
                <a:gd name="connsiteY55" fmla="*/ 394 h 2634056"/>
                <a:gd name="connsiteX56" fmla="*/ 2000250 w 5553075"/>
                <a:gd name="connsiteY56" fmla="*/ 38494 h 2634056"/>
                <a:gd name="connsiteX57" fmla="*/ 2019300 w 5553075"/>
                <a:gd name="connsiteY57" fmla="*/ 90881 h 2634056"/>
                <a:gd name="connsiteX58" fmla="*/ 2057400 w 5553075"/>
                <a:gd name="connsiteY58" fmla="*/ 57544 h 2634056"/>
                <a:gd name="connsiteX59" fmla="*/ 2081213 w 5553075"/>
                <a:gd name="connsiteY59" fmla="*/ 81356 h 2634056"/>
                <a:gd name="connsiteX60" fmla="*/ 2109788 w 5553075"/>
                <a:gd name="connsiteY60" fmla="*/ 48019 h 2634056"/>
                <a:gd name="connsiteX61" fmla="*/ 2138363 w 5553075"/>
                <a:gd name="connsiteY61" fmla="*/ 76594 h 2634056"/>
                <a:gd name="connsiteX62" fmla="*/ 2181225 w 5553075"/>
                <a:gd name="connsiteY62" fmla="*/ 81356 h 2634056"/>
                <a:gd name="connsiteX63" fmla="*/ 2195513 w 5553075"/>
                <a:gd name="connsiteY63" fmla="*/ 57544 h 2634056"/>
                <a:gd name="connsiteX64" fmla="*/ 2219325 w 5553075"/>
                <a:gd name="connsiteY64" fmla="*/ 86119 h 2634056"/>
                <a:gd name="connsiteX65" fmla="*/ 2252663 w 5553075"/>
                <a:gd name="connsiteY65" fmla="*/ 52781 h 2634056"/>
                <a:gd name="connsiteX66" fmla="*/ 2286000 w 5553075"/>
                <a:gd name="connsiteY66" fmla="*/ 100406 h 2634056"/>
                <a:gd name="connsiteX67" fmla="*/ 2333625 w 5553075"/>
                <a:gd name="connsiteY67" fmla="*/ 62306 h 2634056"/>
                <a:gd name="connsiteX68" fmla="*/ 2393950 w 5553075"/>
                <a:gd name="connsiteY68" fmla="*/ 65481 h 2634056"/>
                <a:gd name="connsiteX69" fmla="*/ 2419350 w 5553075"/>
                <a:gd name="connsiteY69" fmla="*/ 57544 h 2634056"/>
                <a:gd name="connsiteX70" fmla="*/ 2419350 w 5553075"/>
                <a:gd name="connsiteY70" fmla="*/ 105169 h 2634056"/>
                <a:gd name="connsiteX71" fmla="*/ 2462213 w 5553075"/>
                <a:gd name="connsiteY71" fmla="*/ 90881 h 2634056"/>
                <a:gd name="connsiteX72" fmla="*/ 2524125 w 5553075"/>
                <a:gd name="connsiteY72" fmla="*/ 95644 h 2634056"/>
                <a:gd name="connsiteX73" fmla="*/ 2543175 w 5553075"/>
                <a:gd name="connsiteY73" fmla="*/ 71831 h 2634056"/>
                <a:gd name="connsiteX74" fmla="*/ 2609850 w 5553075"/>
                <a:gd name="connsiteY74" fmla="*/ 105169 h 2634056"/>
                <a:gd name="connsiteX75" fmla="*/ 2692400 w 5553075"/>
                <a:gd name="connsiteY75" fmla="*/ 78181 h 2634056"/>
                <a:gd name="connsiteX76" fmla="*/ 2716213 w 5553075"/>
                <a:gd name="connsiteY76" fmla="*/ 55956 h 2634056"/>
                <a:gd name="connsiteX77" fmla="*/ 2724150 w 5553075"/>
                <a:gd name="connsiteY77" fmla="*/ 86119 h 2634056"/>
                <a:gd name="connsiteX78" fmla="*/ 2784475 w 5553075"/>
                <a:gd name="connsiteY78" fmla="*/ 75006 h 2634056"/>
                <a:gd name="connsiteX79" fmla="*/ 2814638 w 5553075"/>
                <a:gd name="connsiteY79" fmla="*/ 71831 h 2634056"/>
                <a:gd name="connsiteX80" fmla="*/ 2836863 w 5553075"/>
                <a:gd name="connsiteY80" fmla="*/ 135331 h 2634056"/>
                <a:gd name="connsiteX81" fmla="*/ 2828925 w 5553075"/>
                <a:gd name="connsiteY81" fmla="*/ 176606 h 2634056"/>
                <a:gd name="connsiteX82" fmla="*/ 2895600 w 5553075"/>
                <a:gd name="connsiteY82" fmla="*/ 152794 h 2634056"/>
                <a:gd name="connsiteX83" fmla="*/ 2911475 w 5553075"/>
                <a:gd name="connsiteY83" fmla="*/ 202006 h 2634056"/>
                <a:gd name="connsiteX84" fmla="*/ 2933700 w 5553075"/>
                <a:gd name="connsiteY84" fmla="*/ 238519 h 2634056"/>
                <a:gd name="connsiteX85" fmla="*/ 2933700 w 5553075"/>
                <a:gd name="connsiteY85" fmla="*/ 195656 h 2634056"/>
                <a:gd name="connsiteX86" fmla="*/ 2986088 w 5553075"/>
                <a:gd name="connsiteY86" fmla="*/ 224231 h 2634056"/>
                <a:gd name="connsiteX87" fmla="*/ 3000375 w 5553075"/>
                <a:gd name="connsiteY87" fmla="*/ 248044 h 2634056"/>
                <a:gd name="connsiteX88" fmla="*/ 3057525 w 5553075"/>
                <a:gd name="connsiteY88" fmla="*/ 295669 h 2634056"/>
                <a:gd name="connsiteX89" fmla="*/ 3086100 w 5553075"/>
                <a:gd name="connsiteY89" fmla="*/ 303606 h 2634056"/>
                <a:gd name="connsiteX90" fmla="*/ 3138488 w 5553075"/>
                <a:gd name="connsiteY90" fmla="*/ 371869 h 2634056"/>
                <a:gd name="connsiteX91" fmla="*/ 3190875 w 5553075"/>
                <a:gd name="connsiteY91" fmla="*/ 424256 h 2634056"/>
                <a:gd name="connsiteX92" fmla="*/ 3214688 w 5553075"/>
                <a:gd name="connsiteY92" fmla="*/ 467119 h 2634056"/>
                <a:gd name="connsiteX93" fmla="*/ 3257550 w 5553075"/>
                <a:gd name="connsiteY93" fmla="*/ 471881 h 2634056"/>
                <a:gd name="connsiteX94" fmla="*/ 3319463 w 5553075"/>
                <a:gd name="connsiteY94" fmla="*/ 529031 h 2634056"/>
                <a:gd name="connsiteX95" fmla="*/ 3281363 w 5553075"/>
                <a:gd name="connsiteY95" fmla="*/ 546494 h 2634056"/>
                <a:gd name="connsiteX96" fmla="*/ 3281363 w 5553075"/>
                <a:gd name="connsiteY96" fmla="*/ 567131 h 2634056"/>
                <a:gd name="connsiteX97" fmla="*/ 3319463 w 5553075"/>
                <a:gd name="connsiteY97" fmla="*/ 581419 h 2634056"/>
                <a:gd name="connsiteX98" fmla="*/ 3317875 w 5553075"/>
                <a:gd name="connsiteY98" fmla="*/ 656031 h 2634056"/>
                <a:gd name="connsiteX99" fmla="*/ 3352800 w 5553075"/>
                <a:gd name="connsiteY99" fmla="*/ 629044 h 2634056"/>
                <a:gd name="connsiteX100" fmla="*/ 3397250 w 5553075"/>
                <a:gd name="connsiteY100" fmla="*/ 683019 h 2634056"/>
                <a:gd name="connsiteX101" fmla="*/ 3419475 w 5553075"/>
                <a:gd name="connsiteY101" fmla="*/ 686194 h 2634056"/>
                <a:gd name="connsiteX102" fmla="*/ 3429000 w 5553075"/>
                <a:gd name="connsiteY102" fmla="*/ 714769 h 2634056"/>
                <a:gd name="connsiteX103" fmla="*/ 3429000 w 5553075"/>
                <a:gd name="connsiteY103" fmla="*/ 738581 h 2634056"/>
                <a:gd name="connsiteX104" fmla="*/ 3473450 w 5553075"/>
                <a:gd name="connsiteY104" fmla="*/ 795731 h 2634056"/>
                <a:gd name="connsiteX105" fmla="*/ 3514725 w 5553075"/>
                <a:gd name="connsiteY105" fmla="*/ 762394 h 2634056"/>
                <a:gd name="connsiteX106" fmla="*/ 3557588 w 5553075"/>
                <a:gd name="connsiteY106" fmla="*/ 752869 h 2634056"/>
                <a:gd name="connsiteX107" fmla="*/ 3595688 w 5553075"/>
                <a:gd name="connsiteY107" fmla="*/ 738581 h 2634056"/>
                <a:gd name="connsiteX108" fmla="*/ 3629025 w 5553075"/>
                <a:gd name="connsiteY108" fmla="*/ 700481 h 2634056"/>
                <a:gd name="connsiteX109" fmla="*/ 3648075 w 5553075"/>
                <a:gd name="connsiteY109" fmla="*/ 719531 h 2634056"/>
                <a:gd name="connsiteX110" fmla="*/ 3638550 w 5553075"/>
                <a:gd name="connsiteY110" fmla="*/ 757631 h 2634056"/>
                <a:gd name="connsiteX111" fmla="*/ 3657600 w 5553075"/>
                <a:gd name="connsiteY111" fmla="*/ 805256 h 2634056"/>
                <a:gd name="connsiteX112" fmla="*/ 3717925 w 5553075"/>
                <a:gd name="connsiteY112" fmla="*/ 811606 h 2634056"/>
                <a:gd name="connsiteX113" fmla="*/ 3771900 w 5553075"/>
                <a:gd name="connsiteY113" fmla="*/ 790969 h 2634056"/>
                <a:gd name="connsiteX114" fmla="*/ 3824288 w 5553075"/>
                <a:gd name="connsiteY114" fmla="*/ 767156 h 2634056"/>
                <a:gd name="connsiteX115" fmla="*/ 3814763 w 5553075"/>
                <a:gd name="connsiteY115" fmla="*/ 767156 h 2634056"/>
                <a:gd name="connsiteX116" fmla="*/ 3876675 w 5553075"/>
                <a:gd name="connsiteY116" fmla="*/ 776681 h 2634056"/>
                <a:gd name="connsiteX117" fmla="*/ 3929063 w 5553075"/>
                <a:gd name="connsiteY117" fmla="*/ 757631 h 2634056"/>
                <a:gd name="connsiteX118" fmla="*/ 3956050 w 5553075"/>
                <a:gd name="connsiteY118" fmla="*/ 779856 h 2634056"/>
                <a:gd name="connsiteX119" fmla="*/ 3905250 w 5553075"/>
                <a:gd name="connsiteY119" fmla="*/ 805256 h 2634056"/>
                <a:gd name="connsiteX120" fmla="*/ 3914775 w 5553075"/>
                <a:gd name="connsiteY120" fmla="*/ 838594 h 2634056"/>
                <a:gd name="connsiteX121" fmla="*/ 3957638 w 5553075"/>
                <a:gd name="connsiteY121" fmla="*/ 805256 h 2634056"/>
                <a:gd name="connsiteX122" fmla="*/ 3986213 w 5553075"/>
                <a:gd name="connsiteY122" fmla="*/ 848119 h 2634056"/>
                <a:gd name="connsiteX123" fmla="*/ 4078288 w 5553075"/>
                <a:gd name="connsiteY123" fmla="*/ 895744 h 2634056"/>
                <a:gd name="connsiteX124" fmla="*/ 4071938 w 5553075"/>
                <a:gd name="connsiteY124" fmla="*/ 962419 h 2634056"/>
                <a:gd name="connsiteX125" fmla="*/ 4116388 w 5553075"/>
                <a:gd name="connsiteY125" fmla="*/ 1025919 h 2634056"/>
                <a:gd name="connsiteX126" fmla="*/ 4144963 w 5553075"/>
                <a:gd name="connsiteY126" fmla="*/ 1068781 h 2634056"/>
                <a:gd name="connsiteX127" fmla="*/ 4137025 w 5553075"/>
                <a:gd name="connsiteY127" fmla="*/ 1097356 h 2634056"/>
                <a:gd name="connsiteX128" fmla="*/ 4157663 w 5553075"/>
                <a:gd name="connsiteY128" fmla="*/ 1124344 h 2634056"/>
                <a:gd name="connsiteX129" fmla="*/ 4162425 w 5553075"/>
                <a:gd name="connsiteY129" fmla="*/ 1200544 h 2634056"/>
                <a:gd name="connsiteX130" fmla="*/ 4195763 w 5553075"/>
                <a:gd name="connsiteY130" fmla="*/ 1229119 h 2634056"/>
                <a:gd name="connsiteX131" fmla="*/ 4176713 w 5553075"/>
                <a:gd name="connsiteY131" fmla="*/ 1262456 h 2634056"/>
                <a:gd name="connsiteX132" fmla="*/ 4191000 w 5553075"/>
                <a:gd name="connsiteY132" fmla="*/ 1286269 h 2634056"/>
                <a:gd name="connsiteX133" fmla="*/ 4270375 w 5553075"/>
                <a:gd name="connsiteY133" fmla="*/ 1349769 h 2634056"/>
                <a:gd name="connsiteX134" fmla="*/ 4275138 w 5553075"/>
                <a:gd name="connsiteY134" fmla="*/ 1395806 h 2634056"/>
                <a:gd name="connsiteX135" fmla="*/ 4229100 w 5553075"/>
                <a:gd name="connsiteY135" fmla="*/ 1395806 h 2634056"/>
                <a:gd name="connsiteX136" fmla="*/ 4271963 w 5553075"/>
                <a:gd name="connsiteY136" fmla="*/ 1481531 h 2634056"/>
                <a:gd name="connsiteX137" fmla="*/ 4329113 w 5553075"/>
                <a:gd name="connsiteY137" fmla="*/ 1470419 h 2634056"/>
                <a:gd name="connsiteX138" fmla="*/ 4384675 w 5553075"/>
                <a:gd name="connsiteY138" fmla="*/ 1500581 h 2634056"/>
                <a:gd name="connsiteX139" fmla="*/ 4445000 w 5553075"/>
                <a:gd name="connsiteY139" fmla="*/ 1535506 h 2634056"/>
                <a:gd name="connsiteX140" fmla="*/ 4438650 w 5553075"/>
                <a:gd name="connsiteY140" fmla="*/ 1562494 h 2634056"/>
                <a:gd name="connsiteX141" fmla="*/ 4432300 w 5553075"/>
                <a:gd name="connsiteY141" fmla="*/ 1632344 h 2634056"/>
                <a:gd name="connsiteX142" fmla="*/ 4500563 w 5553075"/>
                <a:gd name="connsiteY142" fmla="*/ 1672031 h 2634056"/>
                <a:gd name="connsiteX143" fmla="*/ 4565650 w 5553075"/>
                <a:gd name="connsiteY143" fmla="*/ 1652981 h 2634056"/>
                <a:gd name="connsiteX144" fmla="*/ 4605338 w 5553075"/>
                <a:gd name="connsiteY144" fmla="*/ 1638694 h 2634056"/>
                <a:gd name="connsiteX145" fmla="*/ 4619625 w 5553075"/>
                <a:gd name="connsiteY145" fmla="*/ 1686319 h 2634056"/>
                <a:gd name="connsiteX146" fmla="*/ 4632325 w 5553075"/>
                <a:gd name="connsiteY146" fmla="*/ 1716481 h 2634056"/>
                <a:gd name="connsiteX147" fmla="*/ 4657725 w 5553075"/>
                <a:gd name="connsiteY147" fmla="*/ 1710131 h 2634056"/>
                <a:gd name="connsiteX148" fmla="*/ 4638675 w 5553075"/>
                <a:gd name="connsiteY148" fmla="*/ 1779981 h 2634056"/>
                <a:gd name="connsiteX149" fmla="*/ 4652963 w 5553075"/>
                <a:gd name="connsiteY149" fmla="*/ 1814906 h 2634056"/>
                <a:gd name="connsiteX150" fmla="*/ 4681538 w 5553075"/>
                <a:gd name="connsiteY150" fmla="*/ 1848244 h 2634056"/>
                <a:gd name="connsiteX151" fmla="*/ 4767263 w 5553075"/>
                <a:gd name="connsiteY151" fmla="*/ 1891106 h 2634056"/>
                <a:gd name="connsiteX152" fmla="*/ 4776788 w 5553075"/>
                <a:gd name="connsiteY152" fmla="*/ 1967306 h 2634056"/>
                <a:gd name="connsiteX153" fmla="*/ 4705350 w 5553075"/>
                <a:gd name="connsiteY153" fmla="*/ 1938731 h 2634056"/>
                <a:gd name="connsiteX154" fmla="*/ 4695825 w 5553075"/>
                <a:gd name="connsiteY154" fmla="*/ 1972069 h 2634056"/>
                <a:gd name="connsiteX155" fmla="*/ 4743450 w 5553075"/>
                <a:gd name="connsiteY155" fmla="*/ 2014931 h 2634056"/>
                <a:gd name="connsiteX156" fmla="*/ 4776788 w 5553075"/>
                <a:gd name="connsiteY156" fmla="*/ 2033981 h 2634056"/>
                <a:gd name="connsiteX157" fmla="*/ 4822825 w 5553075"/>
                <a:gd name="connsiteY157" fmla="*/ 2026044 h 2634056"/>
                <a:gd name="connsiteX158" fmla="*/ 4843463 w 5553075"/>
                <a:gd name="connsiteY158" fmla="*/ 2040331 h 2634056"/>
                <a:gd name="connsiteX159" fmla="*/ 4838700 w 5553075"/>
                <a:gd name="connsiteY159" fmla="*/ 2095894 h 2634056"/>
                <a:gd name="connsiteX160" fmla="*/ 4972050 w 5553075"/>
                <a:gd name="connsiteY160" fmla="*/ 2191144 h 2634056"/>
                <a:gd name="connsiteX161" fmla="*/ 4995863 w 5553075"/>
                <a:gd name="connsiteY161" fmla="*/ 2167331 h 2634056"/>
                <a:gd name="connsiteX162" fmla="*/ 5065713 w 5553075"/>
                <a:gd name="connsiteY162" fmla="*/ 2192731 h 2634056"/>
                <a:gd name="connsiteX163" fmla="*/ 5124450 w 5553075"/>
                <a:gd name="connsiteY163" fmla="*/ 2253056 h 2634056"/>
                <a:gd name="connsiteX164" fmla="*/ 5229225 w 5553075"/>
                <a:gd name="connsiteY164" fmla="*/ 2292744 h 2634056"/>
                <a:gd name="connsiteX165" fmla="*/ 5281613 w 5553075"/>
                <a:gd name="connsiteY165" fmla="*/ 2362594 h 2634056"/>
                <a:gd name="connsiteX166" fmla="*/ 5286375 w 5553075"/>
                <a:gd name="connsiteY166" fmla="*/ 2443556 h 2634056"/>
                <a:gd name="connsiteX167" fmla="*/ 5353050 w 5553075"/>
                <a:gd name="connsiteY167" fmla="*/ 2514994 h 2634056"/>
                <a:gd name="connsiteX168" fmla="*/ 5426075 w 5553075"/>
                <a:gd name="connsiteY168" fmla="*/ 2543569 h 2634056"/>
                <a:gd name="connsiteX169" fmla="*/ 5486400 w 5553075"/>
                <a:gd name="connsiteY169" fmla="*/ 2595956 h 2634056"/>
                <a:gd name="connsiteX170" fmla="*/ 5553075 w 5553075"/>
                <a:gd name="connsiteY170" fmla="*/ 2634056 h 2634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5553075" h="2634056">
                  <a:moveTo>
                    <a:pt x="0" y="862406"/>
                  </a:moveTo>
                  <a:cubicBezTo>
                    <a:pt x="23812" y="848515"/>
                    <a:pt x="47625" y="834625"/>
                    <a:pt x="57150" y="819544"/>
                  </a:cubicBezTo>
                  <a:cubicBezTo>
                    <a:pt x="66675" y="804463"/>
                    <a:pt x="58738" y="791763"/>
                    <a:pt x="57150" y="771919"/>
                  </a:cubicBezTo>
                  <a:cubicBezTo>
                    <a:pt x="55563" y="752075"/>
                    <a:pt x="41275" y="719531"/>
                    <a:pt x="47625" y="700481"/>
                  </a:cubicBezTo>
                  <a:cubicBezTo>
                    <a:pt x="53975" y="681431"/>
                    <a:pt x="79375" y="664763"/>
                    <a:pt x="95250" y="657619"/>
                  </a:cubicBezTo>
                  <a:cubicBezTo>
                    <a:pt x="111125" y="650475"/>
                    <a:pt x="128852" y="666350"/>
                    <a:pt x="142875" y="657619"/>
                  </a:cubicBezTo>
                  <a:cubicBezTo>
                    <a:pt x="156898" y="648888"/>
                    <a:pt x="173832" y="620312"/>
                    <a:pt x="179388" y="605231"/>
                  </a:cubicBezTo>
                  <a:cubicBezTo>
                    <a:pt x="184944" y="590150"/>
                    <a:pt x="177800" y="581683"/>
                    <a:pt x="176213" y="567131"/>
                  </a:cubicBezTo>
                  <a:cubicBezTo>
                    <a:pt x="174626" y="552579"/>
                    <a:pt x="166688" y="529825"/>
                    <a:pt x="169863" y="517919"/>
                  </a:cubicBezTo>
                  <a:cubicBezTo>
                    <a:pt x="173038" y="506013"/>
                    <a:pt x="188648" y="504161"/>
                    <a:pt x="195263" y="495694"/>
                  </a:cubicBezTo>
                  <a:cubicBezTo>
                    <a:pt x="201878" y="487227"/>
                    <a:pt x="207169" y="484581"/>
                    <a:pt x="209550" y="467119"/>
                  </a:cubicBezTo>
                  <a:cubicBezTo>
                    <a:pt x="211931" y="449657"/>
                    <a:pt x="203994" y="403619"/>
                    <a:pt x="209550" y="390919"/>
                  </a:cubicBezTo>
                  <a:cubicBezTo>
                    <a:pt x="215106" y="378219"/>
                    <a:pt x="237332" y="402825"/>
                    <a:pt x="242888" y="390919"/>
                  </a:cubicBezTo>
                  <a:cubicBezTo>
                    <a:pt x="248444" y="379013"/>
                    <a:pt x="238125" y="333769"/>
                    <a:pt x="242888" y="319481"/>
                  </a:cubicBezTo>
                  <a:cubicBezTo>
                    <a:pt x="247651" y="305193"/>
                    <a:pt x="265113" y="318688"/>
                    <a:pt x="271463" y="305194"/>
                  </a:cubicBezTo>
                  <a:cubicBezTo>
                    <a:pt x="277813" y="291700"/>
                    <a:pt x="265907" y="248044"/>
                    <a:pt x="280988" y="238519"/>
                  </a:cubicBezTo>
                  <a:cubicBezTo>
                    <a:pt x="296069" y="228994"/>
                    <a:pt x="342900" y="247250"/>
                    <a:pt x="361950" y="248044"/>
                  </a:cubicBezTo>
                  <a:cubicBezTo>
                    <a:pt x="381000" y="248838"/>
                    <a:pt x="383382" y="249631"/>
                    <a:pt x="395288" y="243281"/>
                  </a:cubicBezTo>
                  <a:cubicBezTo>
                    <a:pt x="407194" y="236931"/>
                    <a:pt x="416719" y="217881"/>
                    <a:pt x="433388" y="209944"/>
                  </a:cubicBezTo>
                  <a:cubicBezTo>
                    <a:pt x="450057" y="202007"/>
                    <a:pt x="482600" y="190893"/>
                    <a:pt x="495300" y="195656"/>
                  </a:cubicBezTo>
                  <a:cubicBezTo>
                    <a:pt x="508000" y="200419"/>
                    <a:pt x="500063" y="225819"/>
                    <a:pt x="509588" y="238519"/>
                  </a:cubicBezTo>
                  <a:cubicBezTo>
                    <a:pt x="519113" y="251219"/>
                    <a:pt x="541337" y="261537"/>
                    <a:pt x="552450" y="271856"/>
                  </a:cubicBezTo>
                  <a:cubicBezTo>
                    <a:pt x="563563" y="282175"/>
                    <a:pt x="562769" y="301225"/>
                    <a:pt x="576263" y="300431"/>
                  </a:cubicBezTo>
                  <a:cubicBezTo>
                    <a:pt x="589757" y="299637"/>
                    <a:pt x="614363" y="270269"/>
                    <a:pt x="633413" y="267094"/>
                  </a:cubicBezTo>
                  <a:cubicBezTo>
                    <a:pt x="652463" y="263919"/>
                    <a:pt x="673894" y="283762"/>
                    <a:pt x="690563" y="281381"/>
                  </a:cubicBezTo>
                  <a:cubicBezTo>
                    <a:pt x="707232" y="279000"/>
                    <a:pt x="712258" y="257568"/>
                    <a:pt x="733425" y="252806"/>
                  </a:cubicBezTo>
                  <a:cubicBezTo>
                    <a:pt x="754592" y="248044"/>
                    <a:pt x="799571" y="249631"/>
                    <a:pt x="817563" y="252806"/>
                  </a:cubicBezTo>
                  <a:cubicBezTo>
                    <a:pt x="835555" y="255981"/>
                    <a:pt x="829204" y="271062"/>
                    <a:pt x="841375" y="271856"/>
                  </a:cubicBezTo>
                  <a:cubicBezTo>
                    <a:pt x="853546" y="272650"/>
                    <a:pt x="876036" y="257569"/>
                    <a:pt x="890588" y="257569"/>
                  </a:cubicBezTo>
                  <a:cubicBezTo>
                    <a:pt x="905140" y="257569"/>
                    <a:pt x="914400" y="267093"/>
                    <a:pt x="928688" y="271856"/>
                  </a:cubicBezTo>
                  <a:cubicBezTo>
                    <a:pt x="942976" y="276619"/>
                    <a:pt x="961232" y="280588"/>
                    <a:pt x="976313" y="286144"/>
                  </a:cubicBezTo>
                  <a:cubicBezTo>
                    <a:pt x="991394" y="291700"/>
                    <a:pt x="994569" y="306781"/>
                    <a:pt x="1019175" y="305194"/>
                  </a:cubicBezTo>
                  <a:cubicBezTo>
                    <a:pt x="1043781" y="303607"/>
                    <a:pt x="1105694" y="291700"/>
                    <a:pt x="1123950" y="276619"/>
                  </a:cubicBezTo>
                  <a:cubicBezTo>
                    <a:pt x="1142206" y="261538"/>
                    <a:pt x="1117601" y="220262"/>
                    <a:pt x="1128713" y="214706"/>
                  </a:cubicBezTo>
                  <a:cubicBezTo>
                    <a:pt x="1139826" y="209150"/>
                    <a:pt x="1169988" y="238519"/>
                    <a:pt x="1190625" y="243281"/>
                  </a:cubicBezTo>
                  <a:cubicBezTo>
                    <a:pt x="1211262" y="248043"/>
                    <a:pt x="1237457" y="248837"/>
                    <a:pt x="1252538" y="243281"/>
                  </a:cubicBezTo>
                  <a:cubicBezTo>
                    <a:pt x="1267619" y="237725"/>
                    <a:pt x="1277144" y="220263"/>
                    <a:pt x="1281113" y="209944"/>
                  </a:cubicBezTo>
                  <a:cubicBezTo>
                    <a:pt x="1285082" y="199625"/>
                    <a:pt x="1271588" y="189306"/>
                    <a:pt x="1276350" y="181369"/>
                  </a:cubicBezTo>
                  <a:cubicBezTo>
                    <a:pt x="1281113" y="173431"/>
                    <a:pt x="1300957" y="169463"/>
                    <a:pt x="1309688" y="162319"/>
                  </a:cubicBezTo>
                  <a:cubicBezTo>
                    <a:pt x="1318419" y="155175"/>
                    <a:pt x="1319213" y="140093"/>
                    <a:pt x="1328738" y="138506"/>
                  </a:cubicBezTo>
                  <a:cubicBezTo>
                    <a:pt x="1338263" y="136918"/>
                    <a:pt x="1354932" y="140888"/>
                    <a:pt x="1366838" y="152794"/>
                  </a:cubicBezTo>
                  <a:cubicBezTo>
                    <a:pt x="1378744" y="164700"/>
                    <a:pt x="1383506" y="205181"/>
                    <a:pt x="1400175" y="209944"/>
                  </a:cubicBezTo>
                  <a:cubicBezTo>
                    <a:pt x="1416844" y="214706"/>
                    <a:pt x="1448329" y="185867"/>
                    <a:pt x="1466850" y="181369"/>
                  </a:cubicBezTo>
                  <a:cubicBezTo>
                    <a:pt x="1485371" y="176871"/>
                    <a:pt x="1498600" y="186925"/>
                    <a:pt x="1511300" y="182956"/>
                  </a:cubicBezTo>
                  <a:cubicBezTo>
                    <a:pt x="1524000" y="178987"/>
                    <a:pt x="1520031" y="157556"/>
                    <a:pt x="1543050" y="157556"/>
                  </a:cubicBezTo>
                  <a:cubicBezTo>
                    <a:pt x="1566069" y="157556"/>
                    <a:pt x="1619251" y="186925"/>
                    <a:pt x="1649413" y="182956"/>
                  </a:cubicBezTo>
                  <a:cubicBezTo>
                    <a:pt x="1679575" y="178987"/>
                    <a:pt x="1702858" y="138771"/>
                    <a:pt x="1724025" y="133744"/>
                  </a:cubicBezTo>
                  <a:cubicBezTo>
                    <a:pt x="1745192" y="128717"/>
                    <a:pt x="1759744" y="154381"/>
                    <a:pt x="1776413" y="152794"/>
                  </a:cubicBezTo>
                  <a:cubicBezTo>
                    <a:pt x="1793082" y="151207"/>
                    <a:pt x="1820863" y="137713"/>
                    <a:pt x="1824038" y="124219"/>
                  </a:cubicBezTo>
                  <a:cubicBezTo>
                    <a:pt x="1827213" y="110725"/>
                    <a:pt x="1796257" y="87706"/>
                    <a:pt x="1795463" y="71831"/>
                  </a:cubicBezTo>
                  <a:cubicBezTo>
                    <a:pt x="1794669" y="55956"/>
                    <a:pt x="1804988" y="28969"/>
                    <a:pt x="1819275" y="28969"/>
                  </a:cubicBezTo>
                  <a:cubicBezTo>
                    <a:pt x="1833562" y="28969"/>
                    <a:pt x="1870076" y="60983"/>
                    <a:pt x="1881188" y="71831"/>
                  </a:cubicBezTo>
                  <a:cubicBezTo>
                    <a:pt x="1892301" y="82679"/>
                    <a:pt x="1879600" y="91675"/>
                    <a:pt x="1885950" y="94056"/>
                  </a:cubicBezTo>
                  <a:cubicBezTo>
                    <a:pt x="1892300" y="96437"/>
                    <a:pt x="1908705" y="91411"/>
                    <a:pt x="1919288" y="86119"/>
                  </a:cubicBezTo>
                  <a:cubicBezTo>
                    <a:pt x="1929871" y="80827"/>
                    <a:pt x="1943894" y="76594"/>
                    <a:pt x="1949450" y="62306"/>
                  </a:cubicBezTo>
                  <a:cubicBezTo>
                    <a:pt x="1955006" y="48019"/>
                    <a:pt x="1944159" y="4363"/>
                    <a:pt x="1952625" y="394"/>
                  </a:cubicBezTo>
                  <a:cubicBezTo>
                    <a:pt x="1961091" y="-3575"/>
                    <a:pt x="1989137" y="23413"/>
                    <a:pt x="2000250" y="38494"/>
                  </a:cubicBezTo>
                  <a:cubicBezTo>
                    <a:pt x="2011363" y="53575"/>
                    <a:pt x="2009775" y="87706"/>
                    <a:pt x="2019300" y="90881"/>
                  </a:cubicBezTo>
                  <a:cubicBezTo>
                    <a:pt x="2028825" y="94056"/>
                    <a:pt x="2047081" y="59131"/>
                    <a:pt x="2057400" y="57544"/>
                  </a:cubicBezTo>
                  <a:cubicBezTo>
                    <a:pt x="2067719" y="55956"/>
                    <a:pt x="2072482" y="82944"/>
                    <a:pt x="2081213" y="81356"/>
                  </a:cubicBezTo>
                  <a:cubicBezTo>
                    <a:pt x="2089944" y="79768"/>
                    <a:pt x="2100263" y="48813"/>
                    <a:pt x="2109788" y="48019"/>
                  </a:cubicBezTo>
                  <a:cubicBezTo>
                    <a:pt x="2119313" y="47225"/>
                    <a:pt x="2126457" y="71038"/>
                    <a:pt x="2138363" y="76594"/>
                  </a:cubicBezTo>
                  <a:cubicBezTo>
                    <a:pt x="2150269" y="82150"/>
                    <a:pt x="2171700" y="84531"/>
                    <a:pt x="2181225" y="81356"/>
                  </a:cubicBezTo>
                  <a:cubicBezTo>
                    <a:pt x="2190750" y="78181"/>
                    <a:pt x="2189163" y="56750"/>
                    <a:pt x="2195513" y="57544"/>
                  </a:cubicBezTo>
                  <a:cubicBezTo>
                    <a:pt x="2201863" y="58338"/>
                    <a:pt x="2209800" y="86913"/>
                    <a:pt x="2219325" y="86119"/>
                  </a:cubicBezTo>
                  <a:cubicBezTo>
                    <a:pt x="2228850" y="85325"/>
                    <a:pt x="2241551" y="50400"/>
                    <a:pt x="2252663" y="52781"/>
                  </a:cubicBezTo>
                  <a:cubicBezTo>
                    <a:pt x="2263776" y="55162"/>
                    <a:pt x="2272506" y="98819"/>
                    <a:pt x="2286000" y="100406"/>
                  </a:cubicBezTo>
                  <a:cubicBezTo>
                    <a:pt x="2299494" y="101993"/>
                    <a:pt x="2315633" y="68127"/>
                    <a:pt x="2333625" y="62306"/>
                  </a:cubicBezTo>
                  <a:cubicBezTo>
                    <a:pt x="2351617" y="56485"/>
                    <a:pt x="2379663" y="66275"/>
                    <a:pt x="2393950" y="65481"/>
                  </a:cubicBezTo>
                  <a:cubicBezTo>
                    <a:pt x="2408237" y="64687"/>
                    <a:pt x="2415117" y="50929"/>
                    <a:pt x="2419350" y="57544"/>
                  </a:cubicBezTo>
                  <a:cubicBezTo>
                    <a:pt x="2423583" y="64159"/>
                    <a:pt x="2412206" y="99613"/>
                    <a:pt x="2419350" y="105169"/>
                  </a:cubicBezTo>
                  <a:cubicBezTo>
                    <a:pt x="2426494" y="110725"/>
                    <a:pt x="2444751" y="92468"/>
                    <a:pt x="2462213" y="90881"/>
                  </a:cubicBezTo>
                  <a:cubicBezTo>
                    <a:pt x="2479675" y="89294"/>
                    <a:pt x="2510631" y="98819"/>
                    <a:pt x="2524125" y="95644"/>
                  </a:cubicBezTo>
                  <a:cubicBezTo>
                    <a:pt x="2537619" y="92469"/>
                    <a:pt x="2528888" y="70244"/>
                    <a:pt x="2543175" y="71831"/>
                  </a:cubicBezTo>
                  <a:cubicBezTo>
                    <a:pt x="2557462" y="73418"/>
                    <a:pt x="2584979" y="104111"/>
                    <a:pt x="2609850" y="105169"/>
                  </a:cubicBezTo>
                  <a:cubicBezTo>
                    <a:pt x="2634721" y="106227"/>
                    <a:pt x="2674673" y="86383"/>
                    <a:pt x="2692400" y="78181"/>
                  </a:cubicBezTo>
                  <a:cubicBezTo>
                    <a:pt x="2710127" y="69979"/>
                    <a:pt x="2710921" y="54633"/>
                    <a:pt x="2716213" y="55956"/>
                  </a:cubicBezTo>
                  <a:cubicBezTo>
                    <a:pt x="2721505" y="57279"/>
                    <a:pt x="2712773" y="82944"/>
                    <a:pt x="2724150" y="86119"/>
                  </a:cubicBezTo>
                  <a:cubicBezTo>
                    <a:pt x="2735527" y="89294"/>
                    <a:pt x="2769394" y="77387"/>
                    <a:pt x="2784475" y="75006"/>
                  </a:cubicBezTo>
                  <a:cubicBezTo>
                    <a:pt x="2799556" y="72625"/>
                    <a:pt x="2805907" y="61777"/>
                    <a:pt x="2814638" y="71831"/>
                  </a:cubicBezTo>
                  <a:cubicBezTo>
                    <a:pt x="2823369" y="81885"/>
                    <a:pt x="2834482" y="117869"/>
                    <a:pt x="2836863" y="135331"/>
                  </a:cubicBezTo>
                  <a:cubicBezTo>
                    <a:pt x="2839244" y="152793"/>
                    <a:pt x="2819136" y="173696"/>
                    <a:pt x="2828925" y="176606"/>
                  </a:cubicBezTo>
                  <a:cubicBezTo>
                    <a:pt x="2838715" y="179517"/>
                    <a:pt x="2881842" y="148561"/>
                    <a:pt x="2895600" y="152794"/>
                  </a:cubicBezTo>
                  <a:cubicBezTo>
                    <a:pt x="2909358" y="157027"/>
                    <a:pt x="2905125" y="187718"/>
                    <a:pt x="2911475" y="202006"/>
                  </a:cubicBezTo>
                  <a:cubicBezTo>
                    <a:pt x="2917825" y="216294"/>
                    <a:pt x="2929996" y="239577"/>
                    <a:pt x="2933700" y="238519"/>
                  </a:cubicBezTo>
                  <a:cubicBezTo>
                    <a:pt x="2937404" y="237461"/>
                    <a:pt x="2924969" y="198037"/>
                    <a:pt x="2933700" y="195656"/>
                  </a:cubicBezTo>
                  <a:cubicBezTo>
                    <a:pt x="2942431" y="193275"/>
                    <a:pt x="2974976" y="215500"/>
                    <a:pt x="2986088" y="224231"/>
                  </a:cubicBezTo>
                  <a:cubicBezTo>
                    <a:pt x="2997200" y="232962"/>
                    <a:pt x="2988469" y="236138"/>
                    <a:pt x="3000375" y="248044"/>
                  </a:cubicBezTo>
                  <a:cubicBezTo>
                    <a:pt x="3012281" y="259950"/>
                    <a:pt x="3043238" y="286409"/>
                    <a:pt x="3057525" y="295669"/>
                  </a:cubicBezTo>
                  <a:cubicBezTo>
                    <a:pt x="3071812" y="304929"/>
                    <a:pt x="3072606" y="290906"/>
                    <a:pt x="3086100" y="303606"/>
                  </a:cubicBezTo>
                  <a:cubicBezTo>
                    <a:pt x="3099594" y="316306"/>
                    <a:pt x="3121026" y="351761"/>
                    <a:pt x="3138488" y="371869"/>
                  </a:cubicBezTo>
                  <a:cubicBezTo>
                    <a:pt x="3155950" y="391977"/>
                    <a:pt x="3178175" y="408381"/>
                    <a:pt x="3190875" y="424256"/>
                  </a:cubicBezTo>
                  <a:cubicBezTo>
                    <a:pt x="3203575" y="440131"/>
                    <a:pt x="3203576" y="459181"/>
                    <a:pt x="3214688" y="467119"/>
                  </a:cubicBezTo>
                  <a:cubicBezTo>
                    <a:pt x="3225801" y="475056"/>
                    <a:pt x="3240088" y="461562"/>
                    <a:pt x="3257550" y="471881"/>
                  </a:cubicBezTo>
                  <a:cubicBezTo>
                    <a:pt x="3275012" y="482200"/>
                    <a:pt x="3315494" y="516595"/>
                    <a:pt x="3319463" y="529031"/>
                  </a:cubicBezTo>
                  <a:cubicBezTo>
                    <a:pt x="3323432" y="541467"/>
                    <a:pt x="3287713" y="540144"/>
                    <a:pt x="3281363" y="546494"/>
                  </a:cubicBezTo>
                  <a:cubicBezTo>
                    <a:pt x="3275013" y="552844"/>
                    <a:pt x="3275013" y="561310"/>
                    <a:pt x="3281363" y="567131"/>
                  </a:cubicBezTo>
                  <a:cubicBezTo>
                    <a:pt x="3287713" y="572952"/>
                    <a:pt x="3313378" y="566602"/>
                    <a:pt x="3319463" y="581419"/>
                  </a:cubicBezTo>
                  <a:cubicBezTo>
                    <a:pt x="3325548" y="596236"/>
                    <a:pt x="3312319" y="648093"/>
                    <a:pt x="3317875" y="656031"/>
                  </a:cubicBezTo>
                  <a:cubicBezTo>
                    <a:pt x="3323431" y="663969"/>
                    <a:pt x="3339571" y="624546"/>
                    <a:pt x="3352800" y="629044"/>
                  </a:cubicBezTo>
                  <a:cubicBezTo>
                    <a:pt x="3366029" y="633542"/>
                    <a:pt x="3386138" y="673494"/>
                    <a:pt x="3397250" y="683019"/>
                  </a:cubicBezTo>
                  <a:cubicBezTo>
                    <a:pt x="3408363" y="692544"/>
                    <a:pt x="3414183" y="680902"/>
                    <a:pt x="3419475" y="686194"/>
                  </a:cubicBezTo>
                  <a:cubicBezTo>
                    <a:pt x="3424767" y="691486"/>
                    <a:pt x="3427412" y="706038"/>
                    <a:pt x="3429000" y="714769"/>
                  </a:cubicBezTo>
                  <a:cubicBezTo>
                    <a:pt x="3430588" y="723500"/>
                    <a:pt x="3421592" y="725087"/>
                    <a:pt x="3429000" y="738581"/>
                  </a:cubicBezTo>
                  <a:cubicBezTo>
                    <a:pt x="3436408" y="752075"/>
                    <a:pt x="3459163" y="791762"/>
                    <a:pt x="3473450" y="795731"/>
                  </a:cubicBezTo>
                  <a:cubicBezTo>
                    <a:pt x="3487737" y="799700"/>
                    <a:pt x="3500702" y="769538"/>
                    <a:pt x="3514725" y="762394"/>
                  </a:cubicBezTo>
                  <a:cubicBezTo>
                    <a:pt x="3528748" y="755250"/>
                    <a:pt x="3544094" y="756838"/>
                    <a:pt x="3557588" y="752869"/>
                  </a:cubicBezTo>
                  <a:cubicBezTo>
                    <a:pt x="3571082" y="748900"/>
                    <a:pt x="3583782" y="747312"/>
                    <a:pt x="3595688" y="738581"/>
                  </a:cubicBezTo>
                  <a:cubicBezTo>
                    <a:pt x="3607594" y="729850"/>
                    <a:pt x="3620294" y="703656"/>
                    <a:pt x="3629025" y="700481"/>
                  </a:cubicBezTo>
                  <a:cubicBezTo>
                    <a:pt x="3637756" y="697306"/>
                    <a:pt x="3646488" y="710006"/>
                    <a:pt x="3648075" y="719531"/>
                  </a:cubicBezTo>
                  <a:cubicBezTo>
                    <a:pt x="3649663" y="729056"/>
                    <a:pt x="3636963" y="743344"/>
                    <a:pt x="3638550" y="757631"/>
                  </a:cubicBezTo>
                  <a:cubicBezTo>
                    <a:pt x="3640137" y="771918"/>
                    <a:pt x="3644371" y="796260"/>
                    <a:pt x="3657600" y="805256"/>
                  </a:cubicBezTo>
                  <a:cubicBezTo>
                    <a:pt x="3670829" y="814252"/>
                    <a:pt x="3698875" y="813987"/>
                    <a:pt x="3717925" y="811606"/>
                  </a:cubicBezTo>
                  <a:cubicBezTo>
                    <a:pt x="3736975" y="809225"/>
                    <a:pt x="3754173" y="798377"/>
                    <a:pt x="3771900" y="790969"/>
                  </a:cubicBezTo>
                  <a:cubicBezTo>
                    <a:pt x="3789627" y="783561"/>
                    <a:pt x="3817144" y="771125"/>
                    <a:pt x="3824288" y="767156"/>
                  </a:cubicBezTo>
                  <a:cubicBezTo>
                    <a:pt x="3831432" y="763187"/>
                    <a:pt x="3806032" y="765568"/>
                    <a:pt x="3814763" y="767156"/>
                  </a:cubicBezTo>
                  <a:cubicBezTo>
                    <a:pt x="3823494" y="768744"/>
                    <a:pt x="3857625" y="778268"/>
                    <a:pt x="3876675" y="776681"/>
                  </a:cubicBezTo>
                  <a:cubicBezTo>
                    <a:pt x="3895725" y="775094"/>
                    <a:pt x="3915834" y="757102"/>
                    <a:pt x="3929063" y="757631"/>
                  </a:cubicBezTo>
                  <a:cubicBezTo>
                    <a:pt x="3942292" y="758160"/>
                    <a:pt x="3960019" y="771919"/>
                    <a:pt x="3956050" y="779856"/>
                  </a:cubicBezTo>
                  <a:cubicBezTo>
                    <a:pt x="3952081" y="787794"/>
                    <a:pt x="3912129" y="795466"/>
                    <a:pt x="3905250" y="805256"/>
                  </a:cubicBezTo>
                  <a:cubicBezTo>
                    <a:pt x="3898371" y="815046"/>
                    <a:pt x="3906044" y="838594"/>
                    <a:pt x="3914775" y="838594"/>
                  </a:cubicBezTo>
                  <a:cubicBezTo>
                    <a:pt x="3923506" y="838594"/>
                    <a:pt x="3945732" y="803669"/>
                    <a:pt x="3957638" y="805256"/>
                  </a:cubicBezTo>
                  <a:cubicBezTo>
                    <a:pt x="3969544" y="806843"/>
                    <a:pt x="3966105" y="833038"/>
                    <a:pt x="3986213" y="848119"/>
                  </a:cubicBezTo>
                  <a:cubicBezTo>
                    <a:pt x="4006321" y="863200"/>
                    <a:pt x="4064001" y="876694"/>
                    <a:pt x="4078288" y="895744"/>
                  </a:cubicBezTo>
                  <a:cubicBezTo>
                    <a:pt x="4092576" y="914794"/>
                    <a:pt x="4065588" y="940723"/>
                    <a:pt x="4071938" y="962419"/>
                  </a:cubicBezTo>
                  <a:cubicBezTo>
                    <a:pt x="4078288" y="984115"/>
                    <a:pt x="4104217" y="1008192"/>
                    <a:pt x="4116388" y="1025919"/>
                  </a:cubicBezTo>
                  <a:cubicBezTo>
                    <a:pt x="4128559" y="1043646"/>
                    <a:pt x="4141524" y="1056875"/>
                    <a:pt x="4144963" y="1068781"/>
                  </a:cubicBezTo>
                  <a:cubicBezTo>
                    <a:pt x="4148402" y="1080687"/>
                    <a:pt x="4134908" y="1088096"/>
                    <a:pt x="4137025" y="1097356"/>
                  </a:cubicBezTo>
                  <a:cubicBezTo>
                    <a:pt x="4139142" y="1106616"/>
                    <a:pt x="4153430" y="1107146"/>
                    <a:pt x="4157663" y="1124344"/>
                  </a:cubicBezTo>
                  <a:cubicBezTo>
                    <a:pt x="4161896" y="1141542"/>
                    <a:pt x="4156075" y="1183082"/>
                    <a:pt x="4162425" y="1200544"/>
                  </a:cubicBezTo>
                  <a:cubicBezTo>
                    <a:pt x="4168775" y="1218006"/>
                    <a:pt x="4193382" y="1218800"/>
                    <a:pt x="4195763" y="1229119"/>
                  </a:cubicBezTo>
                  <a:cubicBezTo>
                    <a:pt x="4198144" y="1239438"/>
                    <a:pt x="4177507" y="1252931"/>
                    <a:pt x="4176713" y="1262456"/>
                  </a:cubicBezTo>
                  <a:cubicBezTo>
                    <a:pt x="4175919" y="1271981"/>
                    <a:pt x="4175390" y="1271717"/>
                    <a:pt x="4191000" y="1286269"/>
                  </a:cubicBezTo>
                  <a:cubicBezTo>
                    <a:pt x="4206610" y="1300821"/>
                    <a:pt x="4256352" y="1331513"/>
                    <a:pt x="4270375" y="1349769"/>
                  </a:cubicBezTo>
                  <a:cubicBezTo>
                    <a:pt x="4284398" y="1368025"/>
                    <a:pt x="4282017" y="1388133"/>
                    <a:pt x="4275138" y="1395806"/>
                  </a:cubicBezTo>
                  <a:cubicBezTo>
                    <a:pt x="4268259" y="1403479"/>
                    <a:pt x="4229629" y="1381519"/>
                    <a:pt x="4229100" y="1395806"/>
                  </a:cubicBezTo>
                  <a:cubicBezTo>
                    <a:pt x="4228571" y="1410094"/>
                    <a:pt x="4255294" y="1469096"/>
                    <a:pt x="4271963" y="1481531"/>
                  </a:cubicBezTo>
                  <a:cubicBezTo>
                    <a:pt x="4288632" y="1493967"/>
                    <a:pt x="4310328" y="1467244"/>
                    <a:pt x="4329113" y="1470419"/>
                  </a:cubicBezTo>
                  <a:cubicBezTo>
                    <a:pt x="4347898" y="1473594"/>
                    <a:pt x="4366419" y="1493966"/>
                    <a:pt x="4384675" y="1500581"/>
                  </a:cubicBezTo>
                  <a:cubicBezTo>
                    <a:pt x="4402931" y="1507196"/>
                    <a:pt x="4436004" y="1525187"/>
                    <a:pt x="4445000" y="1535506"/>
                  </a:cubicBezTo>
                  <a:cubicBezTo>
                    <a:pt x="4453996" y="1545825"/>
                    <a:pt x="4440767" y="1546354"/>
                    <a:pt x="4438650" y="1562494"/>
                  </a:cubicBezTo>
                  <a:cubicBezTo>
                    <a:pt x="4436533" y="1578634"/>
                    <a:pt x="4421981" y="1614088"/>
                    <a:pt x="4432300" y="1632344"/>
                  </a:cubicBezTo>
                  <a:cubicBezTo>
                    <a:pt x="4442619" y="1650600"/>
                    <a:pt x="4478338" y="1668592"/>
                    <a:pt x="4500563" y="1672031"/>
                  </a:cubicBezTo>
                  <a:cubicBezTo>
                    <a:pt x="4522788" y="1675471"/>
                    <a:pt x="4548188" y="1658537"/>
                    <a:pt x="4565650" y="1652981"/>
                  </a:cubicBezTo>
                  <a:cubicBezTo>
                    <a:pt x="4583112" y="1647425"/>
                    <a:pt x="4596342" y="1633138"/>
                    <a:pt x="4605338" y="1638694"/>
                  </a:cubicBezTo>
                  <a:cubicBezTo>
                    <a:pt x="4614334" y="1644250"/>
                    <a:pt x="4615127" y="1673355"/>
                    <a:pt x="4619625" y="1686319"/>
                  </a:cubicBezTo>
                  <a:cubicBezTo>
                    <a:pt x="4624123" y="1699283"/>
                    <a:pt x="4625975" y="1712512"/>
                    <a:pt x="4632325" y="1716481"/>
                  </a:cubicBezTo>
                  <a:cubicBezTo>
                    <a:pt x="4638675" y="1720450"/>
                    <a:pt x="4656667" y="1699548"/>
                    <a:pt x="4657725" y="1710131"/>
                  </a:cubicBezTo>
                  <a:cubicBezTo>
                    <a:pt x="4658783" y="1720714"/>
                    <a:pt x="4639469" y="1762519"/>
                    <a:pt x="4638675" y="1779981"/>
                  </a:cubicBezTo>
                  <a:cubicBezTo>
                    <a:pt x="4637881" y="1797443"/>
                    <a:pt x="4645819" y="1803529"/>
                    <a:pt x="4652963" y="1814906"/>
                  </a:cubicBezTo>
                  <a:cubicBezTo>
                    <a:pt x="4660107" y="1826283"/>
                    <a:pt x="4662488" y="1835544"/>
                    <a:pt x="4681538" y="1848244"/>
                  </a:cubicBezTo>
                  <a:cubicBezTo>
                    <a:pt x="4700588" y="1860944"/>
                    <a:pt x="4751388" y="1871262"/>
                    <a:pt x="4767263" y="1891106"/>
                  </a:cubicBezTo>
                  <a:cubicBezTo>
                    <a:pt x="4783138" y="1910950"/>
                    <a:pt x="4787107" y="1959369"/>
                    <a:pt x="4776788" y="1967306"/>
                  </a:cubicBezTo>
                  <a:cubicBezTo>
                    <a:pt x="4766469" y="1975243"/>
                    <a:pt x="4718844" y="1937937"/>
                    <a:pt x="4705350" y="1938731"/>
                  </a:cubicBezTo>
                  <a:cubicBezTo>
                    <a:pt x="4691856" y="1939525"/>
                    <a:pt x="4689475" y="1959369"/>
                    <a:pt x="4695825" y="1972069"/>
                  </a:cubicBezTo>
                  <a:cubicBezTo>
                    <a:pt x="4702175" y="1984769"/>
                    <a:pt x="4729956" y="2004612"/>
                    <a:pt x="4743450" y="2014931"/>
                  </a:cubicBezTo>
                  <a:cubicBezTo>
                    <a:pt x="4756944" y="2025250"/>
                    <a:pt x="4763559" y="2032129"/>
                    <a:pt x="4776788" y="2033981"/>
                  </a:cubicBezTo>
                  <a:cubicBezTo>
                    <a:pt x="4790017" y="2035833"/>
                    <a:pt x="4811713" y="2024986"/>
                    <a:pt x="4822825" y="2026044"/>
                  </a:cubicBezTo>
                  <a:cubicBezTo>
                    <a:pt x="4833937" y="2027102"/>
                    <a:pt x="4840817" y="2028689"/>
                    <a:pt x="4843463" y="2040331"/>
                  </a:cubicBezTo>
                  <a:cubicBezTo>
                    <a:pt x="4846109" y="2051973"/>
                    <a:pt x="4817269" y="2070759"/>
                    <a:pt x="4838700" y="2095894"/>
                  </a:cubicBezTo>
                  <a:cubicBezTo>
                    <a:pt x="4860131" y="2121030"/>
                    <a:pt x="4945856" y="2179238"/>
                    <a:pt x="4972050" y="2191144"/>
                  </a:cubicBezTo>
                  <a:cubicBezTo>
                    <a:pt x="4998244" y="2203050"/>
                    <a:pt x="4980253" y="2167067"/>
                    <a:pt x="4995863" y="2167331"/>
                  </a:cubicBezTo>
                  <a:cubicBezTo>
                    <a:pt x="5011473" y="2167595"/>
                    <a:pt x="5044282" y="2178444"/>
                    <a:pt x="5065713" y="2192731"/>
                  </a:cubicBezTo>
                  <a:cubicBezTo>
                    <a:pt x="5087144" y="2207019"/>
                    <a:pt x="5097198" y="2236387"/>
                    <a:pt x="5124450" y="2253056"/>
                  </a:cubicBezTo>
                  <a:cubicBezTo>
                    <a:pt x="5151702" y="2269725"/>
                    <a:pt x="5203031" y="2274488"/>
                    <a:pt x="5229225" y="2292744"/>
                  </a:cubicBezTo>
                  <a:cubicBezTo>
                    <a:pt x="5255419" y="2311000"/>
                    <a:pt x="5272088" y="2337459"/>
                    <a:pt x="5281613" y="2362594"/>
                  </a:cubicBezTo>
                  <a:cubicBezTo>
                    <a:pt x="5291138" y="2387729"/>
                    <a:pt x="5274469" y="2418156"/>
                    <a:pt x="5286375" y="2443556"/>
                  </a:cubicBezTo>
                  <a:cubicBezTo>
                    <a:pt x="5298281" y="2468956"/>
                    <a:pt x="5329767" y="2498325"/>
                    <a:pt x="5353050" y="2514994"/>
                  </a:cubicBezTo>
                  <a:cubicBezTo>
                    <a:pt x="5376333" y="2531663"/>
                    <a:pt x="5403850" y="2530075"/>
                    <a:pt x="5426075" y="2543569"/>
                  </a:cubicBezTo>
                  <a:cubicBezTo>
                    <a:pt x="5448300" y="2557063"/>
                    <a:pt x="5465233" y="2580875"/>
                    <a:pt x="5486400" y="2595956"/>
                  </a:cubicBezTo>
                  <a:cubicBezTo>
                    <a:pt x="5507567" y="2611037"/>
                    <a:pt x="5553075" y="2634056"/>
                    <a:pt x="5553075" y="2634056"/>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44" name="Freeform 19"/>
            <p:cNvSpPr/>
            <p:nvPr>
              <p:custDataLst>
                <p:tags r:id="rId4"/>
              </p:custDataLst>
            </p:nvPr>
          </p:nvSpPr>
          <p:spPr bwMode="gray">
            <a:xfrm>
              <a:off x="2544708" y="1273732"/>
              <a:ext cx="2908550" cy="1259531"/>
            </a:xfrm>
            <a:custGeom>
              <a:avLst/>
              <a:gdLst>
                <a:gd name="connsiteX0" fmla="*/ 361950 w 3165475"/>
                <a:gd name="connsiteY0" fmla="*/ 0 h 1412875"/>
                <a:gd name="connsiteX1" fmla="*/ 361950 w 3165475"/>
                <a:gd name="connsiteY1" fmla="*/ 0 h 1412875"/>
                <a:gd name="connsiteX2" fmla="*/ 352425 w 3165475"/>
                <a:gd name="connsiteY2" fmla="*/ 25400 h 1412875"/>
                <a:gd name="connsiteX3" fmla="*/ 323850 w 3165475"/>
                <a:gd name="connsiteY3" fmla="*/ 41275 h 1412875"/>
                <a:gd name="connsiteX4" fmla="*/ 314325 w 3165475"/>
                <a:gd name="connsiteY4" fmla="*/ 47625 h 1412875"/>
                <a:gd name="connsiteX5" fmla="*/ 304800 w 3165475"/>
                <a:gd name="connsiteY5" fmla="*/ 57150 h 1412875"/>
                <a:gd name="connsiteX6" fmla="*/ 295275 w 3165475"/>
                <a:gd name="connsiteY6" fmla="*/ 60325 h 1412875"/>
                <a:gd name="connsiteX7" fmla="*/ 276225 w 3165475"/>
                <a:gd name="connsiteY7" fmla="*/ 73025 h 1412875"/>
                <a:gd name="connsiteX8" fmla="*/ 266700 w 3165475"/>
                <a:gd name="connsiteY8" fmla="*/ 79375 h 1412875"/>
                <a:gd name="connsiteX9" fmla="*/ 250825 w 3165475"/>
                <a:gd name="connsiteY9" fmla="*/ 95250 h 1412875"/>
                <a:gd name="connsiteX10" fmla="*/ 241300 w 3165475"/>
                <a:gd name="connsiteY10" fmla="*/ 114300 h 1412875"/>
                <a:gd name="connsiteX11" fmla="*/ 231775 w 3165475"/>
                <a:gd name="connsiteY11" fmla="*/ 133350 h 1412875"/>
                <a:gd name="connsiteX12" fmla="*/ 228600 w 3165475"/>
                <a:gd name="connsiteY12" fmla="*/ 174625 h 1412875"/>
                <a:gd name="connsiteX13" fmla="*/ 222250 w 3165475"/>
                <a:gd name="connsiteY13" fmla="*/ 193675 h 1412875"/>
                <a:gd name="connsiteX14" fmla="*/ 212725 w 3165475"/>
                <a:gd name="connsiteY14" fmla="*/ 276225 h 1412875"/>
                <a:gd name="connsiteX15" fmla="*/ 206375 w 3165475"/>
                <a:gd name="connsiteY15" fmla="*/ 285750 h 1412875"/>
                <a:gd name="connsiteX16" fmla="*/ 206375 w 3165475"/>
                <a:gd name="connsiteY16" fmla="*/ 336550 h 1412875"/>
                <a:gd name="connsiteX17" fmla="*/ 193675 w 3165475"/>
                <a:gd name="connsiteY17" fmla="*/ 355600 h 1412875"/>
                <a:gd name="connsiteX18" fmla="*/ 187325 w 3165475"/>
                <a:gd name="connsiteY18" fmla="*/ 365125 h 1412875"/>
                <a:gd name="connsiteX19" fmla="*/ 180975 w 3165475"/>
                <a:gd name="connsiteY19" fmla="*/ 390525 h 1412875"/>
                <a:gd name="connsiteX20" fmla="*/ 165100 w 3165475"/>
                <a:gd name="connsiteY20" fmla="*/ 406400 h 1412875"/>
                <a:gd name="connsiteX21" fmla="*/ 155575 w 3165475"/>
                <a:gd name="connsiteY21" fmla="*/ 415925 h 1412875"/>
                <a:gd name="connsiteX22" fmla="*/ 136525 w 3165475"/>
                <a:gd name="connsiteY22" fmla="*/ 428625 h 1412875"/>
                <a:gd name="connsiteX23" fmla="*/ 117475 w 3165475"/>
                <a:gd name="connsiteY23" fmla="*/ 441325 h 1412875"/>
                <a:gd name="connsiteX24" fmla="*/ 107950 w 3165475"/>
                <a:gd name="connsiteY24" fmla="*/ 444500 h 1412875"/>
                <a:gd name="connsiteX25" fmla="*/ 98425 w 3165475"/>
                <a:gd name="connsiteY25" fmla="*/ 450850 h 1412875"/>
                <a:gd name="connsiteX26" fmla="*/ 88900 w 3165475"/>
                <a:gd name="connsiteY26" fmla="*/ 454025 h 1412875"/>
                <a:gd name="connsiteX27" fmla="*/ 79375 w 3165475"/>
                <a:gd name="connsiteY27" fmla="*/ 463550 h 1412875"/>
                <a:gd name="connsiteX28" fmla="*/ 69850 w 3165475"/>
                <a:gd name="connsiteY28" fmla="*/ 482600 h 1412875"/>
                <a:gd name="connsiteX29" fmla="*/ 63500 w 3165475"/>
                <a:gd name="connsiteY29" fmla="*/ 495300 h 1412875"/>
                <a:gd name="connsiteX30" fmla="*/ 60325 w 3165475"/>
                <a:gd name="connsiteY30" fmla="*/ 504825 h 1412875"/>
                <a:gd name="connsiteX31" fmla="*/ 50800 w 3165475"/>
                <a:gd name="connsiteY31" fmla="*/ 514350 h 1412875"/>
                <a:gd name="connsiteX32" fmla="*/ 44450 w 3165475"/>
                <a:gd name="connsiteY32" fmla="*/ 533400 h 1412875"/>
                <a:gd name="connsiteX33" fmla="*/ 38100 w 3165475"/>
                <a:gd name="connsiteY33" fmla="*/ 542925 h 1412875"/>
                <a:gd name="connsiteX34" fmla="*/ 31750 w 3165475"/>
                <a:gd name="connsiteY34" fmla="*/ 561975 h 1412875"/>
                <a:gd name="connsiteX35" fmla="*/ 25400 w 3165475"/>
                <a:gd name="connsiteY35" fmla="*/ 571500 h 1412875"/>
                <a:gd name="connsiteX36" fmla="*/ 22225 w 3165475"/>
                <a:gd name="connsiteY36" fmla="*/ 581025 h 1412875"/>
                <a:gd name="connsiteX37" fmla="*/ 15875 w 3165475"/>
                <a:gd name="connsiteY37" fmla="*/ 590550 h 1412875"/>
                <a:gd name="connsiteX38" fmla="*/ 9525 w 3165475"/>
                <a:gd name="connsiteY38" fmla="*/ 612775 h 1412875"/>
                <a:gd name="connsiteX39" fmla="*/ 0 w 3165475"/>
                <a:gd name="connsiteY39" fmla="*/ 635000 h 1412875"/>
                <a:gd name="connsiteX40" fmla="*/ 28575 w 3165475"/>
                <a:gd name="connsiteY40" fmla="*/ 657225 h 1412875"/>
                <a:gd name="connsiteX41" fmla="*/ 41275 w 3165475"/>
                <a:gd name="connsiteY41" fmla="*/ 676275 h 1412875"/>
                <a:gd name="connsiteX42" fmla="*/ 66675 w 3165475"/>
                <a:gd name="connsiteY42" fmla="*/ 704850 h 1412875"/>
                <a:gd name="connsiteX43" fmla="*/ 76200 w 3165475"/>
                <a:gd name="connsiteY43" fmla="*/ 714375 h 1412875"/>
                <a:gd name="connsiteX44" fmla="*/ 95250 w 3165475"/>
                <a:gd name="connsiteY44" fmla="*/ 720725 h 1412875"/>
                <a:gd name="connsiteX45" fmla="*/ 111125 w 3165475"/>
                <a:gd name="connsiteY45" fmla="*/ 739775 h 1412875"/>
                <a:gd name="connsiteX46" fmla="*/ 130175 w 3165475"/>
                <a:gd name="connsiteY46" fmla="*/ 752475 h 1412875"/>
                <a:gd name="connsiteX47" fmla="*/ 133350 w 3165475"/>
                <a:gd name="connsiteY47" fmla="*/ 762000 h 1412875"/>
                <a:gd name="connsiteX48" fmla="*/ 161925 w 3165475"/>
                <a:gd name="connsiteY48" fmla="*/ 765175 h 1412875"/>
                <a:gd name="connsiteX49" fmla="*/ 177800 w 3165475"/>
                <a:gd name="connsiteY49" fmla="*/ 771525 h 1412875"/>
                <a:gd name="connsiteX50" fmla="*/ 196850 w 3165475"/>
                <a:gd name="connsiteY50" fmla="*/ 774700 h 1412875"/>
                <a:gd name="connsiteX51" fmla="*/ 215900 w 3165475"/>
                <a:gd name="connsiteY51" fmla="*/ 781050 h 1412875"/>
                <a:gd name="connsiteX52" fmla="*/ 234950 w 3165475"/>
                <a:gd name="connsiteY52" fmla="*/ 790575 h 1412875"/>
                <a:gd name="connsiteX53" fmla="*/ 263525 w 3165475"/>
                <a:gd name="connsiteY53" fmla="*/ 809625 h 1412875"/>
                <a:gd name="connsiteX54" fmla="*/ 273050 w 3165475"/>
                <a:gd name="connsiteY54" fmla="*/ 812800 h 1412875"/>
                <a:gd name="connsiteX55" fmla="*/ 292100 w 3165475"/>
                <a:gd name="connsiteY55" fmla="*/ 822325 h 1412875"/>
                <a:gd name="connsiteX56" fmla="*/ 311150 w 3165475"/>
                <a:gd name="connsiteY56" fmla="*/ 831850 h 1412875"/>
                <a:gd name="connsiteX57" fmla="*/ 320675 w 3165475"/>
                <a:gd name="connsiteY57" fmla="*/ 838200 h 1412875"/>
                <a:gd name="connsiteX58" fmla="*/ 342900 w 3165475"/>
                <a:gd name="connsiteY58" fmla="*/ 847725 h 1412875"/>
                <a:gd name="connsiteX59" fmla="*/ 349250 w 3165475"/>
                <a:gd name="connsiteY59" fmla="*/ 857250 h 1412875"/>
                <a:gd name="connsiteX60" fmla="*/ 352425 w 3165475"/>
                <a:gd name="connsiteY60" fmla="*/ 866775 h 1412875"/>
                <a:gd name="connsiteX61" fmla="*/ 381000 w 3165475"/>
                <a:gd name="connsiteY61" fmla="*/ 889000 h 1412875"/>
                <a:gd name="connsiteX62" fmla="*/ 400050 w 3165475"/>
                <a:gd name="connsiteY62" fmla="*/ 904875 h 1412875"/>
                <a:gd name="connsiteX63" fmla="*/ 412750 w 3165475"/>
                <a:gd name="connsiteY63" fmla="*/ 914400 h 1412875"/>
                <a:gd name="connsiteX64" fmla="*/ 431800 w 3165475"/>
                <a:gd name="connsiteY64" fmla="*/ 927100 h 1412875"/>
                <a:gd name="connsiteX65" fmla="*/ 434975 w 3165475"/>
                <a:gd name="connsiteY65" fmla="*/ 939800 h 1412875"/>
                <a:gd name="connsiteX66" fmla="*/ 441325 w 3165475"/>
                <a:gd name="connsiteY66" fmla="*/ 965200 h 1412875"/>
                <a:gd name="connsiteX67" fmla="*/ 473075 w 3165475"/>
                <a:gd name="connsiteY67" fmla="*/ 1003300 h 1412875"/>
                <a:gd name="connsiteX68" fmla="*/ 501650 w 3165475"/>
                <a:gd name="connsiteY68" fmla="*/ 1022350 h 1412875"/>
                <a:gd name="connsiteX69" fmla="*/ 511175 w 3165475"/>
                <a:gd name="connsiteY69" fmla="*/ 1025525 h 1412875"/>
                <a:gd name="connsiteX70" fmla="*/ 549275 w 3165475"/>
                <a:gd name="connsiteY70" fmla="*/ 1038225 h 1412875"/>
                <a:gd name="connsiteX71" fmla="*/ 549275 w 3165475"/>
                <a:gd name="connsiteY71" fmla="*/ 1038225 h 1412875"/>
                <a:gd name="connsiteX72" fmla="*/ 568325 w 3165475"/>
                <a:gd name="connsiteY72" fmla="*/ 1044575 h 1412875"/>
                <a:gd name="connsiteX73" fmla="*/ 593725 w 3165475"/>
                <a:gd name="connsiteY73" fmla="*/ 1054100 h 1412875"/>
                <a:gd name="connsiteX74" fmla="*/ 609600 w 3165475"/>
                <a:gd name="connsiteY74" fmla="*/ 1060450 h 1412875"/>
                <a:gd name="connsiteX75" fmla="*/ 688975 w 3165475"/>
                <a:gd name="connsiteY75" fmla="*/ 1063625 h 1412875"/>
                <a:gd name="connsiteX76" fmla="*/ 698500 w 3165475"/>
                <a:gd name="connsiteY76" fmla="*/ 1066800 h 1412875"/>
                <a:gd name="connsiteX77" fmla="*/ 746125 w 3165475"/>
                <a:gd name="connsiteY77" fmla="*/ 1060450 h 1412875"/>
                <a:gd name="connsiteX78" fmla="*/ 752475 w 3165475"/>
                <a:gd name="connsiteY78" fmla="*/ 1069975 h 1412875"/>
                <a:gd name="connsiteX79" fmla="*/ 755650 w 3165475"/>
                <a:gd name="connsiteY79" fmla="*/ 1079500 h 1412875"/>
                <a:gd name="connsiteX80" fmla="*/ 758825 w 3165475"/>
                <a:gd name="connsiteY80" fmla="*/ 1092200 h 1412875"/>
                <a:gd name="connsiteX81" fmla="*/ 768350 w 3165475"/>
                <a:gd name="connsiteY81" fmla="*/ 1098550 h 1412875"/>
                <a:gd name="connsiteX82" fmla="*/ 790575 w 3165475"/>
                <a:gd name="connsiteY82" fmla="*/ 1104900 h 1412875"/>
                <a:gd name="connsiteX83" fmla="*/ 803275 w 3165475"/>
                <a:gd name="connsiteY83" fmla="*/ 1111250 h 1412875"/>
                <a:gd name="connsiteX84" fmla="*/ 822325 w 3165475"/>
                <a:gd name="connsiteY84" fmla="*/ 1117600 h 1412875"/>
                <a:gd name="connsiteX85" fmla="*/ 828675 w 3165475"/>
                <a:gd name="connsiteY85" fmla="*/ 1127125 h 1412875"/>
                <a:gd name="connsiteX86" fmla="*/ 838200 w 3165475"/>
                <a:gd name="connsiteY86" fmla="*/ 1136650 h 1412875"/>
                <a:gd name="connsiteX87" fmla="*/ 835025 w 3165475"/>
                <a:gd name="connsiteY87" fmla="*/ 1168400 h 1412875"/>
                <a:gd name="connsiteX88" fmla="*/ 844550 w 3165475"/>
                <a:gd name="connsiteY88" fmla="*/ 1206500 h 1412875"/>
                <a:gd name="connsiteX89" fmla="*/ 854075 w 3165475"/>
                <a:gd name="connsiteY89" fmla="*/ 1209675 h 1412875"/>
                <a:gd name="connsiteX90" fmla="*/ 873125 w 3165475"/>
                <a:gd name="connsiteY90" fmla="*/ 1219200 h 1412875"/>
                <a:gd name="connsiteX91" fmla="*/ 882650 w 3165475"/>
                <a:gd name="connsiteY91" fmla="*/ 1225550 h 1412875"/>
                <a:gd name="connsiteX92" fmla="*/ 901700 w 3165475"/>
                <a:gd name="connsiteY92" fmla="*/ 1231900 h 1412875"/>
                <a:gd name="connsiteX93" fmla="*/ 920750 w 3165475"/>
                <a:gd name="connsiteY93" fmla="*/ 1244600 h 1412875"/>
                <a:gd name="connsiteX94" fmla="*/ 930275 w 3165475"/>
                <a:gd name="connsiteY94" fmla="*/ 1250950 h 1412875"/>
                <a:gd name="connsiteX95" fmla="*/ 933450 w 3165475"/>
                <a:gd name="connsiteY95" fmla="*/ 1260475 h 1412875"/>
                <a:gd name="connsiteX96" fmla="*/ 962025 w 3165475"/>
                <a:gd name="connsiteY96" fmla="*/ 1282700 h 1412875"/>
                <a:gd name="connsiteX97" fmla="*/ 981075 w 3165475"/>
                <a:gd name="connsiteY97" fmla="*/ 1292225 h 1412875"/>
                <a:gd name="connsiteX98" fmla="*/ 996950 w 3165475"/>
                <a:gd name="connsiteY98" fmla="*/ 1308100 h 1412875"/>
                <a:gd name="connsiteX99" fmla="*/ 1000125 w 3165475"/>
                <a:gd name="connsiteY99" fmla="*/ 1317625 h 1412875"/>
                <a:gd name="connsiteX100" fmla="*/ 1012825 w 3165475"/>
                <a:gd name="connsiteY100" fmla="*/ 1336675 h 1412875"/>
                <a:gd name="connsiteX101" fmla="*/ 1019175 w 3165475"/>
                <a:gd name="connsiteY101" fmla="*/ 1355725 h 1412875"/>
                <a:gd name="connsiteX102" fmla="*/ 1025525 w 3165475"/>
                <a:gd name="connsiteY102" fmla="*/ 1365250 h 1412875"/>
                <a:gd name="connsiteX103" fmla="*/ 1028700 w 3165475"/>
                <a:gd name="connsiteY103" fmla="*/ 1374775 h 1412875"/>
                <a:gd name="connsiteX104" fmla="*/ 1044575 w 3165475"/>
                <a:gd name="connsiteY104" fmla="*/ 1393825 h 1412875"/>
                <a:gd name="connsiteX105" fmla="*/ 1054100 w 3165475"/>
                <a:gd name="connsiteY105" fmla="*/ 1412875 h 1412875"/>
                <a:gd name="connsiteX106" fmla="*/ 1057275 w 3165475"/>
                <a:gd name="connsiteY106" fmla="*/ 1403350 h 1412875"/>
                <a:gd name="connsiteX107" fmla="*/ 1063625 w 3165475"/>
                <a:gd name="connsiteY107" fmla="*/ 1393825 h 1412875"/>
                <a:gd name="connsiteX108" fmla="*/ 1076325 w 3165475"/>
                <a:gd name="connsiteY108" fmla="*/ 1374775 h 1412875"/>
                <a:gd name="connsiteX109" fmla="*/ 1085850 w 3165475"/>
                <a:gd name="connsiteY109" fmla="*/ 1371600 h 1412875"/>
                <a:gd name="connsiteX110" fmla="*/ 1152525 w 3165475"/>
                <a:gd name="connsiteY110" fmla="*/ 1365250 h 1412875"/>
                <a:gd name="connsiteX111" fmla="*/ 1181100 w 3165475"/>
                <a:gd name="connsiteY111" fmla="*/ 1358900 h 1412875"/>
                <a:gd name="connsiteX112" fmla="*/ 1200150 w 3165475"/>
                <a:gd name="connsiteY112" fmla="*/ 1346200 h 1412875"/>
                <a:gd name="connsiteX113" fmla="*/ 1209675 w 3165475"/>
                <a:gd name="connsiteY113" fmla="*/ 1339850 h 1412875"/>
                <a:gd name="connsiteX114" fmla="*/ 1222375 w 3165475"/>
                <a:gd name="connsiteY114" fmla="*/ 1320800 h 1412875"/>
                <a:gd name="connsiteX115" fmla="*/ 1241425 w 3165475"/>
                <a:gd name="connsiteY115" fmla="*/ 1314450 h 1412875"/>
                <a:gd name="connsiteX116" fmla="*/ 1282700 w 3165475"/>
                <a:gd name="connsiteY116" fmla="*/ 1317625 h 1412875"/>
                <a:gd name="connsiteX117" fmla="*/ 1320800 w 3165475"/>
                <a:gd name="connsiteY117" fmla="*/ 1311275 h 1412875"/>
                <a:gd name="connsiteX118" fmla="*/ 1349375 w 3165475"/>
                <a:gd name="connsiteY118" fmla="*/ 1292225 h 1412875"/>
                <a:gd name="connsiteX119" fmla="*/ 1371600 w 3165475"/>
                <a:gd name="connsiteY119" fmla="*/ 1276350 h 1412875"/>
                <a:gd name="connsiteX120" fmla="*/ 1381125 w 3165475"/>
                <a:gd name="connsiteY120" fmla="*/ 1266825 h 1412875"/>
                <a:gd name="connsiteX121" fmla="*/ 1384300 w 3165475"/>
                <a:gd name="connsiteY121" fmla="*/ 1257300 h 1412875"/>
                <a:gd name="connsiteX122" fmla="*/ 1416050 w 3165475"/>
                <a:gd name="connsiteY122" fmla="*/ 1241425 h 1412875"/>
                <a:gd name="connsiteX123" fmla="*/ 1460500 w 3165475"/>
                <a:gd name="connsiteY123" fmla="*/ 1231900 h 1412875"/>
                <a:gd name="connsiteX124" fmla="*/ 1470025 w 3165475"/>
                <a:gd name="connsiteY124" fmla="*/ 1228725 h 1412875"/>
                <a:gd name="connsiteX125" fmla="*/ 1479550 w 3165475"/>
                <a:gd name="connsiteY125" fmla="*/ 1219200 h 1412875"/>
                <a:gd name="connsiteX126" fmla="*/ 1482725 w 3165475"/>
                <a:gd name="connsiteY126" fmla="*/ 1209675 h 1412875"/>
                <a:gd name="connsiteX127" fmla="*/ 1492250 w 3165475"/>
                <a:gd name="connsiteY127" fmla="*/ 1203325 h 1412875"/>
                <a:gd name="connsiteX128" fmla="*/ 1539875 w 3165475"/>
                <a:gd name="connsiteY128" fmla="*/ 1196975 h 1412875"/>
                <a:gd name="connsiteX129" fmla="*/ 1549400 w 3165475"/>
                <a:gd name="connsiteY129" fmla="*/ 1193800 h 1412875"/>
                <a:gd name="connsiteX130" fmla="*/ 1558925 w 3165475"/>
                <a:gd name="connsiteY130" fmla="*/ 1187450 h 1412875"/>
                <a:gd name="connsiteX131" fmla="*/ 1571625 w 3165475"/>
                <a:gd name="connsiteY131" fmla="*/ 1184275 h 1412875"/>
                <a:gd name="connsiteX132" fmla="*/ 1581150 w 3165475"/>
                <a:gd name="connsiteY132" fmla="*/ 1181100 h 1412875"/>
                <a:gd name="connsiteX133" fmla="*/ 1612900 w 3165475"/>
                <a:gd name="connsiteY133" fmla="*/ 1149350 h 1412875"/>
                <a:gd name="connsiteX134" fmla="*/ 1619250 w 3165475"/>
                <a:gd name="connsiteY134" fmla="*/ 1130300 h 1412875"/>
                <a:gd name="connsiteX135" fmla="*/ 1622425 w 3165475"/>
                <a:gd name="connsiteY135" fmla="*/ 1120775 h 1412875"/>
                <a:gd name="connsiteX136" fmla="*/ 1628775 w 3165475"/>
                <a:gd name="connsiteY136" fmla="*/ 1111250 h 1412875"/>
                <a:gd name="connsiteX137" fmla="*/ 1657350 w 3165475"/>
                <a:gd name="connsiteY137" fmla="*/ 1089025 h 1412875"/>
                <a:gd name="connsiteX138" fmla="*/ 1666875 w 3165475"/>
                <a:gd name="connsiteY138" fmla="*/ 1069975 h 1412875"/>
                <a:gd name="connsiteX139" fmla="*/ 1673225 w 3165475"/>
                <a:gd name="connsiteY139" fmla="*/ 1060450 h 1412875"/>
                <a:gd name="connsiteX140" fmla="*/ 1676400 w 3165475"/>
                <a:gd name="connsiteY140" fmla="*/ 1050925 h 1412875"/>
                <a:gd name="connsiteX141" fmla="*/ 1682750 w 3165475"/>
                <a:gd name="connsiteY141" fmla="*/ 1041400 h 1412875"/>
                <a:gd name="connsiteX142" fmla="*/ 1711325 w 3165475"/>
                <a:gd name="connsiteY142" fmla="*/ 1016000 h 1412875"/>
                <a:gd name="connsiteX143" fmla="*/ 1717675 w 3165475"/>
                <a:gd name="connsiteY143" fmla="*/ 1006475 h 1412875"/>
                <a:gd name="connsiteX144" fmla="*/ 1727200 w 3165475"/>
                <a:gd name="connsiteY144" fmla="*/ 1003300 h 1412875"/>
                <a:gd name="connsiteX145" fmla="*/ 1736725 w 3165475"/>
                <a:gd name="connsiteY145" fmla="*/ 996950 h 1412875"/>
                <a:gd name="connsiteX146" fmla="*/ 1768475 w 3165475"/>
                <a:gd name="connsiteY146" fmla="*/ 990600 h 1412875"/>
                <a:gd name="connsiteX147" fmla="*/ 1778000 w 3165475"/>
                <a:gd name="connsiteY147" fmla="*/ 984250 h 1412875"/>
                <a:gd name="connsiteX148" fmla="*/ 1793875 w 3165475"/>
                <a:gd name="connsiteY148" fmla="*/ 981075 h 1412875"/>
                <a:gd name="connsiteX149" fmla="*/ 1803400 w 3165475"/>
                <a:gd name="connsiteY149" fmla="*/ 977900 h 1412875"/>
                <a:gd name="connsiteX150" fmla="*/ 1816100 w 3165475"/>
                <a:gd name="connsiteY150" fmla="*/ 974725 h 1412875"/>
                <a:gd name="connsiteX151" fmla="*/ 1825625 w 3165475"/>
                <a:gd name="connsiteY151" fmla="*/ 968375 h 1412875"/>
                <a:gd name="connsiteX152" fmla="*/ 1844675 w 3165475"/>
                <a:gd name="connsiteY152" fmla="*/ 962025 h 1412875"/>
                <a:gd name="connsiteX153" fmla="*/ 1854200 w 3165475"/>
                <a:gd name="connsiteY153" fmla="*/ 955675 h 1412875"/>
                <a:gd name="connsiteX154" fmla="*/ 1876425 w 3165475"/>
                <a:gd name="connsiteY154" fmla="*/ 949325 h 1412875"/>
                <a:gd name="connsiteX155" fmla="*/ 1933575 w 3165475"/>
                <a:gd name="connsiteY155" fmla="*/ 952500 h 1412875"/>
                <a:gd name="connsiteX156" fmla="*/ 1943100 w 3165475"/>
                <a:gd name="connsiteY156" fmla="*/ 955675 h 1412875"/>
                <a:gd name="connsiteX157" fmla="*/ 1968500 w 3165475"/>
                <a:gd name="connsiteY157" fmla="*/ 958850 h 1412875"/>
                <a:gd name="connsiteX158" fmla="*/ 1990725 w 3165475"/>
                <a:gd name="connsiteY158" fmla="*/ 962025 h 1412875"/>
                <a:gd name="connsiteX159" fmla="*/ 2025650 w 3165475"/>
                <a:gd name="connsiteY159" fmla="*/ 974725 h 1412875"/>
                <a:gd name="connsiteX160" fmla="*/ 2035175 w 3165475"/>
                <a:gd name="connsiteY160" fmla="*/ 977900 h 1412875"/>
                <a:gd name="connsiteX161" fmla="*/ 2057400 w 3165475"/>
                <a:gd name="connsiteY161" fmla="*/ 984250 h 1412875"/>
                <a:gd name="connsiteX162" fmla="*/ 2066925 w 3165475"/>
                <a:gd name="connsiteY162" fmla="*/ 993775 h 1412875"/>
                <a:gd name="connsiteX163" fmla="*/ 2076450 w 3165475"/>
                <a:gd name="connsiteY163" fmla="*/ 1000125 h 1412875"/>
                <a:gd name="connsiteX164" fmla="*/ 2082800 w 3165475"/>
                <a:gd name="connsiteY164" fmla="*/ 1009650 h 1412875"/>
                <a:gd name="connsiteX165" fmla="*/ 2101850 w 3165475"/>
                <a:gd name="connsiteY165" fmla="*/ 1022350 h 1412875"/>
                <a:gd name="connsiteX166" fmla="*/ 2133600 w 3165475"/>
                <a:gd name="connsiteY166" fmla="*/ 1028700 h 1412875"/>
                <a:gd name="connsiteX167" fmla="*/ 2143125 w 3165475"/>
                <a:gd name="connsiteY167" fmla="*/ 1035050 h 1412875"/>
                <a:gd name="connsiteX168" fmla="*/ 2149475 w 3165475"/>
                <a:gd name="connsiteY168" fmla="*/ 1063625 h 1412875"/>
                <a:gd name="connsiteX169" fmla="*/ 2159000 w 3165475"/>
                <a:gd name="connsiteY169" fmla="*/ 1066800 h 1412875"/>
                <a:gd name="connsiteX170" fmla="*/ 2276475 w 3165475"/>
                <a:gd name="connsiteY170" fmla="*/ 1066800 h 1412875"/>
                <a:gd name="connsiteX171" fmla="*/ 2289175 w 3165475"/>
                <a:gd name="connsiteY171" fmla="*/ 1069975 h 1412875"/>
                <a:gd name="connsiteX172" fmla="*/ 2305050 w 3165475"/>
                <a:gd name="connsiteY172" fmla="*/ 1073150 h 1412875"/>
                <a:gd name="connsiteX173" fmla="*/ 2428875 w 3165475"/>
                <a:gd name="connsiteY173" fmla="*/ 1079500 h 1412875"/>
                <a:gd name="connsiteX174" fmla="*/ 2447925 w 3165475"/>
                <a:gd name="connsiteY174" fmla="*/ 1089025 h 1412875"/>
                <a:gd name="connsiteX175" fmla="*/ 2457450 w 3165475"/>
                <a:gd name="connsiteY175" fmla="*/ 1111250 h 1412875"/>
                <a:gd name="connsiteX176" fmla="*/ 2463800 w 3165475"/>
                <a:gd name="connsiteY176" fmla="*/ 1120775 h 1412875"/>
                <a:gd name="connsiteX177" fmla="*/ 2473325 w 3165475"/>
                <a:gd name="connsiteY177" fmla="*/ 1149350 h 1412875"/>
                <a:gd name="connsiteX178" fmla="*/ 2476500 w 3165475"/>
                <a:gd name="connsiteY178" fmla="*/ 1158875 h 1412875"/>
                <a:gd name="connsiteX179" fmla="*/ 2479675 w 3165475"/>
                <a:gd name="connsiteY179" fmla="*/ 1168400 h 1412875"/>
                <a:gd name="connsiteX180" fmla="*/ 2505075 w 3165475"/>
                <a:gd name="connsiteY180" fmla="*/ 1200150 h 1412875"/>
                <a:gd name="connsiteX181" fmla="*/ 2533650 w 3165475"/>
                <a:gd name="connsiteY181" fmla="*/ 1196975 h 1412875"/>
                <a:gd name="connsiteX182" fmla="*/ 2543175 w 3165475"/>
                <a:gd name="connsiteY182" fmla="*/ 1193800 h 1412875"/>
                <a:gd name="connsiteX183" fmla="*/ 2559050 w 3165475"/>
                <a:gd name="connsiteY183" fmla="*/ 1190625 h 1412875"/>
                <a:gd name="connsiteX184" fmla="*/ 2619375 w 3165475"/>
                <a:gd name="connsiteY184" fmla="*/ 1193800 h 1412875"/>
                <a:gd name="connsiteX185" fmla="*/ 2638425 w 3165475"/>
                <a:gd name="connsiteY185" fmla="*/ 1200150 h 1412875"/>
                <a:gd name="connsiteX186" fmla="*/ 2651125 w 3165475"/>
                <a:gd name="connsiteY186" fmla="*/ 1219200 h 1412875"/>
                <a:gd name="connsiteX187" fmla="*/ 2679700 w 3165475"/>
                <a:gd name="connsiteY187" fmla="*/ 1235075 h 1412875"/>
                <a:gd name="connsiteX188" fmla="*/ 2689225 w 3165475"/>
                <a:gd name="connsiteY188" fmla="*/ 1241425 h 1412875"/>
                <a:gd name="connsiteX189" fmla="*/ 2698750 w 3165475"/>
                <a:gd name="connsiteY189" fmla="*/ 1244600 h 1412875"/>
                <a:gd name="connsiteX190" fmla="*/ 2708275 w 3165475"/>
                <a:gd name="connsiteY190" fmla="*/ 1254125 h 1412875"/>
                <a:gd name="connsiteX191" fmla="*/ 2736850 w 3165475"/>
                <a:gd name="connsiteY191" fmla="*/ 1270000 h 1412875"/>
                <a:gd name="connsiteX192" fmla="*/ 2746375 w 3165475"/>
                <a:gd name="connsiteY192" fmla="*/ 1266825 h 1412875"/>
                <a:gd name="connsiteX193" fmla="*/ 2762250 w 3165475"/>
                <a:gd name="connsiteY193" fmla="*/ 1250950 h 1412875"/>
                <a:gd name="connsiteX194" fmla="*/ 2765425 w 3165475"/>
                <a:gd name="connsiteY194" fmla="*/ 1241425 h 1412875"/>
                <a:gd name="connsiteX195" fmla="*/ 2784475 w 3165475"/>
                <a:gd name="connsiteY195" fmla="*/ 1225550 h 1412875"/>
                <a:gd name="connsiteX196" fmla="*/ 2809875 w 3165475"/>
                <a:gd name="connsiteY196" fmla="*/ 1203325 h 1412875"/>
                <a:gd name="connsiteX197" fmla="*/ 2828925 w 3165475"/>
                <a:gd name="connsiteY197" fmla="*/ 1196975 h 1412875"/>
                <a:gd name="connsiteX198" fmla="*/ 2838450 w 3165475"/>
                <a:gd name="connsiteY198" fmla="*/ 1193800 h 1412875"/>
                <a:gd name="connsiteX199" fmla="*/ 2889250 w 3165475"/>
                <a:gd name="connsiteY199" fmla="*/ 1196975 h 1412875"/>
                <a:gd name="connsiteX200" fmla="*/ 2898775 w 3165475"/>
                <a:gd name="connsiteY200" fmla="*/ 1200150 h 1412875"/>
                <a:gd name="connsiteX201" fmla="*/ 2930525 w 3165475"/>
                <a:gd name="connsiteY201" fmla="*/ 1209675 h 1412875"/>
                <a:gd name="connsiteX202" fmla="*/ 2962275 w 3165475"/>
                <a:gd name="connsiteY202" fmla="*/ 1216025 h 1412875"/>
                <a:gd name="connsiteX203" fmla="*/ 2978150 w 3165475"/>
                <a:gd name="connsiteY203" fmla="*/ 1219200 h 1412875"/>
                <a:gd name="connsiteX204" fmla="*/ 3000375 w 3165475"/>
                <a:gd name="connsiteY204" fmla="*/ 1228725 h 1412875"/>
                <a:gd name="connsiteX205" fmla="*/ 3009900 w 3165475"/>
                <a:gd name="connsiteY205" fmla="*/ 1235075 h 1412875"/>
                <a:gd name="connsiteX206" fmla="*/ 3022600 w 3165475"/>
                <a:gd name="connsiteY206" fmla="*/ 1238250 h 1412875"/>
                <a:gd name="connsiteX207" fmla="*/ 3032125 w 3165475"/>
                <a:gd name="connsiteY207" fmla="*/ 1241425 h 1412875"/>
                <a:gd name="connsiteX208" fmla="*/ 3041650 w 3165475"/>
                <a:gd name="connsiteY208" fmla="*/ 1247775 h 1412875"/>
                <a:gd name="connsiteX209" fmla="*/ 3067050 w 3165475"/>
                <a:gd name="connsiteY209" fmla="*/ 1257300 h 1412875"/>
                <a:gd name="connsiteX210" fmla="*/ 3089275 w 3165475"/>
                <a:gd name="connsiteY210" fmla="*/ 1260475 h 1412875"/>
                <a:gd name="connsiteX211" fmla="*/ 3095625 w 3165475"/>
                <a:gd name="connsiteY211" fmla="*/ 1247775 h 1412875"/>
                <a:gd name="connsiteX212" fmla="*/ 3105150 w 3165475"/>
                <a:gd name="connsiteY212" fmla="*/ 1241425 h 1412875"/>
                <a:gd name="connsiteX213" fmla="*/ 3114675 w 3165475"/>
                <a:gd name="connsiteY213" fmla="*/ 1231900 h 1412875"/>
                <a:gd name="connsiteX214" fmla="*/ 3124200 w 3165475"/>
                <a:gd name="connsiteY214" fmla="*/ 1225550 h 1412875"/>
                <a:gd name="connsiteX215" fmla="*/ 3133725 w 3165475"/>
                <a:gd name="connsiteY215" fmla="*/ 1222375 h 1412875"/>
                <a:gd name="connsiteX216" fmla="*/ 3165475 w 3165475"/>
                <a:gd name="connsiteY216" fmla="*/ 1219200 h 141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3165475" h="1412875">
                  <a:moveTo>
                    <a:pt x="361950" y="0"/>
                  </a:moveTo>
                  <a:lnTo>
                    <a:pt x="361950" y="0"/>
                  </a:lnTo>
                  <a:cubicBezTo>
                    <a:pt x="358775" y="8467"/>
                    <a:pt x="357850" y="18166"/>
                    <a:pt x="352425" y="25400"/>
                  </a:cubicBezTo>
                  <a:cubicBezTo>
                    <a:pt x="345147" y="35104"/>
                    <a:pt x="334232" y="37814"/>
                    <a:pt x="323850" y="41275"/>
                  </a:cubicBezTo>
                  <a:cubicBezTo>
                    <a:pt x="320675" y="43392"/>
                    <a:pt x="317256" y="45182"/>
                    <a:pt x="314325" y="47625"/>
                  </a:cubicBezTo>
                  <a:cubicBezTo>
                    <a:pt x="310876" y="50500"/>
                    <a:pt x="308536" y="54659"/>
                    <a:pt x="304800" y="57150"/>
                  </a:cubicBezTo>
                  <a:cubicBezTo>
                    <a:pt x="302015" y="59006"/>
                    <a:pt x="298450" y="59267"/>
                    <a:pt x="295275" y="60325"/>
                  </a:cubicBezTo>
                  <a:lnTo>
                    <a:pt x="276225" y="73025"/>
                  </a:lnTo>
                  <a:lnTo>
                    <a:pt x="266700" y="79375"/>
                  </a:lnTo>
                  <a:cubicBezTo>
                    <a:pt x="249767" y="104775"/>
                    <a:pt x="271992" y="74083"/>
                    <a:pt x="250825" y="95250"/>
                  </a:cubicBezTo>
                  <a:cubicBezTo>
                    <a:pt x="241726" y="104349"/>
                    <a:pt x="246465" y="103971"/>
                    <a:pt x="241300" y="114300"/>
                  </a:cubicBezTo>
                  <a:cubicBezTo>
                    <a:pt x="228990" y="138919"/>
                    <a:pt x="239755" y="109409"/>
                    <a:pt x="231775" y="133350"/>
                  </a:cubicBezTo>
                  <a:cubicBezTo>
                    <a:pt x="230717" y="147108"/>
                    <a:pt x="230752" y="160995"/>
                    <a:pt x="228600" y="174625"/>
                  </a:cubicBezTo>
                  <a:cubicBezTo>
                    <a:pt x="227556" y="181237"/>
                    <a:pt x="222250" y="193675"/>
                    <a:pt x="222250" y="193675"/>
                  </a:cubicBezTo>
                  <a:cubicBezTo>
                    <a:pt x="219880" y="245819"/>
                    <a:pt x="229291" y="247234"/>
                    <a:pt x="212725" y="276225"/>
                  </a:cubicBezTo>
                  <a:cubicBezTo>
                    <a:pt x="210832" y="279538"/>
                    <a:pt x="208492" y="282575"/>
                    <a:pt x="206375" y="285750"/>
                  </a:cubicBezTo>
                  <a:cubicBezTo>
                    <a:pt x="209592" y="305050"/>
                    <a:pt x="213011" y="315316"/>
                    <a:pt x="206375" y="336550"/>
                  </a:cubicBezTo>
                  <a:cubicBezTo>
                    <a:pt x="204099" y="343834"/>
                    <a:pt x="197908" y="349250"/>
                    <a:pt x="193675" y="355600"/>
                  </a:cubicBezTo>
                  <a:lnTo>
                    <a:pt x="187325" y="365125"/>
                  </a:lnTo>
                  <a:cubicBezTo>
                    <a:pt x="186117" y="371163"/>
                    <a:pt x="184229" y="384016"/>
                    <a:pt x="180975" y="390525"/>
                  </a:cubicBezTo>
                  <a:cubicBezTo>
                    <a:pt x="174323" y="403830"/>
                    <a:pt x="175986" y="397329"/>
                    <a:pt x="165100" y="406400"/>
                  </a:cubicBezTo>
                  <a:cubicBezTo>
                    <a:pt x="161651" y="409275"/>
                    <a:pt x="159119" y="413168"/>
                    <a:pt x="155575" y="415925"/>
                  </a:cubicBezTo>
                  <a:cubicBezTo>
                    <a:pt x="149551" y="420610"/>
                    <a:pt x="142875" y="424392"/>
                    <a:pt x="136525" y="428625"/>
                  </a:cubicBezTo>
                  <a:lnTo>
                    <a:pt x="117475" y="441325"/>
                  </a:lnTo>
                  <a:cubicBezTo>
                    <a:pt x="114690" y="443181"/>
                    <a:pt x="111125" y="443442"/>
                    <a:pt x="107950" y="444500"/>
                  </a:cubicBezTo>
                  <a:cubicBezTo>
                    <a:pt x="104775" y="446617"/>
                    <a:pt x="101838" y="449143"/>
                    <a:pt x="98425" y="450850"/>
                  </a:cubicBezTo>
                  <a:cubicBezTo>
                    <a:pt x="95432" y="452347"/>
                    <a:pt x="91685" y="452169"/>
                    <a:pt x="88900" y="454025"/>
                  </a:cubicBezTo>
                  <a:cubicBezTo>
                    <a:pt x="85164" y="456516"/>
                    <a:pt x="82250" y="460101"/>
                    <a:pt x="79375" y="463550"/>
                  </a:cubicBezTo>
                  <a:cubicBezTo>
                    <a:pt x="70402" y="474317"/>
                    <a:pt x="74904" y="470808"/>
                    <a:pt x="69850" y="482600"/>
                  </a:cubicBezTo>
                  <a:cubicBezTo>
                    <a:pt x="67986" y="486950"/>
                    <a:pt x="65364" y="490950"/>
                    <a:pt x="63500" y="495300"/>
                  </a:cubicBezTo>
                  <a:cubicBezTo>
                    <a:pt x="62182" y="498376"/>
                    <a:pt x="62181" y="502040"/>
                    <a:pt x="60325" y="504825"/>
                  </a:cubicBezTo>
                  <a:cubicBezTo>
                    <a:pt x="57834" y="508561"/>
                    <a:pt x="53975" y="511175"/>
                    <a:pt x="50800" y="514350"/>
                  </a:cubicBezTo>
                  <a:cubicBezTo>
                    <a:pt x="48683" y="520700"/>
                    <a:pt x="48163" y="527831"/>
                    <a:pt x="44450" y="533400"/>
                  </a:cubicBezTo>
                  <a:cubicBezTo>
                    <a:pt x="42333" y="536575"/>
                    <a:pt x="39650" y="539438"/>
                    <a:pt x="38100" y="542925"/>
                  </a:cubicBezTo>
                  <a:cubicBezTo>
                    <a:pt x="35382" y="549042"/>
                    <a:pt x="33867" y="555625"/>
                    <a:pt x="31750" y="561975"/>
                  </a:cubicBezTo>
                  <a:cubicBezTo>
                    <a:pt x="30543" y="565595"/>
                    <a:pt x="27107" y="568087"/>
                    <a:pt x="25400" y="571500"/>
                  </a:cubicBezTo>
                  <a:cubicBezTo>
                    <a:pt x="23903" y="574493"/>
                    <a:pt x="23722" y="578032"/>
                    <a:pt x="22225" y="581025"/>
                  </a:cubicBezTo>
                  <a:cubicBezTo>
                    <a:pt x="20518" y="584438"/>
                    <a:pt x="17582" y="587137"/>
                    <a:pt x="15875" y="590550"/>
                  </a:cubicBezTo>
                  <a:cubicBezTo>
                    <a:pt x="13337" y="595625"/>
                    <a:pt x="10881" y="608028"/>
                    <a:pt x="9525" y="612775"/>
                  </a:cubicBezTo>
                  <a:cubicBezTo>
                    <a:pt x="6411" y="623676"/>
                    <a:pt x="5644" y="623711"/>
                    <a:pt x="0" y="635000"/>
                  </a:cubicBezTo>
                  <a:cubicBezTo>
                    <a:pt x="6708" y="668540"/>
                    <a:pt x="-5006" y="634838"/>
                    <a:pt x="28575" y="657225"/>
                  </a:cubicBezTo>
                  <a:cubicBezTo>
                    <a:pt x="34925" y="661458"/>
                    <a:pt x="37042" y="669925"/>
                    <a:pt x="41275" y="676275"/>
                  </a:cubicBezTo>
                  <a:cubicBezTo>
                    <a:pt x="52606" y="693272"/>
                    <a:pt x="44927" y="683102"/>
                    <a:pt x="66675" y="704850"/>
                  </a:cubicBezTo>
                  <a:cubicBezTo>
                    <a:pt x="69850" y="708025"/>
                    <a:pt x="71940" y="712955"/>
                    <a:pt x="76200" y="714375"/>
                  </a:cubicBezTo>
                  <a:lnTo>
                    <a:pt x="95250" y="720725"/>
                  </a:lnTo>
                  <a:cubicBezTo>
                    <a:pt x="100894" y="729192"/>
                    <a:pt x="102663" y="733193"/>
                    <a:pt x="111125" y="739775"/>
                  </a:cubicBezTo>
                  <a:cubicBezTo>
                    <a:pt x="117149" y="744460"/>
                    <a:pt x="130175" y="752475"/>
                    <a:pt x="130175" y="752475"/>
                  </a:cubicBezTo>
                  <a:cubicBezTo>
                    <a:pt x="131233" y="755650"/>
                    <a:pt x="130243" y="760757"/>
                    <a:pt x="133350" y="762000"/>
                  </a:cubicBezTo>
                  <a:cubicBezTo>
                    <a:pt x="142248" y="765559"/>
                    <a:pt x="152554" y="763167"/>
                    <a:pt x="161925" y="765175"/>
                  </a:cubicBezTo>
                  <a:cubicBezTo>
                    <a:pt x="167498" y="766369"/>
                    <a:pt x="172302" y="770025"/>
                    <a:pt x="177800" y="771525"/>
                  </a:cubicBezTo>
                  <a:cubicBezTo>
                    <a:pt x="184011" y="773219"/>
                    <a:pt x="190500" y="773642"/>
                    <a:pt x="196850" y="774700"/>
                  </a:cubicBezTo>
                  <a:cubicBezTo>
                    <a:pt x="203200" y="776817"/>
                    <a:pt x="210331" y="777337"/>
                    <a:pt x="215900" y="781050"/>
                  </a:cubicBezTo>
                  <a:cubicBezTo>
                    <a:pt x="228210" y="789256"/>
                    <a:pt x="221805" y="786193"/>
                    <a:pt x="234950" y="790575"/>
                  </a:cubicBezTo>
                  <a:lnTo>
                    <a:pt x="263525" y="809625"/>
                  </a:lnTo>
                  <a:cubicBezTo>
                    <a:pt x="266310" y="811481"/>
                    <a:pt x="269875" y="811742"/>
                    <a:pt x="273050" y="812800"/>
                  </a:cubicBezTo>
                  <a:cubicBezTo>
                    <a:pt x="300347" y="830998"/>
                    <a:pt x="265810" y="809180"/>
                    <a:pt x="292100" y="822325"/>
                  </a:cubicBezTo>
                  <a:cubicBezTo>
                    <a:pt x="316719" y="834635"/>
                    <a:pt x="287209" y="823870"/>
                    <a:pt x="311150" y="831850"/>
                  </a:cubicBezTo>
                  <a:cubicBezTo>
                    <a:pt x="314325" y="833967"/>
                    <a:pt x="317168" y="836697"/>
                    <a:pt x="320675" y="838200"/>
                  </a:cubicBezTo>
                  <a:cubicBezTo>
                    <a:pt x="349378" y="850501"/>
                    <a:pt x="318987" y="831783"/>
                    <a:pt x="342900" y="847725"/>
                  </a:cubicBezTo>
                  <a:cubicBezTo>
                    <a:pt x="345017" y="850900"/>
                    <a:pt x="347543" y="853837"/>
                    <a:pt x="349250" y="857250"/>
                  </a:cubicBezTo>
                  <a:cubicBezTo>
                    <a:pt x="350747" y="860243"/>
                    <a:pt x="350569" y="863990"/>
                    <a:pt x="352425" y="866775"/>
                  </a:cubicBezTo>
                  <a:cubicBezTo>
                    <a:pt x="358394" y="875728"/>
                    <a:pt x="373431" y="883954"/>
                    <a:pt x="381000" y="889000"/>
                  </a:cubicBezTo>
                  <a:cubicBezTo>
                    <a:pt x="402052" y="903035"/>
                    <a:pt x="378659" y="886540"/>
                    <a:pt x="400050" y="904875"/>
                  </a:cubicBezTo>
                  <a:cubicBezTo>
                    <a:pt x="404068" y="908319"/>
                    <a:pt x="408415" y="911365"/>
                    <a:pt x="412750" y="914400"/>
                  </a:cubicBezTo>
                  <a:cubicBezTo>
                    <a:pt x="419002" y="918777"/>
                    <a:pt x="431800" y="927100"/>
                    <a:pt x="431800" y="927100"/>
                  </a:cubicBezTo>
                  <a:cubicBezTo>
                    <a:pt x="432858" y="931333"/>
                    <a:pt x="434028" y="935540"/>
                    <a:pt x="434975" y="939800"/>
                  </a:cubicBezTo>
                  <a:cubicBezTo>
                    <a:pt x="436018" y="944491"/>
                    <a:pt x="438173" y="959526"/>
                    <a:pt x="441325" y="965200"/>
                  </a:cubicBezTo>
                  <a:cubicBezTo>
                    <a:pt x="448216" y="977603"/>
                    <a:pt x="461326" y="995467"/>
                    <a:pt x="473075" y="1003300"/>
                  </a:cubicBezTo>
                  <a:lnTo>
                    <a:pt x="501650" y="1022350"/>
                  </a:lnTo>
                  <a:cubicBezTo>
                    <a:pt x="504435" y="1024206"/>
                    <a:pt x="508099" y="1024207"/>
                    <a:pt x="511175" y="1025525"/>
                  </a:cubicBezTo>
                  <a:cubicBezTo>
                    <a:pt x="539883" y="1037829"/>
                    <a:pt x="504159" y="1026946"/>
                    <a:pt x="549275" y="1038225"/>
                  </a:cubicBezTo>
                  <a:lnTo>
                    <a:pt x="549275" y="1038225"/>
                  </a:lnTo>
                  <a:lnTo>
                    <a:pt x="568325" y="1044575"/>
                  </a:lnTo>
                  <a:cubicBezTo>
                    <a:pt x="586123" y="1056440"/>
                    <a:pt x="568758" y="1046610"/>
                    <a:pt x="593725" y="1054100"/>
                  </a:cubicBezTo>
                  <a:cubicBezTo>
                    <a:pt x="599184" y="1055738"/>
                    <a:pt x="603929" y="1059883"/>
                    <a:pt x="609600" y="1060450"/>
                  </a:cubicBezTo>
                  <a:cubicBezTo>
                    <a:pt x="635948" y="1063085"/>
                    <a:pt x="662517" y="1062567"/>
                    <a:pt x="688975" y="1063625"/>
                  </a:cubicBezTo>
                  <a:cubicBezTo>
                    <a:pt x="692150" y="1064683"/>
                    <a:pt x="695153" y="1066800"/>
                    <a:pt x="698500" y="1066800"/>
                  </a:cubicBezTo>
                  <a:cubicBezTo>
                    <a:pt x="729576" y="1066800"/>
                    <a:pt x="727230" y="1066748"/>
                    <a:pt x="746125" y="1060450"/>
                  </a:cubicBezTo>
                  <a:cubicBezTo>
                    <a:pt x="748242" y="1063625"/>
                    <a:pt x="750768" y="1066562"/>
                    <a:pt x="752475" y="1069975"/>
                  </a:cubicBezTo>
                  <a:cubicBezTo>
                    <a:pt x="753972" y="1072968"/>
                    <a:pt x="754731" y="1076282"/>
                    <a:pt x="755650" y="1079500"/>
                  </a:cubicBezTo>
                  <a:cubicBezTo>
                    <a:pt x="756849" y="1083696"/>
                    <a:pt x="756404" y="1088569"/>
                    <a:pt x="758825" y="1092200"/>
                  </a:cubicBezTo>
                  <a:cubicBezTo>
                    <a:pt x="760942" y="1095375"/>
                    <a:pt x="764937" y="1096843"/>
                    <a:pt x="768350" y="1098550"/>
                  </a:cubicBezTo>
                  <a:cubicBezTo>
                    <a:pt x="776026" y="1102388"/>
                    <a:pt x="782437" y="1101848"/>
                    <a:pt x="790575" y="1104900"/>
                  </a:cubicBezTo>
                  <a:cubicBezTo>
                    <a:pt x="795007" y="1106562"/>
                    <a:pt x="798881" y="1109492"/>
                    <a:pt x="803275" y="1111250"/>
                  </a:cubicBezTo>
                  <a:cubicBezTo>
                    <a:pt x="809490" y="1113736"/>
                    <a:pt x="822325" y="1117600"/>
                    <a:pt x="822325" y="1117600"/>
                  </a:cubicBezTo>
                  <a:cubicBezTo>
                    <a:pt x="824442" y="1120775"/>
                    <a:pt x="826232" y="1124194"/>
                    <a:pt x="828675" y="1127125"/>
                  </a:cubicBezTo>
                  <a:cubicBezTo>
                    <a:pt x="831550" y="1130574"/>
                    <a:pt x="837517" y="1132212"/>
                    <a:pt x="838200" y="1136650"/>
                  </a:cubicBezTo>
                  <a:cubicBezTo>
                    <a:pt x="839817" y="1147162"/>
                    <a:pt x="836083" y="1157817"/>
                    <a:pt x="835025" y="1168400"/>
                  </a:cubicBezTo>
                  <a:cubicBezTo>
                    <a:pt x="836120" y="1178257"/>
                    <a:pt x="833880" y="1197964"/>
                    <a:pt x="844550" y="1206500"/>
                  </a:cubicBezTo>
                  <a:cubicBezTo>
                    <a:pt x="847163" y="1208591"/>
                    <a:pt x="850900" y="1208617"/>
                    <a:pt x="854075" y="1209675"/>
                  </a:cubicBezTo>
                  <a:cubicBezTo>
                    <a:pt x="881372" y="1227873"/>
                    <a:pt x="846835" y="1206055"/>
                    <a:pt x="873125" y="1219200"/>
                  </a:cubicBezTo>
                  <a:cubicBezTo>
                    <a:pt x="876538" y="1220907"/>
                    <a:pt x="879163" y="1224000"/>
                    <a:pt x="882650" y="1225550"/>
                  </a:cubicBezTo>
                  <a:cubicBezTo>
                    <a:pt x="888767" y="1228268"/>
                    <a:pt x="901700" y="1231900"/>
                    <a:pt x="901700" y="1231900"/>
                  </a:cubicBezTo>
                  <a:lnTo>
                    <a:pt x="920750" y="1244600"/>
                  </a:lnTo>
                  <a:lnTo>
                    <a:pt x="930275" y="1250950"/>
                  </a:lnTo>
                  <a:cubicBezTo>
                    <a:pt x="931333" y="1254125"/>
                    <a:pt x="931594" y="1257690"/>
                    <a:pt x="933450" y="1260475"/>
                  </a:cubicBezTo>
                  <a:cubicBezTo>
                    <a:pt x="939419" y="1269428"/>
                    <a:pt x="954456" y="1277654"/>
                    <a:pt x="962025" y="1282700"/>
                  </a:cubicBezTo>
                  <a:cubicBezTo>
                    <a:pt x="974335" y="1290906"/>
                    <a:pt x="967930" y="1287843"/>
                    <a:pt x="981075" y="1292225"/>
                  </a:cubicBezTo>
                  <a:cubicBezTo>
                    <a:pt x="990600" y="1298575"/>
                    <a:pt x="991658" y="1297517"/>
                    <a:pt x="996950" y="1308100"/>
                  </a:cubicBezTo>
                  <a:cubicBezTo>
                    <a:pt x="998447" y="1311093"/>
                    <a:pt x="998500" y="1314699"/>
                    <a:pt x="1000125" y="1317625"/>
                  </a:cubicBezTo>
                  <a:cubicBezTo>
                    <a:pt x="1003831" y="1324296"/>
                    <a:pt x="1010412" y="1329435"/>
                    <a:pt x="1012825" y="1336675"/>
                  </a:cubicBezTo>
                  <a:cubicBezTo>
                    <a:pt x="1014942" y="1343025"/>
                    <a:pt x="1015462" y="1350156"/>
                    <a:pt x="1019175" y="1355725"/>
                  </a:cubicBezTo>
                  <a:cubicBezTo>
                    <a:pt x="1021292" y="1358900"/>
                    <a:pt x="1023818" y="1361837"/>
                    <a:pt x="1025525" y="1365250"/>
                  </a:cubicBezTo>
                  <a:cubicBezTo>
                    <a:pt x="1027022" y="1368243"/>
                    <a:pt x="1027203" y="1371782"/>
                    <a:pt x="1028700" y="1374775"/>
                  </a:cubicBezTo>
                  <a:cubicBezTo>
                    <a:pt x="1033120" y="1383616"/>
                    <a:pt x="1037553" y="1386803"/>
                    <a:pt x="1044575" y="1393825"/>
                  </a:cubicBezTo>
                  <a:cubicBezTo>
                    <a:pt x="1045358" y="1396174"/>
                    <a:pt x="1049997" y="1412875"/>
                    <a:pt x="1054100" y="1412875"/>
                  </a:cubicBezTo>
                  <a:cubicBezTo>
                    <a:pt x="1057447" y="1412875"/>
                    <a:pt x="1055778" y="1406343"/>
                    <a:pt x="1057275" y="1403350"/>
                  </a:cubicBezTo>
                  <a:cubicBezTo>
                    <a:pt x="1058982" y="1399937"/>
                    <a:pt x="1061918" y="1397238"/>
                    <a:pt x="1063625" y="1393825"/>
                  </a:cubicBezTo>
                  <a:cubicBezTo>
                    <a:pt x="1069450" y="1382175"/>
                    <a:pt x="1062783" y="1383803"/>
                    <a:pt x="1076325" y="1374775"/>
                  </a:cubicBezTo>
                  <a:cubicBezTo>
                    <a:pt x="1079110" y="1372919"/>
                    <a:pt x="1082583" y="1372326"/>
                    <a:pt x="1085850" y="1371600"/>
                  </a:cubicBezTo>
                  <a:cubicBezTo>
                    <a:pt x="1108185" y="1366637"/>
                    <a:pt x="1129144" y="1366809"/>
                    <a:pt x="1152525" y="1365250"/>
                  </a:cubicBezTo>
                  <a:cubicBezTo>
                    <a:pt x="1157694" y="1364389"/>
                    <a:pt x="1174400" y="1362622"/>
                    <a:pt x="1181100" y="1358900"/>
                  </a:cubicBezTo>
                  <a:cubicBezTo>
                    <a:pt x="1187771" y="1355194"/>
                    <a:pt x="1193800" y="1350433"/>
                    <a:pt x="1200150" y="1346200"/>
                  </a:cubicBezTo>
                  <a:lnTo>
                    <a:pt x="1209675" y="1339850"/>
                  </a:lnTo>
                  <a:cubicBezTo>
                    <a:pt x="1213908" y="1333500"/>
                    <a:pt x="1215135" y="1323213"/>
                    <a:pt x="1222375" y="1320800"/>
                  </a:cubicBezTo>
                  <a:lnTo>
                    <a:pt x="1241425" y="1314450"/>
                  </a:lnTo>
                  <a:cubicBezTo>
                    <a:pt x="1255183" y="1315508"/>
                    <a:pt x="1268901" y="1317625"/>
                    <a:pt x="1282700" y="1317625"/>
                  </a:cubicBezTo>
                  <a:cubicBezTo>
                    <a:pt x="1297565" y="1317625"/>
                    <a:pt x="1307424" y="1314619"/>
                    <a:pt x="1320800" y="1311275"/>
                  </a:cubicBezTo>
                  <a:lnTo>
                    <a:pt x="1349375" y="1292225"/>
                  </a:lnTo>
                  <a:cubicBezTo>
                    <a:pt x="1356913" y="1287199"/>
                    <a:pt x="1364708" y="1282257"/>
                    <a:pt x="1371600" y="1276350"/>
                  </a:cubicBezTo>
                  <a:cubicBezTo>
                    <a:pt x="1375009" y="1273428"/>
                    <a:pt x="1377950" y="1270000"/>
                    <a:pt x="1381125" y="1266825"/>
                  </a:cubicBezTo>
                  <a:cubicBezTo>
                    <a:pt x="1382183" y="1263650"/>
                    <a:pt x="1381933" y="1259667"/>
                    <a:pt x="1384300" y="1257300"/>
                  </a:cubicBezTo>
                  <a:cubicBezTo>
                    <a:pt x="1395760" y="1245840"/>
                    <a:pt x="1402362" y="1244358"/>
                    <a:pt x="1416050" y="1241425"/>
                  </a:cubicBezTo>
                  <a:cubicBezTo>
                    <a:pt x="1430630" y="1238301"/>
                    <a:pt x="1446001" y="1236042"/>
                    <a:pt x="1460500" y="1231900"/>
                  </a:cubicBezTo>
                  <a:cubicBezTo>
                    <a:pt x="1463718" y="1230981"/>
                    <a:pt x="1466850" y="1229783"/>
                    <a:pt x="1470025" y="1228725"/>
                  </a:cubicBezTo>
                  <a:cubicBezTo>
                    <a:pt x="1473200" y="1225550"/>
                    <a:pt x="1477059" y="1222936"/>
                    <a:pt x="1479550" y="1219200"/>
                  </a:cubicBezTo>
                  <a:cubicBezTo>
                    <a:pt x="1481406" y="1216415"/>
                    <a:pt x="1480634" y="1212288"/>
                    <a:pt x="1482725" y="1209675"/>
                  </a:cubicBezTo>
                  <a:cubicBezTo>
                    <a:pt x="1485109" y="1206695"/>
                    <a:pt x="1488743" y="1204828"/>
                    <a:pt x="1492250" y="1203325"/>
                  </a:cubicBezTo>
                  <a:cubicBezTo>
                    <a:pt x="1503577" y="1198471"/>
                    <a:pt x="1534663" y="1197449"/>
                    <a:pt x="1539875" y="1196975"/>
                  </a:cubicBezTo>
                  <a:cubicBezTo>
                    <a:pt x="1543050" y="1195917"/>
                    <a:pt x="1546407" y="1195297"/>
                    <a:pt x="1549400" y="1193800"/>
                  </a:cubicBezTo>
                  <a:cubicBezTo>
                    <a:pt x="1552813" y="1192093"/>
                    <a:pt x="1555418" y="1188953"/>
                    <a:pt x="1558925" y="1187450"/>
                  </a:cubicBezTo>
                  <a:cubicBezTo>
                    <a:pt x="1562936" y="1185731"/>
                    <a:pt x="1567429" y="1185474"/>
                    <a:pt x="1571625" y="1184275"/>
                  </a:cubicBezTo>
                  <a:cubicBezTo>
                    <a:pt x="1574843" y="1183356"/>
                    <a:pt x="1577975" y="1182158"/>
                    <a:pt x="1581150" y="1181100"/>
                  </a:cubicBezTo>
                  <a:cubicBezTo>
                    <a:pt x="1606550" y="1164167"/>
                    <a:pt x="1595967" y="1174750"/>
                    <a:pt x="1612900" y="1149350"/>
                  </a:cubicBezTo>
                  <a:cubicBezTo>
                    <a:pt x="1616613" y="1143781"/>
                    <a:pt x="1617133" y="1136650"/>
                    <a:pt x="1619250" y="1130300"/>
                  </a:cubicBezTo>
                  <a:cubicBezTo>
                    <a:pt x="1620308" y="1127125"/>
                    <a:pt x="1620569" y="1123560"/>
                    <a:pt x="1622425" y="1120775"/>
                  </a:cubicBezTo>
                  <a:cubicBezTo>
                    <a:pt x="1624542" y="1117600"/>
                    <a:pt x="1625903" y="1113763"/>
                    <a:pt x="1628775" y="1111250"/>
                  </a:cubicBezTo>
                  <a:cubicBezTo>
                    <a:pt x="1650560" y="1092188"/>
                    <a:pt x="1643017" y="1106224"/>
                    <a:pt x="1657350" y="1089025"/>
                  </a:cubicBezTo>
                  <a:cubicBezTo>
                    <a:pt x="1668724" y="1075376"/>
                    <a:pt x="1659715" y="1084294"/>
                    <a:pt x="1666875" y="1069975"/>
                  </a:cubicBezTo>
                  <a:cubicBezTo>
                    <a:pt x="1668582" y="1066562"/>
                    <a:pt x="1671518" y="1063863"/>
                    <a:pt x="1673225" y="1060450"/>
                  </a:cubicBezTo>
                  <a:cubicBezTo>
                    <a:pt x="1674722" y="1057457"/>
                    <a:pt x="1674903" y="1053918"/>
                    <a:pt x="1676400" y="1050925"/>
                  </a:cubicBezTo>
                  <a:cubicBezTo>
                    <a:pt x="1678107" y="1047512"/>
                    <a:pt x="1680215" y="1044252"/>
                    <a:pt x="1682750" y="1041400"/>
                  </a:cubicBezTo>
                  <a:cubicBezTo>
                    <a:pt x="1698567" y="1023606"/>
                    <a:pt x="1696848" y="1025651"/>
                    <a:pt x="1711325" y="1016000"/>
                  </a:cubicBezTo>
                  <a:cubicBezTo>
                    <a:pt x="1713442" y="1012825"/>
                    <a:pt x="1714695" y="1008859"/>
                    <a:pt x="1717675" y="1006475"/>
                  </a:cubicBezTo>
                  <a:cubicBezTo>
                    <a:pt x="1720288" y="1004384"/>
                    <a:pt x="1724207" y="1004797"/>
                    <a:pt x="1727200" y="1003300"/>
                  </a:cubicBezTo>
                  <a:cubicBezTo>
                    <a:pt x="1730613" y="1001593"/>
                    <a:pt x="1733312" y="998657"/>
                    <a:pt x="1736725" y="996950"/>
                  </a:cubicBezTo>
                  <a:cubicBezTo>
                    <a:pt x="1745591" y="992517"/>
                    <a:pt x="1760285" y="991770"/>
                    <a:pt x="1768475" y="990600"/>
                  </a:cubicBezTo>
                  <a:cubicBezTo>
                    <a:pt x="1771650" y="988483"/>
                    <a:pt x="1774427" y="985590"/>
                    <a:pt x="1778000" y="984250"/>
                  </a:cubicBezTo>
                  <a:cubicBezTo>
                    <a:pt x="1783053" y="982355"/>
                    <a:pt x="1788640" y="982384"/>
                    <a:pt x="1793875" y="981075"/>
                  </a:cubicBezTo>
                  <a:cubicBezTo>
                    <a:pt x="1797122" y="980263"/>
                    <a:pt x="1800182" y="978819"/>
                    <a:pt x="1803400" y="977900"/>
                  </a:cubicBezTo>
                  <a:cubicBezTo>
                    <a:pt x="1807596" y="976701"/>
                    <a:pt x="1811867" y="975783"/>
                    <a:pt x="1816100" y="974725"/>
                  </a:cubicBezTo>
                  <a:cubicBezTo>
                    <a:pt x="1819275" y="972608"/>
                    <a:pt x="1822138" y="969925"/>
                    <a:pt x="1825625" y="968375"/>
                  </a:cubicBezTo>
                  <a:cubicBezTo>
                    <a:pt x="1831742" y="965657"/>
                    <a:pt x="1844675" y="962025"/>
                    <a:pt x="1844675" y="962025"/>
                  </a:cubicBezTo>
                  <a:cubicBezTo>
                    <a:pt x="1847850" y="959908"/>
                    <a:pt x="1850787" y="957382"/>
                    <a:pt x="1854200" y="955675"/>
                  </a:cubicBezTo>
                  <a:cubicBezTo>
                    <a:pt x="1858755" y="953398"/>
                    <a:pt x="1872356" y="950342"/>
                    <a:pt x="1876425" y="949325"/>
                  </a:cubicBezTo>
                  <a:cubicBezTo>
                    <a:pt x="1895475" y="950383"/>
                    <a:pt x="1914582" y="950691"/>
                    <a:pt x="1933575" y="952500"/>
                  </a:cubicBezTo>
                  <a:cubicBezTo>
                    <a:pt x="1936907" y="952817"/>
                    <a:pt x="1939807" y="955076"/>
                    <a:pt x="1943100" y="955675"/>
                  </a:cubicBezTo>
                  <a:cubicBezTo>
                    <a:pt x="1951495" y="957201"/>
                    <a:pt x="1960042" y="957722"/>
                    <a:pt x="1968500" y="958850"/>
                  </a:cubicBezTo>
                  <a:lnTo>
                    <a:pt x="1990725" y="962025"/>
                  </a:lnTo>
                  <a:cubicBezTo>
                    <a:pt x="2010693" y="975337"/>
                    <a:pt x="1989273" y="962599"/>
                    <a:pt x="2025650" y="974725"/>
                  </a:cubicBezTo>
                  <a:cubicBezTo>
                    <a:pt x="2028825" y="975783"/>
                    <a:pt x="2031957" y="976981"/>
                    <a:pt x="2035175" y="977900"/>
                  </a:cubicBezTo>
                  <a:cubicBezTo>
                    <a:pt x="2063082" y="985873"/>
                    <a:pt x="2034562" y="976637"/>
                    <a:pt x="2057400" y="984250"/>
                  </a:cubicBezTo>
                  <a:cubicBezTo>
                    <a:pt x="2060575" y="987425"/>
                    <a:pt x="2063476" y="990900"/>
                    <a:pt x="2066925" y="993775"/>
                  </a:cubicBezTo>
                  <a:cubicBezTo>
                    <a:pt x="2069856" y="996218"/>
                    <a:pt x="2073752" y="997427"/>
                    <a:pt x="2076450" y="1000125"/>
                  </a:cubicBezTo>
                  <a:cubicBezTo>
                    <a:pt x="2079148" y="1002823"/>
                    <a:pt x="2079928" y="1007137"/>
                    <a:pt x="2082800" y="1009650"/>
                  </a:cubicBezTo>
                  <a:cubicBezTo>
                    <a:pt x="2088543" y="1014676"/>
                    <a:pt x="2095500" y="1018117"/>
                    <a:pt x="2101850" y="1022350"/>
                  </a:cubicBezTo>
                  <a:cubicBezTo>
                    <a:pt x="2107895" y="1026380"/>
                    <a:pt x="2131718" y="1028431"/>
                    <a:pt x="2133600" y="1028700"/>
                  </a:cubicBezTo>
                  <a:cubicBezTo>
                    <a:pt x="2136775" y="1030817"/>
                    <a:pt x="2141008" y="1031875"/>
                    <a:pt x="2143125" y="1035050"/>
                  </a:cubicBezTo>
                  <a:cubicBezTo>
                    <a:pt x="2148537" y="1043169"/>
                    <a:pt x="2144063" y="1055506"/>
                    <a:pt x="2149475" y="1063625"/>
                  </a:cubicBezTo>
                  <a:cubicBezTo>
                    <a:pt x="2151331" y="1066410"/>
                    <a:pt x="2155825" y="1065742"/>
                    <a:pt x="2159000" y="1066800"/>
                  </a:cubicBezTo>
                  <a:cubicBezTo>
                    <a:pt x="2210939" y="1060308"/>
                    <a:pt x="2190032" y="1061561"/>
                    <a:pt x="2276475" y="1066800"/>
                  </a:cubicBezTo>
                  <a:cubicBezTo>
                    <a:pt x="2280831" y="1067064"/>
                    <a:pt x="2284915" y="1069028"/>
                    <a:pt x="2289175" y="1069975"/>
                  </a:cubicBezTo>
                  <a:cubicBezTo>
                    <a:pt x="2294443" y="1071146"/>
                    <a:pt x="2299666" y="1072783"/>
                    <a:pt x="2305050" y="1073150"/>
                  </a:cubicBezTo>
                  <a:cubicBezTo>
                    <a:pt x="2346284" y="1075961"/>
                    <a:pt x="2428875" y="1079500"/>
                    <a:pt x="2428875" y="1079500"/>
                  </a:cubicBezTo>
                  <a:cubicBezTo>
                    <a:pt x="2435376" y="1081667"/>
                    <a:pt x="2443191" y="1083344"/>
                    <a:pt x="2447925" y="1089025"/>
                  </a:cubicBezTo>
                  <a:cubicBezTo>
                    <a:pt x="2456183" y="1098935"/>
                    <a:pt x="2452487" y="1101324"/>
                    <a:pt x="2457450" y="1111250"/>
                  </a:cubicBezTo>
                  <a:cubicBezTo>
                    <a:pt x="2459157" y="1114663"/>
                    <a:pt x="2462250" y="1117288"/>
                    <a:pt x="2463800" y="1120775"/>
                  </a:cubicBezTo>
                  <a:lnTo>
                    <a:pt x="2473325" y="1149350"/>
                  </a:lnTo>
                  <a:lnTo>
                    <a:pt x="2476500" y="1158875"/>
                  </a:lnTo>
                  <a:cubicBezTo>
                    <a:pt x="2477558" y="1162050"/>
                    <a:pt x="2477819" y="1165615"/>
                    <a:pt x="2479675" y="1168400"/>
                  </a:cubicBezTo>
                  <a:cubicBezTo>
                    <a:pt x="2495696" y="1192431"/>
                    <a:pt x="2486979" y="1182054"/>
                    <a:pt x="2505075" y="1200150"/>
                  </a:cubicBezTo>
                  <a:cubicBezTo>
                    <a:pt x="2514600" y="1199092"/>
                    <a:pt x="2524197" y="1198551"/>
                    <a:pt x="2533650" y="1196975"/>
                  </a:cubicBezTo>
                  <a:cubicBezTo>
                    <a:pt x="2536951" y="1196425"/>
                    <a:pt x="2539928" y="1194612"/>
                    <a:pt x="2543175" y="1193800"/>
                  </a:cubicBezTo>
                  <a:cubicBezTo>
                    <a:pt x="2548410" y="1192491"/>
                    <a:pt x="2553758" y="1191683"/>
                    <a:pt x="2559050" y="1190625"/>
                  </a:cubicBezTo>
                  <a:cubicBezTo>
                    <a:pt x="2579158" y="1191683"/>
                    <a:pt x="2599382" y="1191401"/>
                    <a:pt x="2619375" y="1193800"/>
                  </a:cubicBezTo>
                  <a:cubicBezTo>
                    <a:pt x="2626021" y="1194597"/>
                    <a:pt x="2638425" y="1200150"/>
                    <a:pt x="2638425" y="1200150"/>
                  </a:cubicBezTo>
                  <a:lnTo>
                    <a:pt x="2651125" y="1219200"/>
                  </a:lnTo>
                  <a:cubicBezTo>
                    <a:pt x="2657363" y="1228558"/>
                    <a:pt x="2669774" y="1231766"/>
                    <a:pt x="2679700" y="1235075"/>
                  </a:cubicBezTo>
                  <a:cubicBezTo>
                    <a:pt x="2682875" y="1237192"/>
                    <a:pt x="2685812" y="1239718"/>
                    <a:pt x="2689225" y="1241425"/>
                  </a:cubicBezTo>
                  <a:cubicBezTo>
                    <a:pt x="2692218" y="1242922"/>
                    <a:pt x="2695965" y="1242744"/>
                    <a:pt x="2698750" y="1244600"/>
                  </a:cubicBezTo>
                  <a:cubicBezTo>
                    <a:pt x="2702486" y="1247091"/>
                    <a:pt x="2704731" y="1251368"/>
                    <a:pt x="2708275" y="1254125"/>
                  </a:cubicBezTo>
                  <a:cubicBezTo>
                    <a:pt x="2724651" y="1266862"/>
                    <a:pt x="2722479" y="1265210"/>
                    <a:pt x="2736850" y="1270000"/>
                  </a:cubicBezTo>
                  <a:cubicBezTo>
                    <a:pt x="2740025" y="1268942"/>
                    <a:pt x="2744008" y="1269192"/>
                    <a:pt x="2746375" y="1266825"/>
                  </a:cubicBezTo>
                  <a:cubicBezTo>
                    <a:pt x="2765992" y="1247208"/>
                    <a:pt x="2739912" y="1258396"/>
                    <a:pt x="2762250" y="1250950"/>
                  </a:cubicBezTo>
                  <a:cubicBezTo>
                    <a:pt x="2763308" y="1247775"/>
                    <a:pt x="2763569" y="1244210"/>
                    <a:pt x="2765425" y="1241425"/>
                  </a:cubicBezTo>
                  <a:cubicBezTo>
                    <a:pt x="2770314" y="1234091"/>
                    <a:pt x="2777447" y="1230236"/>
                    <a:pt x="2784475" y="1225550"/>
                  </a:cubicBezTo>
                  <a:cubicBezTo>
                    <a:pt x="2791883" y="1214438"/>
                    <a:pt x="2794000" y="1208617"/>
                    <a:pt x="2809875" y="1203325"/>
                  </a:cubicBezTo>
                  <a:lnTo>
                    <a:pt x="2828925" y="1196975"/>
                  </a:lnTo>
                  <a:lnTo>
                    <a:pt x="2838450" y="1193800"/>
                  </a:lnTo>
                  <a:cubicBezTo>
                    <a:pt x="2855383" y="1194858"/>
                    <a:pt x="2872377" y="1195199"/>
                    <a:pt x="2889250" y="1196975"/>
                  </a:cubicBezTo>
                  <a:cubicBezTo>
                    <a:pt x="2892578" y="1197325"/>
                    <a:pt x="2895557" y="1199231"/>
                    <a:pt x="2898775" y="1200150"/>
                  </a:cubicBezTo>
                  <a:cubicBezTo>
                    <a:pt x="2932364" y="1209747"/>
                    <a:pt x="2885254" y="1194585"/>
                    <a:pt x="2930525" y="1209675"/>
                  </a:cubicBezTo>
                  <a:cubicBezTo>
                    <a:pt x="2940764" y="1213088"/>
                    <a:pt x="2951692" y="1213908"/>
                    <a:pt x="2962275" y="1216025"/>
                  </a:cubicBezTo>
                  <a:lnTo>
                    <a:pt x="2978150" y="1219200"/>
                  </a:lnTo>
                  <a:cubicBezTo>
                    <a:pt x="3002063" y="1235142"/>
                    <a:pt x="2971672" y="1216424"/>
                    <a:pt x="3000375" y="1228725"/>
                  </a:cubicBezTo>
                  <a:cubicBezTo>
                    <a:pt x="3003882" y="1230228"/>
                    <a:pt x="3006393" y="1233572"/>
                    <a:pt x="3009900" y="1235075"/>
                  </a:cubicBezTo>
                  <a:cubicBezTo>
                    <a:pt x="3013911" y="1236794"/>
                    <a:pt x="3018404" y="1237051"/>
                    <a:pt x="3022600" y="1238250"/>
                  </a:cubicBezTo>
                  <a:cubicBezTo>
                    <a:pt x="3025818" y="1239169"/>
                    <a:pt x="3028950" y="1240367"/>
                    <a:pt x="3032125" y="1241425"/>
                  </a:cubicBezTo>
                  <a:cubicBezTo>
                    <a:pt x="3035300" y="1243542"/>
                    <a:pt x="3038237" y="1246068"/>
                    <a:pt x="3041650" y="1247775"/>
                  </a:cubicBezTo>
                  <a:cubicBezTo>
                    <a:pt x="3049243" y="1251571"/>
                    <a:pt x="3058806" y="1254552"/>
                    <a:pt x="3067050" y="1257300"/>
                  </a:cubicBezTo>
                  <a:cubicBezTo>
                    <a:pt x="3074628" y="1262352"/>
                    <a:pt x="3079252" y="1268828"/>
                    <a:pt x="3089275" y="1260475"/>
                  </a:cubicBezTo>
                  <a:cubicBezTo>
                    <a:pt x="3092911" y="1257445"/>
                    <a:pt x="3092595" y="1251411"/>
                    <a:pt x="3095625" y="1247775"/>
                  </a:cubicBezTo>
                  <a:cubicBezTo>
                    <a:pt x="3098068" y="1244844"/>
                    <a:pt x="3102219" y="1243868"/>
                    <a:pt x="3105150" y="1241425"/>
                  </a:cubicBezTo>
                  <a:cubicBezTo>
                    <a:pt x="3108599" y="1238550"/>
                    <a:pt x="3111226" y="1234775"/>
                    <a:pt x="3114675" y="1231900"/>
                  </a:cubicBezTo>
                  <a:cubicBezTo>
                    <a:pt x="3117606" y="1229457"/>
                    <a:pt x="3120787" y="1227257"/>
                    <a:pt x="3124200" y="1225550"/>
                  </a:cubicBezTo>
                  <a:cubicBezTo>
                    <a:pt x="3127193" y="1224053"/>
                    <a:pt x="3130424" y="1222925"/>
                    <a:pt x="3133725" y="1222375"/>
                  </a:cubicBezTo>
                  <a:cubicBezTo>
                    <a:pt x="3153476" y="1219083"/>
                    <a:pt x="3153807" y="1219200"/>
                    <a:pt x="3165475" y="1219200"/>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45" name="Freeform 20"/>
            <p:cNvSpPr/>
            <p:nvPr>
              <p:custDataLst>
                <p:tags r:id="rId5"/>
              </p:custDataLst>
            </p:nvPr>
          </p:nvSpPr>
          <p:spPr bwMode="gray">
            <a:xfrm>
              <a:off x="2575889" y="1395100"/>
              <a:ext cx="178865" cy="283381"/>
            </a:xfrm>
            <a:custGeom>
              <a:avLst/>
              <a:gdLst>
                <a:gd name="connsiteX0" fmla="*/ 61315 w 194665"/>
                <a:gd name="connsiteY0" fmla="*/ 317882 h 317882"/>
                <a:gd name="connsiteX1" fmla="*/ 61315 w 194665"/>
                <a:gd name="connsiteY1" fmla="*/ 317882 h 317882"/>
                <a:gd name="connsiteX2" fmla="*/ 990 w 194665"/>
                <a:gd name="connsiteY2" fmla="*/ 314707 h 317882"/>
                <a:gd name="connsiteX3" fmla="*/ 10515 w 194665"/>
                <a:gd name="connsiteY3" fmla="*/ 305182 h 317882"/>
                <a:gd name="connsiteX4" fmla="*/ 16865 w 194665"/>
                <a:gd name="connsiteY4" fmla="*/ 292482 h 317882"/>
                <a:gd name="connsiteX5" fmla="*/ 26390 w 194665"/>
                <a:gd name="connsiteY5" fmla="*/ 273432 h 317882"/>
                <a:gd name="connsiteX6" fmla="*/ 35915 w 194665"/>
                <a:gd name="connsiteY6" fmla="*/ 267082 h 317882"/>
                <a:gd name="connsiteX7" fmla="*/ 48615 w 194665"/>
                <a:gd name="connsiteY7" fmla="*/ 244857 h 317882"/>
                <a:gd name="connsiteX8" fmla="*/ 58140 w 194665"/>
                <a:gd name="connsiteY8" fmla="*/ 238507 h 317882"/>
                <a:gd name="connsiteX9" fmla="*/ 74015 w 194665"/>
                <a:gd name="connsiteY9" fmla="*/ 219457 h 317882"/>
                <a:gd name="connsiteX10" fmla="*/ 93065 w 194665"/>
                <a:gd name="connsiteY10" fmla="*/ 232157 h 317882"/>
                <a:gd name="connsiteX11" fmla="*/ 99415 w 194665"/>
                <a:gd name="connsiteY11" fmla="*/ 222632 h 317882"/>
                <a:gd name="connsiteX12" fmla="*/ 102590 w 194665"/>
                <a:gd name="connsiteY12" fmla="*/ 213107 h 317882"/>
                <a:gd name="connsiteX13" fmla="*/ 105765 w 194665"/>
                <a:gd name="connsiteY13" fmla="*/ 108332 h 317882"/>
                <a:gd name="connsiteX14" fmla="*/ 115290 w 194665"/>
                <a:gd name="connsiteY14" fmla="*/ 98807 h 317882"/>
                <a:gd name="connsiteX15" fmla="*/ 124815 w 194665"/>
                <a:gd name="connsiteY15" fmla="*/ 70232 h 317882"/>
                <a:gd name="connsiteX16" fmla="*/ 127990 w 194665"/>
                <a:gd name="connsiteY16" fmla="*/ 60707 h 317882"/>
                <a:gd name="connsiteX17" fmla="*/ 140690 w 194665"/>
                <a:gd name="connsiteY17" fmla="*/ 41657 h 317882"/>
                <a:gd name="connsiteX18" fmla="*/ 150215 w 194665"/>
                <a:gd name="connsiteY18" fmla="*/ 22607 h 317882"/>
                <a:gd name="connsiteX19" fmla="*/ 159740 w 194665"/>
                <a:gd name="connsiteY19" fmla="*/ 13082 h 317882"/>
                <a:gd name="connsiteX20" fmla="*/ 166090 w 194665"/>
                <a:gd name="connsiteY20" fmla="*/ 3557 h 317882"/>
                <a:gd name="connsiteX21" fmla="*/ 194665 w 194665"/>
                <a:gd name="connsiteY21" fmla="*/ 382 h 317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4665" h="317882">
                  <a:moveTo>
                    <a:pt x="61315" y="317882"/>
                  </a:moveTo>
                  <a:lnTo>
                    <a:pt x="61315" y="317882"/>
                  </a:lnTo>
                  <a:cubicBezTo>
                    <a:pt x="41207" y="316824"/>
                    <a:pt x="20525" y="319591"/>
                    <a:pt x="990" y="314707"/>
                  </a:cubicBezTo>
                  <a:cubicBezTo>
                    <a:pt x="-3366" y="313618"/>
                    <a:pt x="7905" y="308836"/>
                    <a:pt x="10515" y="305182"/>
                  </a:cubicBezTo>
                  <a:cubicBezTo>
                    <a:pt x="13266" y="301331"/>
                    <a:pt x="15001" y="296832"/>
                    <a:pt x="16865" y="292482"/>
                  </a:cubicBezTo>
                  <a:cubicBezTo>
                    <a:pt x="20738" y="283444"/>
                    <a:pt x="18763" y="281059"/>
                    <a:pt x="26390" y="273432"/>
                  </a:cubicBezTo>
                  <a:cubicBezTo>
                    <a:pt x="29088" y="270734"/>
                    <a:pt x="32740" y="269199"/>
                    <a:pt x="35915" y="267082"/>
                  </a:cubicBezTo>
                  <a:cubicBezTo>
                    <a:pt x="38405" y="262102"/>
                    <a:pt x="44127" y="249345"/>
                    <a:pt x="48615" y="244857"/>
                  </a:cubicBezTo>
                  <a:cubicBezTo>
                    <a:pt x="51313" y="242159"/>
                    <a:pt x="54965" y="240624"/>
                    <a:pt x="58140" y="238507"/>
                  </a:cubicBezTo>
                  <a:cubicBezTo>
                    <a:pt x="59817" y="235992"/>
                    <a:pt x="70222" y="219036"/>
                    <a:pt x="74015" y="219457"/>
                  </a:cubicBezTo>
                  <a:cubicBezTo>
                    <a:pt x="81600" y="220300"/>
                    <a:pt x="93065" y="232157"/>
                    <a:pt x="93065" y="232157"/>
                  </a:cubicBezTo>
                  <a:cubicBezTo>
                    <a:pt x="95182" y="228982"/>
                    <a:pt x="97708" y="226045"/>
                    <a:pt x="99415" y="222632"/>
                  </a:cubicBezTo>
                  <a:cubicBezTo>
                    <a:pt x="100912" y="219639"/>
                    <a:pt x="102404" y="216449"/>
                    <a:pt x="102590" y="213107"/>
                  </a:cubicBezTo>
                  <a:cubicBezTo>
                    <a:pt x="104528" y="178220"/>
                    <a:pt x="101906" y="143059"/>
                    <a:pt x="105765" y="108332"/>
                  </a:cubicBezTo>
                  <a:cubicBezTo>
                    <a:pt x="106261" y="103869"/>
                    <a:pt x="112115" y="101982"/>
                    <a:pt x="115290" y="98807"/>
                  </a:cubicBezTo>
                  <a:cubicBezTo>
                    <a:pt x="121184" y="63440"/>
                    <a:pt x="113654" y="92554"/>
                    <a:pt x="124815" y="70232"/>
                  </a:cubicBezTo>
                  <a:cubicBezTo>
                    <a:pt x="126312" y="67239"/>
                    <a:pt x="126365" y="63633"/>
                    <a:pt x="127990" y="60707"/>
                  </a:cubicBezTo>
                  <a:cubicBezTo>
                    <a:pt x="131696" y="54036"/>
                    <a:pt x="138277" y="48897"/>
                    <a:pt x="140690" y="41657"/>
                  </a:cubicBezTo>
                  <a:cubicBezTo>
                    <a:pt x="143872" y="32111"/>
                    <a:pt x="143376" y="30813"/>
                    <a:pt x="150215" y="22607"/>
                  </a:cubicBezTo>
                  <a:cubicBezTo>
                    <a:pt x="153090" y="19158"/>
                    <a:pt x="156865" y="16531"/>
                    <a:pt x="159740" y="13082"/>
                  </a:cubicBezTo>
                  <a:cubicBezTo>
                    <a:pt x="162183" y="10151"/>
                    <a:pt x="163110" y="5941"/>
                    <a:pt x="166090" y="3557"/>
                  </a:cubicBezTo>
                  <a:cubicBezTo>
                    <a:pt x="172569" y="-1626"/>
                    <a:pt x="189478" y="382"/>
                    <a:pt x="194665" y="382"/>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46" name="Freeform 21"/>
            <p:cNvSpPr/>
            <p:nvPr>
              <p:custDataLst>
                <p:tags r:id="rId6"/>
              </p:custDataLst>
            </p:nvPr>
          </p:nvSpPr>
          <p:spPr bwMode="gray">
            <a:xfrm>
              <a:off x="2524287" y="1851134"/>
              <a:ext cx="271309" cy="169824"/>
            </a:xfrm>
            <a:custGeom>
              <a:avLst/>
              <a:gdLst>
                <a:gd name="connsiteX0" fmla="*/ 295275 w 295275"/>
                <a:gd name="connsiteY0" fmla="*/ 168275 h 190500"/>
                <a:gd name="connsiteX1" fmla="*/ 295275 w 295275"/>
                <a:gd name="connsiteY1" fmla="*/ 168275 h 190500"/>
                <a:gd name="connsiteX2" fmla="*/ 266700 w 295275"/>
                <a:gd name="connsiteY2" fmla="*/ 171450 h 190500"/>
                <a:gd name="connsiteX3" fmla="*/ 215900 w 295275"/>
                <a:gd name="connsiteY3" fmla="*/ 177800 h 190500"/>
                <a:gd name="connsiteX4" fmla="*/ 187325 w 295275"/>
                <a:gd name="connsiteY4" fmla="*/ 187325 h 190500"/>
                <a:gd name="connsiteX5" fmla="*/ 177800 w 295275"/>
                <a:gd name="connsiteY5" fmla="*/ 190500 h 190500"/>
                <a:gd name="connsiteX6" fmla="*/ 142875 w 295275"/>
                <a:gd name="connsiteY6" fmla="*/ 187325 h 190500"/>
                <a:gd name="connsiteX7" fmla="*/ 133350 w 295275"/>
                <a:gd name="connsiteY7" fmla="*/ 168275 h 190500"/>
                <a:gd name="connsiteX8" fmla="*/ 114300 w 295275"/>
                <a:gd name="connsiteY8" fmla="*/ 149225 h 190500"/>
                <a:gd name="connsiteX9" fmla="*/ 95250 w 295275"/>
                <a:gd name="connsiteY9" fmla="*/ 133350 h 190500"/>
                <a:gd name="connsiteX10" fmla="*/ 88900 w 295275"/>
                <a:gd name="connsiteY10" fmla="*/ 123825 h 190500"/>
                <a:gd name="connsiteX11" fmla="*/ 57150 w 295275"/>
                <a:gd name="connsiteY11" fmla="*/ 101600 h 190500"/>
                <a:gd name="connsiteX12" fmla="*/ 47625 w 295275"/>
                <a:gd name="connsiteY12" fmla="*/ 95250 h 190500"/>
                <a:gd name="connsiteX13" fmla="*/ 28575 w 295275"/>
                <a:gd name="connsiteY13" fmla="*/ 82550 h 190500"/>
                <a:gd name="connsiteX14" fmla="*/ 19050 w 295275"/>
                <a:gd name="connsiteY14" fmla="*/ 76200 h 190500"/>
                <a:gd name="connsiteX15" fmla="*/ 6350 w 295275"/>
                <a:gd name="connsiteY15" fmla="*/ 73025 h 190500"/>
                <a:gd name="connsiteX16" fmla="*/ 0 w 295275"/>
                <a:gd name="connsiteY16" fmla="*/ 63500 h 190500"/>
                <a:gd name="connsiteX17" fmla="*/ 9525 w 295275"/>
                <a:gd name="connsiteY17" fmla="*/ 6350 h 190500"/>
                <a:gd name="connsiteX18" fmla="*/ 15875 w 295275"/>
                <a:gd name="connsiteY18"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5275" h="190500">
                  <a:moveTo>
                    <a:pt x="295275" y="168275"/>
                  </a:moveTo>
                  <a:lnTo>
                    <a:pt x="295275" y="168275"/>
                  </a:lnTo>
                  <a:lnTo>
                    <a:pt x="266700" y="171450"/>
                  </a:lnTo>
                  <a:cubicBezTo>
                    <a:pt x="239658" y="174025"/>
                    <a:pt x="235688" y="171863"/>
                    <a:pt x="215900" y="177800"/>
                  </a:cubicBezTo>
                  <a:cubicBezTo>
                    <a:pt x="206283" y="180685"/>
                    <a:pt x="196850" y="184150"/>
                    <a:pt x="187325" y="187325"/>
                  </a:cubicBezTo>
                  <a:lnTo>
                    <a:pt x="177800" y="190500"/>
                  </a:lnTo>
                  <a:cubicBezTo>
                    <a:pt x="166158" y="189442"/>
                    <a:pt x="154048" y="190763"/>
                    <a:pt x="142875" y="187325"/>
                  </a:cubicBezTo>
                  <a:cubicBezTo>
                    <a:pt x="135916" y="185184"/>
                    <a:pt x="136637" y="172502"/>
                    <a:pt x="133350" y="168275"/>
                  </a:cubicBezTo>
                  <a:cubicBezTo>
                    <a:pt x="127837" y="161186"/>
                    <a:pt x="120650" y="155575"/>
                    <a:pt x="114300" y="149225"/>
                  </a:cubicBezTo>
                  <a:cubicBezTo>
                    <a:pt x="102077" y="137002"/>
                    <a:pt x="108511" y="142191"/>
                    <a:pt x="95250" y="133350"/>
                  </a:cubicBezTo>
                  <a:cubicBezTo>
                    <a:pt x="93133" y="130175"/>
                    <a:pt x="91598" y="126523"/>
                    <a:pt x="88900" y="123825"/>
                  </a:cubicBezTo>
                  <a:cubicBezTo>
                    <a:pt x="84199" y="119124"/>
                    <a:pt x="60262" y="103675"/>
                    <a:pt x="57150" y="101600"/>
                  </a:cubicBezTo>
                  <a:cubicBezTo>
                    <a:pt x="53975" y="99483"/>
                    <a:pt x="50323" y="97948"/>
                    <a:pt x="47625" y="95250"/>
                  </a:cubicBezTo>
                  <a:cubicBezTo>
                    <a:pt x="35733" y="83358"/>
                    <a:pt x="42360" y="87145"/>
                    <a:pt x="28575" y="82550"/>
                  </a:cubicBezTo>
                  <a:cubicBezTo>
                    <a:pt x="25400" y="80433"/>
                    <a:pt x="22557" y="77703"/>
                    <a:pt x="19050" y="76200"/>
                  </a:cubicBezTo>
                  <a:cubicBezTo>
                    <a:pt x="15039" y="74481"/>
                    <a:pt x="9981" y="75446"/>
                    <a:pt x="6350" y="73025"/>
                  </a:cubicBezTo>
                  <a:cubicBezTo>
                    <a:pt x="3175" y="70908"/>
                    <a:pt x="2117" y="66675"/>
                    <a:pt x="0" y="63500"/>
                  </a:cubicBezTo>
                  <a:cubicBezTo>
                    <a:pt x="2278" y="29324"/>
                    <a:pt x="-5374" y="24974"/>
                    <a:pt x="9525" y="6350"/>
                  </a:cubicBezTo>
                  <a:cubicBezTo>
                    <a:pt x="11395" y="4013"/>
                    <a:pt x="13758" y="2117"/>
                    <a:pt x="15875" y="0"/>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47" name="Freeform 22"/>
            <p:cNvSpPr/>
            <p:nvPr>
              <p:custDataLst>
                <p:tags r:id="rId7"/>
              </p:custDataLst>
            </p:nvPr>
          </p:nvSpPr>
          <p:spPr bwMode="gray">
            <a:xfrm>
              <a:off x="3510334" y="2524773"/>
              <a:ext cx="2797692" cy="873135"/>
            </a:xfrm>
            <a:custGeom>
              <a:avLst/>
              <a:gdLst>
                <a:gd name="connsiteX0" fmla="*/ 0 w 3044825"/>
                <a:gd name="connsiteY0" fmla="*/ 0 h 974725"/>
                <a:gd name="connsiteX1" fmla="*/ 0 w 3044825"/>
                <a:gd name="connsiteY1" fmla="*/ 0 h 974725"/>
                <a:gd name="connsiteX2" fmla="*/ 22225 w 3044825"/>
                <a:gd name="connsiteY2" fmla="*/ 19050 h 974725"/>
                <a:gd name="connsiteX3" fmla="*/ 38100 w 3044825"/>
                <a:gd name="connsiteY3" fmla="*/ 38100 h 974725"/>
                <a:gd name="connsiteX4" fmla="*/ 53975 w 3044825"/>
                <a:gd name="connsiteY4" fmla="*/ 53975 h 974725"/>
                <a:gd name="connsiteX5" fmla="*/ 69850 w 3044825"/>
                <a:gd name="connsiteY5" fmla="*/ 66675 h 974725"/>
                <a:gd name="connsiteX6" fmla="*/ 95250 w 3044825"/>
                <a:gd name="connsiteY6" fmla="*/ 79375 h 974725"/>
                <a:gd name="connsiteX7" fmla="*/ 114300 w 3044825"/>
                <a:gd name="connsiteY7" fmla="*/ 92075 h 974725"/>
                <a:gd name="connsiteX8" fmla="*/ 123825 w 3044825"/>
                <a:gd name="connsiteY8" fmla="*/ 95250 h 974725"/>
                <a:gd name="connsiteX9" fmla="*/ 146050 w 3044825"/>
                <a:gd name="connsiteY9" fmla="*/ 111125 h 974725"/>
                <a:gd name="connsiteX10" fmla="*/ 155575 w 3044825"/>
                <a:gd name="connsiteY10" fmla="*/ 114300 h 974725"/>
                <a:gd name="connsiteX11" fmla="*/ 180975 w 3044825"/>
                <a:gd name="connsiteY11" fmla="*/ 123825 h 974725"/>
                <a:gd name="connsiteX12" fmla="*/ 200025 w 3044825"/>
                <a:gd name="connsiteY12" fmla="*/ 130175 h 974725"/>
                <a:gd name="connsiteX13" fmla="*/ 212725 w 3044825"/>
                <a:gd name="connsiteY13" fmla="*/ 133350 h 974725"/>
                <a:gd name="connsiteX14" fmla="*/ 231775 w 3044825"/>
                <a:gd name="connsiteY14" fmla="*/ 139700 h 974725"/>
                <a:gd name="connsiteX15" fmla="*/ 250825 w 3044825"/>
                <a:gd name="connsiteY15" fmla="*/ 142875 h 974725"/>
                <a:gd name="connsiteX16" fmla="*/ 279400 w 3044825"/>
                <a:gd name="connsiteY16" fmla="*/ 152400 h 974725"/>
                <a:gd name="connsiteX17" fmla="*/ 298450 w 3044825"/>
                <a:gd name="connsiteY17" fmla="*/ 155575 h 974725"/>
                <a:gd name="connsiteX18" fmla="*/ 317500 w 3044825"/>
                <a:gd name="connsiteY18" fmla="*/ 161925 h 974725"/>
                <a:gd name="connsiteX19" fmla="*/ 327025 w 3044825"/>
                <a:gd name="connsiteY19" fmla="*/ 165100 h 974725"/>
                <a:gd name="connsiteX20" fmla="*/ 336550 w 3044825"/>
                <a:gd name="connsiteY20" fmla="*/ 171450 h 974725"/>
                <a:gd name="connsiteX21" fmla="*/ 346075 w 3044825"/>
                <a:gd name="connsiteY21" fmla="*/ 180975 h 974725"/>
                <a:gd name="connsiteX22" fmla="*/ 355600 w 3044825"/>
                <a:gd name="connsiteY22" fmla="*/ 184150 h 974725"/>
                <a:gd name="connsiteX23" fmla="*/ 377825 w 3044825"/>
                <a:gd name="connsiteY23" fmla="*/ 196850 h 974725"/>
                <a:gd name="connsiteX24" fmla="*/ 396875 w 3044825"/>
                <a:gd name="connsiteY24" fmla="*/ 212725 h 974725"/>
                <a:gd name="connsiteX25" fmla="*/ 409575 w 3044825"/>
                <a:gd name="connsiteY25" fmla="*/ 219075 h 974725"/>
                <a:gd name="connsiteX26" fmla="*/ 428625 w 3044825"/>
                <a:gd name="connsiteY26" fmla="*/ 231775 h 974725"/>
                <a:gd name="connsiteX27" fmla="*/ 447675 w 3044825"/>
                <a:gd name="connsiteY27" fmla="*/ 244475 h 974725"/>
                <a:gd name="connsiteX28" fmla="*/ 466725 w 3044825"/>
                <a:gd name="connsiteY28" fmla="*/ 257175 h 974725"/>
                <a:gd name="connsiteX29" fmla="*/ 476250 w 3044825"/>
                <a:gd name="connsiteY29" fmla="*/ 263525 h 974725"/>
                <a:gd name="connsiteX30" fmla="*/ 495300 w 3044825"/>
                <a:gd name="connsiteY30" fmla="*/ 279400 h 974725"/>
                <a:gd name="connsiteX31" fmla="*/ 504825 w 3044825"/>
                <a:gd name="connsiteY31" fmla="*/ 282575 h 974725"/>
                <a:gd name="connsiteX32" fmla="*/ 514350 w 3044825"/>
                <a:gd name="connsiteY32" fmla="*/ 288925 h 974725"/>
                <a:gd name="connsiteX33" fmla="*/ 533400 w 3044825"/>
                <a:gd name="connsiteY33" fmla="*/ 298450 h 974725"/>
                <a:gd name="connsiteX34" fmla="*/ 549275 w 3044825"/>
                <a:gd name="connsiteY34" fmla="*/ 282575 h 974725"/>
                <a:gd name="connsiteX35" fmla="*/ 558800 w 3044825"/>
                <a:gd name="connsiteY35" fmla="*/ 279400 h 974725"/>
                <a:gd name="connsiteX36" fmla="*/ 590550 w 3044825"/>
                <a:gd name="connsiteY36" fmla="*/ 276225 h 974725"/>
                <a:gd name="connsiteX37" fmla="*/ 603250 w 3044825"/>
                <a:gd name="connsiteY37" fmla="*/ 234950 h 974725"/>
                <a:gd name="connsiteX38" fmla="*/ 622300 w 3044825"/>
                <a:gd name="connsiteY38" fmla="*/ 225425 h 974725"/>
                <a:gd name="connsiteX39" fmla="*/ 638175 w 3044825"/>
                <a:gd name="connsiteY39" fmla="*/ 209550 h 974725"/>
                <a:gd name="connsiteX40" fmla="*/ 657225 w 3044825"/>
                <a:gd name="connsiteY40" fmla="*/ 203200 h 974725"/>
                <a:gd name="connsiteX41" fmla="*/ 676275 w 3044825"/>
                <a:gd name="connsiteY41" fmla="*/ 190500 h 974725"/>
                <a:gd name="connsiteX42" fmla="*/ 685800 w 3044825"/>
                <a:gd name="connsiteY42" fmla="*/ 180975 h 974725"/>
                <a:gd name="connsiteX43" fmla="*/ 711200 w 3044825"/>
                <a:gd name="connsiteY43" fmla="*/ 174625 h 974725"/>
                <a:gd name="connsiteX44" fmla="*/ 736600 w 3044825"/>
                <a:gd name="connsiteY44" fmla="*/ 177800 h 974725"/>
                <a:gd name="connsiteX45" fmla="*/ 752475 w 3044825"/>
                <a:gd name="connsiteY45" fmla="*/ 193675 h 974725"/>
                <a:gd name="connsiteX46" fmla="*/ 762000 w 3044825"/>
                <a:gd name="connsiteY46" fmla="*/ 196850 h 974725"/>
                <a:gd name="connsiteX47" fmla="*/ 873125 w 3044825"/>
                <a:gd name="connsiteY47" fmla="*/ 193675 h 974725"/>
                <a:gd name="connsiteX48" fmla="*/ 908050 w 3044825"/>
                <a:gd name="connsiteY48" fmla="*/ 196850 h 974725"/>
                <a:gd name="connsiteX49" fmla="*/ 927100 w 3044825"/>
                <a:gd name="connsiteY49" fmla="*/ 215900 h 974725"/>
                <a:gd name="connsiteX50" fmla="*/ 936625 w 3044825"/>
                <a:gd name="connsiteY50" fmla="*/ 225425 h 974725"/>
                <a:gd name="connsiteX51" fmla="*/ 946150 w 3044825"/>
                <a:gd name="connsiteY51" fmla="*/ 234950 h 974725"/>
                <a:gd name="connsiteX52" fmla="*/ 955675 w 3044825"/>
                <a:gd name="connsiteY52" fmla="*/ 241300 h 974725"/>
                <a:gd name="connsiteX53" fmla="*/ 1162050 w 3044825"/>
                <a:gd name="connsiteY53" fmla="*/ 244475 h 974725"/>
                <a:gd name="connsiteX54" fmla="*/ 1184275 w 3044825"/>
                <a:gd name="connsiteY54" fmla="*/ 266700 h 974725"/>
                <a:gd name="connsiteX55" fmla="*/ 1196975 w 3044825"/>
                <a:gd name="connsiteY55" fmla="*/ 285750 h 974725"/>
                <a:gd name="connsiteX56" fmla="*/ 1206500 w 3044825"/>
                <a:gd name="connsiteY56" fmla="*/ 292100 h 974725"/>
                <a:gd name="connsiteX57" fmla="*/ 1225550 w 3044825"/>
                <a:gd name="connsiteY57" fmla="*/ 307975 h 974725"/>
                <a:gd name="connsiteX58" fmla="*/ 1257300 w 3044825"/>
                <a:gd name="connsiteY58" fmla="*/ 301625 h 974725"/>
                <a:gd name="connsiteX59" fmla="*/ 1266825 w 3044825"/>
                <a:gd name="connsiteY59" fmla="*/ 295275 h 974725"/>
                <a:gd name="connsiteX60" fmla="*/ 1295400 w 3044825"/>
                <a:gd name="connsiteY60" fmla="*/ 292100 h 974725"/>
                <a:gd name="connsiteX61" fmla="*/ 1320800 w 3044825"/>
                <a:gd name="connsiteY61" fmla="*/ 276225 h 974725"/>
                <a:gd name="connsiteX62" fmla="*/ 1339850 w 3044825"/>
                <a:gd name="connsiteY62" fmla="*/ 273050 h 974725"/>
                <a:gd name="connsiteX63" fmla="*/ 1346200 w 3044825"/>
                <a:gd name="connsiteY63" fmla="*/ 263525 h 974725"/>
                <a:gd name="connsiteX64" fmla="*/ 1368425 w 3044825"/>
                <a:gd name="connsiteY64" fmla="*/ 254000 h 974725"/>
                <a:gd name="connsiteX65" fmla="*/ 1377950 w 3044825"/>
                <a:gd name="connsiteY65" fmla="*/ 247650 h 974725"/>
                <a:gd name="connsiteX66" fmla="*/ 1387475 w 3044825"/>
                <a:gd name="connsiteY66" fmla="*/ 244475 h 974725"/>
                <a:gd name="connsiteX67" fmla="*/ 1409700 w 3044825"/>
                <a:gd name="connsiteY67" fmla="*/ 228600 h 974725"/>
                <a:gd name="connsiteX68" fmla="*/ 1425575 w 3044825"/>
                <a:gd name="connsiteY68" fmla="*/ 225425 h 974725"/>
                <a:gd name="connsiteX69" fmla="*/ 1435100 w 3044825"/>
                <a:gd name="connsiteY69" fmla="*/ 222250 h 974725"/>
                <a:gd name="connsiteX70" fmla="*/ 1447800 w 3044825"/>
                <a:gd name="connsiteY70" fmla="*/ 219075 h 974725"/>
                <a:gd name="connsiteX71" fmla="*/ 1470025 w 3044825"/>
                <a:gd name="connsiteY71" fmla="*/ 209550 h 974725"/>
                <a:gd name="connsiteX72" fmla="*/ 1479550 w 3044825"/>
                <a:gd name="connsiteY72" fmla="*/ 206375 h 974725"/>
                <a:gd name="connsiteX73" fmla="*/ 1508125 w 3044825"/>
                <a:gd name="connsiteY73" fmla="*/ 190500 h 974725"/>
                <a:gd name="connsiteX74" fmla="*/ 1527175 w 3044825"/>
                <a:gd name="connsiteY74" fmla="*/ 180975 h 974725"/>
                <a:gd name="connsiteX75" fmla="*/ 1539875 w 3044825"/>
                <a:gd name="connsiteY75" fmla="*/ 184150 h 974725"/>
                <a:gd name="connsiteX76" fmla="*/ 1558925 w 3044825"/>
                <a:gd name="connsiteY76" fmla="*/ 190500 h 974725"/>
                <a:gd name="connsiteX77" fmla="*/ 1568450 w 3044825"/>
                <a:gd name="connsiteY77" fmla="*/ 196850 h 974725"/>
                <a:gd name="connsiteX78" fmla="*/ 1600200 w 3044825"/>
                <a:gd name="connsiteY78" fmla="*/ 203200 h 974725"/>
                <a:gd name="connsiteX79" fmla="*/ 1657350 w 3044825"/>
                <a:gd name="connsiteY79" fmla="*/ 212725 h 974725"/>
                <a:gd name="connsiteX80" fmla="*/ 1695450 w 3044825"/>
                <a:gd name="connsiteY80" fmla="*/ 238125 h 974725"/>
                <a:gd name="connsiteX81" fmla="*/ 1708150 w 3044825"/>
                <a:gd name="connsiteY81" fmla="*/ 247650 h 974725"/>
                <a:gd name="connsiteX82" fmla="*/ 1711325 w 3044825"/>
                <a:gd name="connsiteY82" fmla="*/ 266700 h 974725"/>
                <a:gd name="connsiteX83" fmla="*/ 1724025 w 3044825"/>
                <a:gd name="connsiteY83" fmla="*/ 273050 h 974725"/>
                <a:gd name="connsiteX84" fmla="*/ 1743075 w 3044825"/>
                <a:gd name="connsiteY84" fmla="*/ 279400 h 974725"/>
                <a:gd name="connsiteX85" fmla="*/ 1752600 w 3044825"/>
                <a:gd name="connsiteY85" fmla="*/ 282575 h 974725"/>
                <a:gd name="connsiteX86" fmla="*/ 1774825 w 3044825"/>
                <a:gd name="connsiteY86" fmla="*/ 288925 h 974725"/>
                <a:gd name="connsiteX87" fmla="*/ 1793875 w 3044825"/>
                <a:gd name="connsiteY87" fmla="*/ 301625 h 974725"/>
                <a:gd name="connsiteX88" fmla="*/ 1797050 w 3044825"/>
                <a:gd name="connsiteY88" fmla="*/ 317500 h 974725"/>
                <a:gd name="connsiteX89" fmla="*/ 1920875 w 3044825"/>
                <a:gd name="connsiteY89" fmla="*/ 374650 h 974725"/>
                <a:gd name="connsiteX90" fmla="*/ 1968500 w 3044825"/>
                <a:gd name="connsiteY90" fmla="*/ 381000 h 974725"/>
                <a:gd name="connsiteX91" fmla="*/ 1987550 w 3044825"/>
                <a:gd name="connsiteY91" fmla="*/ 393700 h 974725"/>
                <a:gd name="connsiteX92" fmla="*/ 1997075 w 3044825"/>
                <a:gd name="connsiteY92" fmla="*/ 412750 h 974725"/>
                <a:gd name="connsiteX93" fmla="*/ 2003425 w 3044825"/>
                <a:gd name="connsiteY93" fmla="*/ 422275 h 974725"/>
                <a:gd name="connsiteX94" fmla="*/ 2006600 w 3044825"/>
                <a:gd name="connsiteY94" fmla="*/ 431800 h 974725"/>
                <a:gd name="connsiteX95" fmla="*/ 2019300 w 3044825"/>
                <a:gd name="connsiteY95" fmla="*/ 460375 h 974725"/>
                <a:gd name="connsiteX96" fmla="*/ 2032000 w 3044825"/>
                <a:gd name="connsiteY96" fmla="*/ 479425 h 974725"/>
                <a:gd name="connsiteX97" fmla="*/ 2063750 w 3044825"/>
                <a:gd name="connsiteY97" fmla="*/ 511175 h 974725"/>
                <a:gd name="connsiteX98" fmla="*/ 2073275 w 3044825"/>
                <a:gd name="connsiteY98" fmla="*/ 520700 h 974725"/>
                <a:gd name="connsiteX99" fmla="*/ 2095500 w 3044825"/>
                <a:gd name="connsiteY99" fmla="*/ 546100 h 974725"/>
                <a:gd name="connsiteX100" fmla="*/ 2101850 w 3044825"/>
                <a:gd name="connsiteY100" fmla="*/ 555625 h 974725"/>
                <a:gd name="connsiteX101" fmla="*/ 2111375 w 3044825"/>
                <a:gd name="connsiteY101" fmla="*/ 561975 h 974725"/>
                <a:gd name="connsiteX102" fmla="*/ 2114550 w 3044825"/>
                <a:gd name="connsiteY102" fmla="*/ 571500 h 974725"/>
                <a:gd name="connsiteX103" fmla="*/ 2124075 w 3044825"/>
                <a:gd name="connsiteY103" fmla="*/ 581025 h 974725"/>
                <a:gd name="connsiteX104" fmla="*/ 2146300 w 3044825"/>
                <a:gd name="connsiteY104" fmla="*/ 596900 h 974725"/>
                <a:gd name="connsiteX105" fmla="*/ 2155825 w 3044825"/>
                <a:gd name="connsiteY105" fmla="*/ 600075 h 974725"/>
                <a:gd name="connsiteX106" fmla="*/ 2171700 w 3044825"/>
                <a:gd name="connsiteY106" fmla="*/ 619125 h 974725"/>
                <a:gd name="connsiteX107" fmla="*/ 2178050 w 3044825"/>
                <a:gd name="connsiteY107" fmla="*/ 628650 h 974725"/>
                <a:gd name="connsiteX108" fmla="*/ 2197100 w 3044825"/>
                <a:gd name="connsiteY108" fmla="*/ 638175 h 974725"/>
                <a:gd name="connsiteX109" fmla="*/ 2222500 w 3044825"/>
                <a:gd name="connsiteY109" fmla="*/ 644525 h 974725"/>
                <a:gd name="connsiteX110" fmla="*/ 2247900 w 3044825"/>
                <a:gd name="connsiteY110" fmla="*/ 647700 h 974725"/>
                <a:gd name="connsiteX111" fmla="*/ 2266950 w 3044825"/>
                <a:gd name="connsiteY111" fmla="*/ 650875 h 974725"/>
                <a:gd name="connsiteX112" fmla="*/ 2317750 w 3044825"/>
                <a:gd name="connsiteY112" fmla="*/ 654050 h 974725"/>
                <a:gd name="connsiteX113" fmla="*/ 2333625 w 3044825"/>
                <a:gd name="connsiteY113" fmla="*/ 669925 h 974725"/>
                <a:gd name="connsiteX114" fmla="*/ 2346325 w 3044825"/>
                <a:gd name="connsiteY114" fmla="*/ 695325 h 974725"/>
                <a:gd name="connsiteX115" fmla="*/ 2359025 w 3044825"/>
                <a:gd name="connsiteY115" fmla="*/ 714375 h 974725"/>
                <a:gd name="connsiteX116" fmla="*/ 2365375 w 3044825"/>
                <a:gd name="connsiteY116" fmla="*/ 723900 h 974725"/>
                <a:gd name="connsiteX117" fmla="*/ 2374900 w 3044825"/>
                <a:gd name="connsiteY117" fmla="*/ 733425 h 974725"/>
                <a:gd name="connsiteX118" fmla="*/ 2381250 w 3044825"/>
                <a:gd name="connsiteY118" fmla="*/ 742950 h 974725"/>
                <a:gd name="connsiteX119" fmla="*/ 2390775 w 3044825"/>
                <a:gd name="connsiteY119" fmla="*/ 749300 h 974725"/>
                <a:gd name="connsiteX120" fmla="*/ 2413000 w 3044825"/>
                <a:gd name="connsiteY120" fmla="*/ 771525 h 974725"/>
                <a:gd name="connsiteX121" fmla="*/ 2419350 w 3044825"/>
                <a:gd name="connsiteY121" fmla="*/ 781050 h 974725"/>
                <a:gd name="connsiteX122" fmla="*/ 2428875 w 3044825"/>
                <a:gd name="connsiteY122" fmla="*/ 787400 h 974725"/>
                <a:gd name="connsiteX123" fmla="*/ 2444750 w 3044825"/>
                <a:gd name="connsiteY123" fmla="*/ 806450 h 974725"/>
                <a:gd name="connsiteX124" fmla="*/ 2454275 w 3044825"/>
                <a:gd name="connsiteY124" fmla="*/ 812800 h 974725"/>
                <a:gd name="connsiteX125" fmla="*/ 2470150 w 3044825"/>
                <a:gd name="connsiteY125" fmla="*/ 828675 h 974725"/>
                <a:gd name="connsiteX126" fmla="*/ 2486025 w 3044825"/>
                <a:gd name="connsiteY126" fmla="*/ 844550 h 974725"/>
                <a:gd name="connsiteX127" fmla="*/ 2501900 w 3044825"/>
                <a:gd name="connsiteY127" fmla="*/ 863600 h 974725"/>
                <a:gd name="connsiteX128" fmla="*/ 2517775 w 3044825"/>
                <a:gd name="connsiteY128" fmla="*/ 879475 h 974725"/>
                <a:gd name="connsiteX129" fmla="*/ 2520950 w 3044825"/>
                <a:gd name="connsiteY129" fmla="*/ 889000 h 974725"/>
                <a:gd name="connsiteX130" fmla="*/ 2536825 w 3044825"/>
                <a:gd name="connsiteY130" fmla="*/ 908050 h 974725"/>
                <a:gd name="connsiteX131" fmla="*/ 2540000 w 3044825"/>
                <a:gd name="connsiteY131" fmla="*/ 917575 h 974725"/>
                <a:gd name="connsiteX132" fmla="*/ 2559050 w 3044825"/>
                <a:gd name="connsiteY132" fmla="*/ 930275 h 974725"/>
                <a:gd name="connsiteX133" fmla="*/ 2578100 w 3044825"/>
                <a:gd name="connsiteY133" fmla="*/ 939800 h 974725"/>
                <a:gd name="connsiteX134" fmla="*/ 2606675 w 3044825"/>
                <a:gd name="connsiteY134" fmla="*/ 962025 h 974725"/>
                <a:gd name="connsiteX135" fmla="*/ 2616200 w 3044825"/>
                <a:gd name="connsiteY135" fmla="*/ 968375 h 974725"/>
                <a:gd name="connsiteX136" fmla="*/ 2625725 w 3044825"/>
                <a:gd name="connsiteY136" fmla="*/ 974725 h 974725"/>
                <a:gd name="connsiteX137" fmla="*/ 2705100 w 3044825"/>
                <a:gd name="connsiteY137" fmla="*/ 958850 h 974725"/>
                <a:gd name="connsiteX138" fmla="*/ 2705100 w 3044825"/>
                <a:gd name="connsiteY138" fmla="*/ 958850 h 974725"/>
                <a:gd name="connsiteX139" fmla="*/ 2724150 w 3044825"/>
                <a:gd name="connsiteY139" fmla="*/ 952500 h 974725"/>
                <a:gd name="connsiteX140" fmla="*/ 2736850 w 3044825"/>
                <a:gd name="connsiteY140" fmla="*/ 949325 h 974725"/>
                <a:gd name="connsiteX141" fmla="*/ 2755900 w 3044825"/>
                <a:gd name="connsiteY141" fmla="*/ 942975 h 974725"/>
                <a:gd name="connsiteX142" fmla="*/ 2762250 w 3044825"/>
                <a:gd name="connsiteY142" fmla="*/ 923925 h 974725"/>
                <a:gd name="connsiteX143" fmla="*/ 2771775 w 3044825"/>
                <a:gd name="connsiteY143" fmla="*/ 914400 h 974725"/>
                <a:gd name="connsiteX144" fmla="*/ 2784475 w 3044825"/>
                <a:gd name="connsiteY144" fmla="*/ 895350 h 974725"/>
                <a:gd name="connsiteX145" fmla="*/ 2794000 w 3044825"/>
                <a:gd name="connsiteY145" fmla="*/ 885825 h 974725"/>
                <a:gd name="connsiteX146" fmla="*/ 2813050 w 3044825"/>
                <a:gd name="connsiteY146" fmla="*/ 869950 h 974725"/>
                <a:gd name="connsiteX147" fmla="*/ 2825750 w 3044825"/>
                <a:gd name="connsiteY147" fmla="*/ 854075 h 974725"/>
                <a:gd name="connsiteX148" fmla="*/ 2841625 w 3044825"/>
                <a:gd name="connsiteY148" fmla="*/ 838200 h 974725"/>
                <a:gd name="connsiteX149" fmla="*/ 2863850 w 3044825"/>
                <a:gd name="connsiteY149" fmla="*/ 822325 h 974725"/>
                <a:gd name="connsiteX150" fmla="*/ 2882900 w 3044825"/>
                <a:gd name="connsiteY150" fmla="*/ 815975 h 974725"/>
                <a:gd name="connsiteX151" fmla="*/ 2905125 w 3044825"/>
                <a:gd name="connsiteY151" fmla="*/ 809625 h 974725"/>
                <a:gd name="connsiteX152" fmla="*/ 2921000 w 3044825"/>
                <a:gd name="connsiteY152" fmla="*/ 806450 h 974725"/>
                <a:gd name="connsiteX153" fmla="*/ 2930525 w 3044825"/>
                <a:gd name="connsiteY153" fmla="*/ 803275 h 974725"/>
                <a:gd name="connsiteX154" fmla="*/ 2943225 w 3044825"/>
                <a:gd name="connsiteY154" fmla="*/ 800100 h 974725"/>
                <a:gd name="connsiteX155" fmla="*/ 2955925 w 3044825"/>
                <a:gd name="connsiteY155" fmla="*/ 793750 h 974725"/>
                <a:gd name="connsiteX156" fmla="*/ 2965450 w 3044825"/>
                <a:gd name="connsiteY156" fmla="*/ 790575 h 974725"/>
                <a:gd name="connsiteX157" fmla="*/ 2974975 w 3044825"/>
                <a:gd name="connsiteY157" fmla="*/ 781050 h 974725"/>
                <a:gd name="connsiteX158" fmla="*/ 2984500 w 3044825"/>
                <a:gd name="connsiteY158" fmla="*/ 774700 h 974725"/>
                <a:gd name="connsiteX159" fmla="*/ 2987675 w 3044825"/>
                <a:gd name="connsiteY159" fmla="*/ 765175 h 974725"/>
                <a:gd name="connsiteX160" fmla="*/ 2997200 w 3044825"/>
                <a:gd name="connsiteY160" fmla="*/ 755650 h 974725"/>
                <a:gd name="connsiteX161" fmla="*/ 3006725 w 3044825"/>
                <a:gd name="connsiteY161" fmla="*/ 698500 h 974725"/>
                <a:gd name="connsiteX162" fmla="*/ 3013075 w 3044825"/>
                <a:gd name="connsiteY162" fmla="*/ 688975 h 974725"/>
                <a:gd name="connsiteX163" fmla="*/ 3032125 w 3044825"/>
                <a:gd name="connsiteY163" fmla="*/ 676275 h 974725"/>
                <a:gd name="connsiteX164" fmla="*/ 3044825 w 3044825"/>
                <a:gd name="connsiteY164" fmla="*/ 673100 h 974725"/>
                <a:gd name="connsiteX0" fmla="*/ 0 w 3044825"/>
                <a:gd name="connsiteY0" fmla="*/ 0 h 974725"/>
                <a:gd name="connsiteX1" fmla="*/ 0 w 3044825"/>
                <a:gd name="connsiteY1" fmla="*/ 0 h 974725"/>
                <a:gd name="connsiteX2" fmla="*/ 22225 w 3044825"/>
                <a:gd name="connsiteY2" fmla="*/ 19050 h 974725"/>
                <a:gd name="connsiteX3" fmla="*/ 38100 w 3044825"/>
                <a:gd name="connsiteY3" fmla="*/ 38100 h 974725"/>
                <a:gd name="connsiteX4" fmla="*/ 53975 w 3044825"/>
                <a:gd name="connsiteY4" fmla="*/ 53975 h 974725"/>
                <a:gd name="connsiteX5" fmla="*/ 69850 w 3044825"/>
                <a:gd name="connsiteY5" fmla="*/ 66675 h 974725"/>
                <a:gd name="connsiteX6" fmla="*/ 95250 w 3044825"/>
                <a:gd name="connsiteY6" fmla="*/ 79375 h 974725"/>
                <a:gd name="connsiteX7" fmla="*/ 114300 w 3044825"/>
                <a:gd name="connsiteY7" fmla="*/ 92075 h 974725"/>
                <a:gd name="connsiteX8" fmla="*/ 123825 w 3044825"/>
                <a:gd name="connsiteY8" fmla="*/ 95250 h 974725"/>
                <a:gd name="connsiteX9" fmla="*/ 146050 w 3044825"/>
                <a:gd name="connsiteY9" fmla="*/ 111125 h 974725"/>
                <a:gd name="connsiteX10" fmla="*/ 155575 w 3044825"/>
                <a:gd name="connsiteY10" fmla="*/ 114300 h 974725"/>
                <a:gd name="connsiteX11" fmla="*/ 180975 w 3044825"/>
                <a:gd name="connsiteY11" fmla="*/ 123825 h 974725"/>
                <a:gd name="connsiteX12" fmla="*/ 200025 w 3044825"/>
                <a:gd name="connsiteY12" fmla="*/ 130175 h 974725"/>
                <a:gd name="connsiteX13" fmla="*/ 212725 w 3044825"/>
                <a:gd name="connsiteY13" fmla="*/ 133350 h 974725"/>
                <a:gd name="connsiteX14" fmla="*/ 231775 w 3044825"/>
                <a:gd name="connsiteY14" fmla="*/ 139700 h 974725"/>
                <a:gd name="connsiteX15" fmla="*/ 250825 w 3044825"/>
                <a:gd name="connsiteY15" fmla="*/ 142875 h 974725"/>
                <a:gd name="connsiteX16" fmla="*/ 279400 w 3044825"/>
                <a:gd name="connsiteY16" fmla="*/ 152400 h 974725"/>
                <a:gd name="connsiteX17" fmla="*/ 298450 w 3044825"/>
                <a:gd name="connsiteY17" fmla="*/ 155575 h 974725"/>
                <a:gd name="connsiteX18" fmla="*/ 317500 w 3044825"/>
                <a:gd name="connsiteY18" fmla="*/ 161925 h 974725"/>
                <a:gd name="connsiteX19" fmla="*/ 327025 w 3044825"/>
                <a:gd name="connsiteY19" fmla="*/ 165100 h 974725"/>
                <a:gd name="connsiteX20" fmla="*/ 336550 w 3044825"/>
                <a:gd name="connsiteY20" fmla="*/ 171450 h 974725"/>
                <a:gd name="connsiteX21" fmla="*/ 346075 w 3044825"/>
                <a:gd name="connsiteY21" fmla="*/ 180975 h 974725"/>
                <a:gd name="connsiteX22" fmla="*/ 355600 w 3044825"/>
                <a:gd name="connsiteY22" fmla="*/ 184150 h 974725"/>
                <a:gd name="connsiteX23" fmla="*/ 377825 w 3044825"/>
                <a:gd name="connsiteY23" fmla="*/ 196850 h 974725"/>
                <a:gd name="connsiteX24" fmla="*/ 396875 w 3044825"/>
                <a:gd name="connsiteY24" fmla="*/ 212725 h 974725"/>
                <a:gd name="connsiteX25" fmla="*/ 409575 w 3044825"/>
                <a:gd name="connsiteY25" fmla="*/ 219075 h 974725"/>
                <a:gd name="connsiteX26" fmla="*/ 428625 w 3044825"/>
                <a:gd name="connsiteY26" fmla="*/ 231775 h 974725"/>
                <a:gd name="connsiteX27" fmla="*/ 447675 w 3044825"/>
                <a:gd name="connsiteY27" fmla="*/ 244475 h 974725"/>
                <a:gd name="connsiteX28" fmla="*/ 466725 w 3044825"/>
                <a:gd name="connsiteY28" fmla="*/ 257175 h 974725"/>
                <a:gd name="connsiteX29" fmla="*/ 476250 w 3044825"/>
                <a:gd name="connsiteY29" fmla="*/ 263525 h 974725"/>
                <a:gd name="connsiteX30" fmla="*/ 495300 w 3044825"/>
                <a:gd name="connsiteY30" fmla="*/ 279400 h 974725"/>
                <a:gd name="connsiteX31" fmla="*/ 504825 w 3044825"/>
                <a:gd name="connsiteY31" fmla="*/ 282575 h 974725"/>
                <a:gd name="connsiteX32" fmla="*/ 514350 w 3044825"/>
                <a:gd name="connsiteY32" fmla="*/ 288925 h 974725"/>
                <a:gd name="connsiteX33" fmla="*/ 533400 w 3044825"/>
                <a:gd name="connsiteY33" fmla="*/ 298450 h 974725"/>
                <a:gd name="connsiteX34" fmla="*/ 549275 w 3044825"/>
                <a:gd name="connsiteY34" fmla="*/ 282575 h 974725"/>
                <a:gd name="connsiteX35" fmla="*/ 558800 w 3044825"/>
                <a:gd name="connsiteY35" fmla="*/ 279400 h 974725"/>
                <a:gd name="connsiteX36" fmla="*/ 590550 w 3044825"/>
                <a:gd name="connsiteY36" fmla="*/ 276225 h 974725"/>
                <a:gd name="connsiteX37" fmla="*/ 603250 w 3044825"/>
                <a:gd name="connsiteY37" fmla="*/ 234950 h 974725"/>
                <a:gd name="connsiteX38" fmla="*/ 622300 w 3044825"/>
                <a:gd name="connsiteY38" fmla="*/ 225425 h 974725"/>
                <a:gd name="connsiteX39" fmla="*/ 638175 w 3044825"/>
                <a:gd name="connsiteY39" fmla="*/ 209550 h 974725"/>
                <a:gd name="connsiteX40" fmla="*/ 657225 w 3044825"/>
                <a:gd name="connsiteY40" fmla="*/ 203200 h 974725"/>
                <a:gd name="connsiteX41" fmla="*/ 676275 w 3044825"/>
                <a:gd name="connsiteY41" fmla="*/ 190500 h 974725"/>
                <a:gd name="connsiteX42" fmla="*/ 685800 w 3044825"/>
                <a:gd name="connsiteY42" fmla="*/ 180975 h 974725"/>
                <a:gd name="connsiteX43" fmla="*/ 711200 w 3044825"/>
                <a:gd name="connsiteY43" fmla="*/ 174625 h 974725"/>
                <a:gd name="connsiteX44" fmla="*/ 736600 w 3044825"/>
                <a:gd name="connsiteY44" fmla="*/ 177800 h 974725"/>
                <a:gd name="connsiteX45" fmla="*/ 752475 w 3044825"/>
                <a:gd name="connsiteY45" fmla="*/ 193675 h 974725"/>
                <a:gd name="connsiteX46" fmla="*/ 762000 w 3044825"/>
                <a:gd name="connsiteY46" fmla="*/ 196850 h 974725"/>
                <a:gd name="connsiteX47" fmla="*/ 873125 w 3044825"/>
                <a:gd name="connsiteY47" fmla="*/ 193675 h 974725"/>
                <a:gd name="connsiteX48" fmla="*/ 908050 w 3044825"/>
                <a:gd name="connsiteY48" fmla="*/ 196850 h 974725"/>
                <a:gd name="connsiteX49" fmla="*/ 927100 w 3044825"/>
                <a:gd name="connsiteY49" fmla="*/ 215900 h 974725"/>
                <a:gd name="connsiteX50" fmla="*/ 936625 w 3044825"/>
                <a:gd name="connsiteY50" fmla="*/ 225425 h 974725"/>
                <a:gd name="connsiteX51" fmla="*/ 946150 w 3044825"/>
                <a:gd name="connsiteY51" fmla="*/ 234950 h 974725"/>
                <a:gd name="connsiteX52" fmla="*/ 955675 w 3044825"/>
                <a:gd name="connsiteY52" fmla="*/ 241300 h 974725"/>
                <a:gd name="connsiteX53" fmla="*/ 1162050 w 3044825"/>
                <a:gd name="connsiteY53" fmla="*/ 244475 h 974725"/>
                <a:gd name="connsiteX54" fmla="*/ 1184275 w 3044825"/>
                <a:gd name="connsiteY54" fmla="*/ 266700 h 974725"/>
                <a:gd name="connsiteX55" fmla="*/ 1196975 w 3044825"/>
                <a:gd name="connsiteY55" fmla="*/ 285750 h 974725"/>
                <a:gd name="connsiteX56" fmla="*/ 1206500 w 3044825"/>
                <a:gd name="connsiteY56" fmla="*/ 292100 h 974725"/>
                <a:gd name="connsiteX57" fmla="*/ 1225550 w 3044825"/>
                <a:gd name="connsiteY57" fmla="*/ 307975 h 974725"/>
                <a:gd name="connsiteX58" fmla="*/ 1257300 w 3044825"/>
                <a:gd name="connsiteY58" fmla="*/ 301625 h 974725"/>
                <a:gd name="connsiteX59" fmla="*/ 1266825 w 3044825"/>
                <a:gd name="connsiteY59" fmla="*/ 295275 h 974725"/>
                <a:gd name="connsiteX60" fmla="*/ 1295400 w 3044825"/>
                <a:gd name="connsiteY60" fmla="*/ 292100 h 974725"/>
                <a:gd name="connsiteX61" fmla="*/ 1320800 w 3044825"/>
                <a:gd name="connsiteY61" fmla="*/ 276225 h 974725"/>
                <a:gd name="connsiteX62" fmla="*/ 1339850 w 3044825"/>
                <a:gd name="connsiteY62" fmla="*/ 273050 h 974725"/>
                <a:gd name="connsiteX63" fmla="*/ 1346200 w 3044825"/>
                <a:gd name="connsiteY63" fmla="*/ 263525 h 974725"/>
                <a:gd name="connsiteX64" fmla="*/ 1368425 w 3044825"/>
                <a:gd name="connsiteY64" fmla="*/ 254000 h 974725"/>
                <a:gd name="connsiteX65" fmla="*/ 1377950 w 3044825"/>
                <a:gd name="connsiteY65" fmla="*/ 247650 h 974725"/>
                <a:gd name="connsiteX66" fmla="*/ 1387475 w 3044825"/>
                <a:gd name="connsiteY66" fmla="*/ 244475 h 974725"/>
                <a:gd name="connsiteX67" fmla="*/ 1409700 w 3044825"/>
                <a:gd name="connsiteY67" fmla="*/ 228600 h 974725"/>
                <a:gd name="connsiteX68" fmla="*/ 1425575 w 3044825"/>
                <a:gd name="connsiteY68" fmla="*/ 225425 h 974725"/>
                <a:gd name="connsiteX69" fmla="*/ 1435100 w 3044825"/>
                <a:gd name="connsiteY69" fmla="*/ 222250 h 974725"/>
                <a:gd name="connsiteX70" fmla="*/ 1447800 w 3044825"/>
                <a:gd name="connsiteY70" fmla="*/ 219075 h 974725"/>
                <a:gd name="connsiteX71" fmla="*/ 1470025 w 3044825"/>
                <a:gd name="connsiteY71" fmla="*/ 209550 h 974725"/>
                <a:gd name="connsiteX72" fmla="*/ 1479550 w 3044825"/>
                <a:gd name="connsiteY72" fmla="*/ 206375 h 974725"/>
                <a:gd name="connsiteX73" fmla="*/ 1508125 w 3044825"/>
                <a:gd name="connsiteY73" fmla="*/ 190500 h 974725"/>
                <a:gd name="connsiteX74" fmla="*/ 1527175 w 3044825"/>
                <a:gd name="connsiteY74" fmla="*/ 180975 h 974725"/>
                <a:gd name="connsiteX75" fmla="*/ 1539875 w 3044825"/>
                <a:gd name="connsiteY75" fmla="*/ 184150 h 974725"/>
                <a:gd name="connsiteX76" fmla="*/ 1558925 w 3044825"/>
                <a:gd name="connsiteY76" fmla="*/ 190500 h 974725"/>
                <a:gd name="connsiteX77" fmla="*/ 1568450 w 3044825"/>
                <a:gd name="connsiteY77" fmla="*/ 196850 h 974725"/>
                <a:gd name="connsiteX78" fmla="*/ 1600200 w 3044825"/>
                <a:gd name="connsiteY78" fmla="*/ 203200 h 974725"/>
                <a:gd name="connsiteX79" fmla="*/ 1657350 w 3044825"/>
                <a:gd name="connsiteY79" fmla="*/ 212725 h 974725"/>
                <a:gd name="connsiteX80" fmla="*/ 1695450 w 3044825"/>
                <a:gd name="connsiteY80" fmla="*/ 238125 h 974725"/>
                <a:gd name="connsiteX81" fmla="*/ 1708150 w 3044825"/>
                <a:gd name="connsiteY81" fmla="*/ 247650 h 974725"/>
                <a:gd name="connsiteX82" fmla="*/ 1711325 w 3044825"/>
                <a:gd name="connsiteY82" fmla="*/ 266700 h 974725"/>
                <a:gd name="connsiteX83" fmla="*/ 1724025 w 3044825"/>
                <a:gd name="connsiteY83" fmla="*/ 273050 h 974725"/>
                <a:gd name="connsiteX84" fmla="*/ 1743075 w 3044825"/>
                <a:gd name="connsiteY84" fmla="*/ 279400 h 974725"/>
                <a:gd name="connsiteX85" fmla="*/ 1752600 w 3044825"/>
                <a:gd name="connsiteY85" fmla="*/ 282575 h 974725"/>
                <a:gd name="connsiteX86" fmla="*/ 1774825 w 3044825"/>
                <a:gd name="connsiteY86" fmla="*/ 288925 h 974725"/>
                <a:gd name="connsiteX87" fmla="*/ 1793875 w 3044825"/>
                <a:gd name="connsiteY87" fmla="*/ 301625 h 974725"/>
                <a:gd name="connsiteX88" fmla="*/ 1797050 w 3044825"/>
                <a:gd name="connsiteY88" fmla="*/ 317500 h 974725"/>
                <a:gd name="connsiteX89" fmla="*/ 1920875 w 3044825"/>
                <a:gd name="connsiteY89" fmla="*/ 374650 h 974725"/>
                <a:gd name="connsiteX90" fmla="*/ 1968500 w 3044825"/>
                <a:gd name="connsiteY90" fmla="*/ 381000 h 974725"/>
                <a:gd name="connsiteX91" fmla="*/ 1987550 w 3044825"/>
                <a:gd name="connsiteY91" fmla="*/ 393700 h 974725"/>
                <a:gd name="connsiteX92" fmla="*/ 1997075 w 3044825"/>
                <a:gd name="connsiteY92" fmla="*/ 412750 h 974725"/>
                <a:gd name="connsiteX93" fmla="*/ 2003425 w 3044825"/>
                <a:gd name="connsiteY93" fmla="*/ 422275 h 974725"/>
                <a:gd name="connsiteX94" fmla="*/ 2006600 w 3044825"/>
                <a:gd name="connsiteY94" fmla="*/ 431800 h 974725"/>
                <a:gd name="connsiteX95" fmla="*/ 2019300 w 3044825"/>
                <a:gd name="connsiteY95" fmla="*/ 460375 h 974725"/>
                <a:gd name="connsiteX96" fmla="*/ 2032000 w 3044825"/>
                <a:gd name="connsiteY96" fmla="*/ 479425 h 974725"/>
                <a:gd name="connsiteX97" fmla="*/ 2063750 w 3044825"/>
                <a:gd name="connsiteY97" fmla="*/ 511175 h 974725"/>
                <a:gd name="connsiteX98" fmla="*/ 2073275 w 3044825"/>
                <a:gd name="connsiteY98" fmla="*/ 520700 h 974725"/>
                <a:gd name="connsiteX99" fmla="*/ 2095500 w 3044825"/>
                <a:gd name="connsiteY99" fmla="*/ 546100 h 974725"/>
                <a:gd name="connsiteX100" fmla="*/ 2101850 w 3044825"/>
                <a:gd name="connsiteY100" fmla="*/ 555625 h 974725"/>
                <a:gd name="connsiteX101" fmla="*/ 2111375 w 3044825"/>
                <a:gd name="connsiteY101" fmla="*/ 561975 h 974725"/>
                <a:gd name="connsiteX102" fmla="*/ 2114550 w 3044825"/>
                <a:gd name="connsiteY102" fmla="*/ 571500 h 974725"/>
                <a:gd name="connsiteX103" fmla="*/ 2124075 w 3044825"/>
                <a:gd name="connsiteY103" fmla="*/ 581025 h 974725"/>
                <a:gd name="connsiteX104" fmla="*/ 2146300 w 3044825"/>
                <a:gd name="connsiteY104" fmla="*/ 596900 h 974725"/>
                <a:gd name="connsiteX105" fmla="*/ 2155825 w 3044825"/>
                <a:gd name="connsiteY105" fmla="*/ 600075 h 974725"/>
                <a:gd name="connsiteX106" fmla="*/ 2171700 w 3044825"/>
                <a:gd name="connsiteY106" fmla="*/ 619125 h 974725"/>
                <a:gd name="connsiteX107" fmla="*/ 2178050 w 3044825"/>
                <a:gd name="connsiteY107" fmla="*/ 628650 h 974725"/>
                <a:gd name="connsiteX108" fmla="*/ 2197100 w 3044825"/>
                <a:gd name="connsiteY108" fmla="*/ 638175 h 974725"/>
                <a:gd name="connsiteX109" fmla="*/ 2222500 w 3044825"/>
                <a:gd name="connsiteY109" fmla="*/ 644525 h 974725"/>
                <a:gd name="connsiteX110" fmla="*/ 2247900 w 3044825"/>
                <a:gd name="connsiteY110" fmla="*/ 647700 h 974725"/>
                <a:gd name="connsiteX111" fmla="*/ 2266950 w 3044825"/>
                <a:gd name="connsiteY111" fmla="*/ 650875 h 974725"/>
                <a:gd name="connsiteX112" fmla="*/ 2317750 w 3044825"/>
                <a:gd name="connsiteY112" fmla="*/ 654050 h 974725"/>
                <a:gd name="connsiteX113" fmla="*/ 2333625 w 3044825"/>
                <a:gd name="connsiteY113" fmla="*/ 669925 h 974725"/>
                <a:gd name="connsiteX114" fmla="*/ 2346325 w 3044825"/>
                <a:gd name="connsiteY114" fmla="*/ 695325 h 974725"/>
                <a:gd name="connsiteX115" fmla="*/ 2359025 w 3044825"/>
                <a:gd name="connsiteY115" fmla="*/ 714375 h 974725"/>
                <a:gd name="connsiteX116" fmla="*/ 2365375 w 3044825"/>
                <a:gd name="connsiteY116" fmla="*/ 723900 h 974725"/>
                <a:gd name="connsiteX117" fmla="*/ 2374900 w 3044825"/>
                <a:gd name="connsiteY117" fmla="*/ 733425 h 974725"/>
                <a:gd name="connsiteX118" fmla="*/ 2381250 w 3044825"/>
                <a:gd name="connsiteY118" fmla="*/ 742950 h 974725"/>
                <a:gd name="connsiteX119" fmla="*/ 2390775 w 3044825"/>
                <a:gd name="connsiteY119" fmla="*/ 749300 h 974725"/>
                <a:gd name="connsiteX120" fmla="*/ 2413000 w 3044825"/>
                <a:gd name="connsiteY120" fmla="*/ 771525 h 974725"/>
                <a:gd name="connsiteX121" fmla="*/ 2419350 w 3044825"/>
                <a:gd name="connsiteY121" fmla="*/ 781050 h 974725"/>
                <a:gd name="connsiteX122" fmla="*/ 2428875 w 3044825"/>
                <a:gd name="connsiteY122" fmla="*/ 787400 h 974725"/>
                <a:gd name="connsiteX123" fmla="*/ 2444750 w 3044825"/>
                <a:gd name="connsiteY123" fmla="*/ 806450 h 974725"/>
                <a:gd name="connsiteX124" fmla="*/ 2454275 w 3044825"/>
                <a:gd name="connsiteY124" fmla="*/ 812800 h 974725"/>
                <a:gd name="connsiteX125" fmla="*/ 2470150 w 3044825"/>
                <a:gd name="connsiteY125" fmla="*/ 828675 h 974725"/>
                <a:gd name="connsiteX126" fmla="*/ 2486025 w 3044825"/>
                <a:gd name="connsiteY126" fmla="*/ 844550 h 974725"/>
                <a:gd name="connsiteX127" fmla="*/ 2501900 w 3044825"/>
                <a:gd name="connsiteY127" fmla="*/ 863600 h 974725"/>
                <a:gd name="connsiteX128" fmla="*/ 2517775 w 3044825"/>
                <a:gd name="connsiteY128" fmla="*/ 879475 h 974725"/>
                <a:gd name="connsiteX129" fmla="*/ 2520950 w 3044825"/>
                <a:gd name="connsiteY129" fmla="*/ 889000 h 974725"/>
                <a:gd name="connsiteX130" fmla="*/ 2536825 w 3044825"/>
                <a:gd name="connsiteY130" fmla="*/ 908050 h 974725"/>
                <a:gd name="connsiteX131" fmla="*/ 2540000 w 3044825"/>
                <a:gd name="connsiteY131" fmla="*/ 917575 h 974725"/>
                <a:gd name="connsiteX132" fmla="*/ 2559050 w 3044825"/>
                <a:gd name="connsiteY132" fmla="*/ 930275 h 974725"/>
                <a:gd name="connsiteX133" fmla="*/ 2578100 w 3044825"/>
                <a:gd name="connsiteY133" fmla="*/ 939800 h 974725"/>
                <a:gd name="connsiteX134" fmla="*/ 2606675 w 3044825"/>
                <a:gd name="connsiteY134" fmla="*/ 962025 h 974725"/>
                <a:gd name="connsiteX135" fmla="*/ 2616200 w 3044825"/>
                <a:gd name="connsiteY135" fmla="*/ 968375 h 974725"/>
                <a:gd name="connsiteX136" fmla="*/ 2625725 w 3044825"/>
                <a:gd name="connsiteY136" fmla="*/ 974725 h 974725"/>
                <a:gd name="connsiteX137" fmla="*/ 2705100 w 3044825"/>
                <a:gd name="connsiteY137" fmla="*/ 958850 h 974725"/>
                <a:gd name="connsiteX138" fmla="*/ 2705100 w 3044825"/>
                <a:gd name="connsiteY138" fmla="*/ 958850 h 974725"/>
                <a:gd name="connsiteX139" fmla="*/ 2724150 w 3044825"/>
                <a:gd name="connsiteY139" fmla="*/ 952500 h 974725"/>
                <a:gd name="connsiteX140" fmla="*/ 2736850 w 3044825"/>
                <a:gd name="connsiteY140" fmla="*/ 949325 h 974725"/>
                <a:gd name="connsiteX141" fmla="*/ 2762250 w 3044825"/>
                <a:gd name="connsiteY141" fmla="*/ 923925 h 974725"/>
                <a:gd name="connsiteX142" fmla="*/ 2771775 w 3044825"/>
                <a:gd name="connsiteY142" fmla="*/ 914400 h 974725"/>
                <a:gd name="connsiteX143" fmla="*/ 2784475 w 3044825"/>
                <a:gd name="connsiteY143" fmla="*/ 895350 h 974725"/>
                <a:gd name="connsiteX144" fmla="*/ 2794000 w 3044825"/>
                <a:gd name="connsiteY144" fmla="*/ 885825 h 974725"/>
                <a:gd name="connsiteX145" fmla="*/ 2813050 w 3044825"/>
                <a:gd name="connsiteY145" fmla="*/ 869950 h 974725"/>
                <a:gd name="connsiteX146" fmla="*/ 2825750 w 3044825"/>
                <a:gd name="connsiteY146" fmla="*/ 854075 h 974725"/>
                <a:gd name="connsiteX147" fmla="*/ 2841625 w 3044825"/>
                <a:gd name="connsiteY147" fmla="*/ 838200 h 974725"/>
                <a:gd name="connsiteX148" fmla="*/ 2863850 w 3044825"/>
                <a:gd name="connsiteY148" fmla="*/ 822325 h 974725"/>
                <a:gd name="connsiteX149" fmla="*/ 2882900 w 3044825"/>
                <a:gd name="connsiteY149" fmla="*/ 815975 h 974725"/>
                <a:gd name="connsiteX150" fmla="*/ 2905125 w 3044825"/>
                <a:gd name="connsiteY150" fmla="*/ 809625 h 974725"/>
                <a:gd name="connsiteX151" fmla="*/ 2921000 w 3044825"/>
                <a:gd name="connsiteY151" fmla="*/ 806450 h 974725"/>
                <a:gd name="connsiteX152" fmla="*/ 2930525 w 3044825"/>
                <a:gd name="connsiteY152" fmla="*/ 803275 h 974725"/>
                <a:gd name="connsiteX153" fmla="*/ 2943225 w 3044825"/>
                <a:gd name="connsiteY153" fmla="*/ 800100 h 974725"/>
                <a:gd name="connsiteX154" fmla="*/ 2955925 w 3044825"/>
                <a:gd name="connsiteY154" fmla="*/ 793750 h 974725"/>
                <a:gd name="connsiteX155" fmla="*/ 2965450 w 3044825"/>
                <a:gd name="connsiteY155" fmla="*/ 790575 h 974725"/>
                <a:gd name="connsiteX156" fmla="*/ 2974975 w 3044825"/>
                <a:gd name="connsiteY156" fmla="*/ 781050 h 974725"/>
                <a:gd name="connsiteX157" fmla="*/ 2984500 w 3044825"/>
                <a:gd name="connsiteY157" fmla="*/ 774700 h 974725"/>
                <a:gd name="connsiteX158" fmla="*/ 2987675 w 3044825"/>
                <a:gd name="connsiteY158" fmla="*/ 765175 h 974725"/>
                <a:gd name="connsiteX159" fmla="*/ 2997200 w 3044825"/>
                <a:gd name="connsiteY159" fmla="*/ 755650 h 974725"/>
                <a:gd name="connsiteX160" fmla="*/ 3006725 w 3044825"/>
                <a:gd name="connsiteY160" fmla="*/ 698500 h 974725"/>
                <a:gd name="connsiteX161" fmla="*/ 3013075 w 3044825"/>
                <a:gd name="connsiteY161" fmla="*/ 688975 h 974725"/>
                <a:gd name="connsiteX162" fmla="*/ 3032125 w 3044825"/>
                <a:gd name="connsiteY162" fmla="*/ 676275 h 974725"/>
                <a:gd name="connsiteX163" fmla="*/ 3044825 w 3044825"/>
                <a:gd name="connsiteY163" fmla="*/ 673100 h 974725"/>
                <a:gd name="connsiteX0" fmla="*/ 0 w 3044825"/>
                <a:gd name="connsiteY0" fmla="*/ 0 h 974725"/>
                <a:gd name="connsiteX1" fmla="*/ 0 w 3044825"/>
                <a:gd name="connsiteY1" fmla="*/ 0 h 974725"/>
                <a:gd name="connsiteX2" fmla="*/ 22225 w 3044825"/>
                <a:gd name="connsiteY2" fmla="*/ 19050 h 974725"/>
                <a:gd name="connsiteX3" fmla="*/ 38100 w 3044825"/>
                <a:gd name="connsiteY3" fmla="*/ 38100 h 974725"/>
                <a:gd name="connsiteX4" fmla="*/ 53975 w 3044825"/>
                <a:gd name="connsiteY4" fmla="*/ 53975 h 974725"/>
                <a:gd name="connsiteX5" fmla="*/ 69850 w 3044825"/>
                <a:gd name="connsiteY5" fmla="*/ 66675 h 974725"/>
                <a:gd name="connsiteX6" fmla="*/ 95250 w 3044825"/>
                <a:gd name="connsiteY6" fmla="*/ 79375 h 974725"/>
                <a:gd name="connsiteX7" fmla="*/ 114300 w 3044825"/>
                <a:gd name="connsiteY7" fmla="*/ 92075 h 974725"/>
                <a:gd name="connsiteX8" fmla="*/ 123825 w 3044825"/>
                <a:gd name="connsiteY8" fmla="*/ 95250 h 974725"/>
                <a:gd name="connsiteX9" fmla="*/ 146050 w 3044825"/>
                <a:gd name="connsiteY9" fmla="*/ 111125 h 974725"/>
                <a:gd name="connsiteX10" fmla="*/ 155575 w 3044825"/>
                <a:gd name="connsiteY10" fmla="*/ 114300 h 974725"/>
                <a:gd name="connsiteX11" fmla="*/ 180975 w 3044825"/>
                <a:gd name="connsiteY11" fmla="*/ 123825 h 974725"/>
                <a:gd name="connsiteX12" fmla="*/ 200025 w 3044825"/>
                <a:gd name="connsiteY12" fmla="*/ 130175 h 974725"/>
                <a:gd name="connsiteX13" fmla="*/ 212725 w 3044825"/>
                <a:gd name="connsiteY13" fmla="*/ 133350 h 974725"/>
                <a:gd name="connsiteX14" fmla="*/ 231775 w 3044825"/>
                <a:gd name="connsiteY14" fmla="*/ 139700 h 974725"/>
                <a:gd name="connsiteX15" fmla="*/ 250825 w 3044825"/>
                <a:gd name="connsiteY15" fmla="*/ 142875 h 974725"/>
                <a:gd name="connsiteX16" fmla="*/ 279400 w 3044825"/>
                <a:gd name="connsiteY16" fmla="*/ 152400 h 974725"/>
                <a:gd name="connsiteX17" fmla="*/ 298450 w 3044825"/>
                <a:gd name="connsiteY17" fmla="*/ 155575 h 974725"/>
                <a:gd name="connsiteX18" fmla="*/ 317500 w 3044825"/>
                <a:gd name="connsiteY18" fmla="*/ 161925 h 974725"/>
                <a:gd name="connsiteX19" fmla="*/ 327025 w 3044825"/>
                <a:gd name="connsiteY19" fmla="*/ 165100 h 974725"/>
                <a:gd name="connsiteX20" fmla="*/ 336550 w 3044825"/>
                <a:gd name="connsiteY20" fmla="*/ 171450 h 974725"/>
                <a:gd name="connsiteX21" fmla="*/ 346075 w 3044825"/>
                <a:gd name="connsiteY21" fmla="*/ 180975 h 974725"/>
                <a:gd name="connsiteX22" fmla="*/ 355600 w 3044825"/>
                <a:gd name="connsiteY22" fmla="*/ 184150 h 974725"/>
                <a:gd name="connsiteX23" fmla="*/ 377825 w 3044825"/>
                <a:gd name="connsiteY23" fmla="*/ 196850 h 974725"/>
                <a:gd name="connsiteX24" fmla="*/ 396875 w 3044825"/>
                <a:gd name="connsiteY24" fmla="*/ 212725 h 974725"/>
                <a:gd name="connsiteX25" fmla="*/ 409575 w 3044825"/>
                <a:gd name="connsiteY25" fmla="*/ 219075 h 974725"/>
                <a:gd name="connsiteX26" fmla="*/ 428625 w 3044825"/>
                <a:gd name="connsiteY26" fmla="*/ 231775 h 974725"/>
                <a:gd name="connsiteX27" fmla="*/ 447675 w 3044825"/>
                <a:gd name="connsiteY27" fmla="*/ 244475 h 974725"/>
                <a:gd name="connsiteX28" fmla="*/ 466725 w 3044825"/>
                <a:gd name="connsiteY28" fmla="*/ 257175 h 974725"/>
                <a:gd name="connsiteX29" fmla="*/ 476250 w 3044825"/>
                <a:gd name="connsiteY29" fmla="*/ 263525 h 974725"/>
                <a:gd name="connsiteX30" fmla="*/ 495300 w 3044825"/>
                <a:gd name="connsiteY30" fmla="*/ 279400 h 974725"/>
                <a:gd name="connsiteX31" fmla="*/ 504825 w 3044825"/>
                <a:gd name="connsiteY31" fmla="*/ 282575 h 974725"/>
                <a:gd name="connsiteX32" fmla="*/ 514350 w 3044825"/>
                <a:gd name="connsiteY32" fmla="*/ 288925 h 974725"/>
                <a:gd name="connsiteX33" fmla="*/ 533400 w 3044825"/>
                <a:gd name="connsiteY33" fmla="*/ 298450 h 974725"/>
                <a:gd name="connsiteX34" fmla="*/ 549275 w 3044825"/>
                <a:gd name="connsiteY34" fmla="*/ 282575 h 974725"/>
                <a:gd name="connsiteX35" fmla="*/ 558800 w 3044825"/>
                <a:gd name="connsiteY35" fmla="*/ 279400 h 974725"/>
                <a:gd name="connsiteX36" fmla="*/ 590550 w 3044825"/>
                <a:gd name="connsiteY36" fmla="*/ 276225 h 974725"/>
                <a:gd name="connsiteX37" fmla="*/ 603250 w 3044825"/>
                <a:gd name="connsiteY37" fmla="*/ 234950 h 974725"/>
                <a:gd name="connsiteX38" fmla="*/ 622300 w 3044825"/>
                <a:gd name="connsiteY38" fmla="*/ 225425 h 974725"/>
                <a:gd name="connsiteX39" fmla="*/ 638175 w 3044825"/>
                <a:gd name="connsiteY39" fmla="*/ 209550 h 974725"/>
                <a:gd name="connsiteX40" fmla="*/ 657225 w 3044825"/>
                <a:gd name="connsiteY40" fmla="*/ 203200 h 974725"/>
                <a:gd name="connsiteX41" fmla="*/ 676275 w 3044825"/>
                <a:gd name="connsiteY41" fmla="*/ 190500 h 974725"/>
                <a:gd name="connsiteX42" fmla="*/ 685800 w 3044825"/>
                <a:gd name="connsiteY42" fmla="*/ 180975 h 974725"/>
                <a:gd name="connsiteX43" fmla="*/ 711200 w 3044825"/>
                <a:gd name="connsiteY43" fmla="*/ 174625 h 974725"/>
                <a:gd name="connsiteX44" fmla="*/ 736600 w 3044825"/>
                <a:gd name="connsiteY44" fmla="*/ 177800 h 974725"/>
                <a:gd name="connsiteX45" fmla="*/ 752475 w 3044825"/>
                <a:gd name="connsiteY45" fmla="*/ 193675 h 974725"/>
                <a:gd name="connsiteX46" fmla="*/ 762000 w 3044825"/>
                <a:gd name="connsiteY46" fmla="*/ 196850 h 974725"/>
                <a:gd name="connsiteX47" fmla="*/ 873125 w 3044825"/>
                <a:gd name="connsiteY47" fmla="*/ 193675 h 974725"/>
                <a:gd name="connsiteX48" fmla="*/ 908050 w 3044825"/>
                <a:gd name="connsiteY48" fmla="*/ 196850 h 974725"/>
                <a:gd name="connsiteX49" fmla="*/ 927100 w 3044825"/>
                <a:gd name="connsiteY49" fmla="*/ 215900 h 974725"/>
                <a:gd name="connsiteX50" fmla="*/ 936625 w 3044825"/>
                <a:gd name="connsiteY50" fmla="*/ 225425 h 974725"/>
                <a:gd name="connsiteX51" fmla="*/ 946150 w 3044825"/>
                <a:gd name="connsiteY51" fmla="*/ 234950 h 974725"/>
                <a:gd name="connsiteX52" fmla="*/ 955675 w 3044825"/>
                <a:gd name="connsiteY52" fmla="*/ 241300 h 974725"/>
                <a:gd name="connsiteX53" fmla="*/ 1162050 w 3044825"/>
                <a:gd name="connsiteY53" fmla="*/ 244475 h 974725"/>
                <a:gd name="connsiteX54" fmla="*/ 1184275 w 3044825"/>
                <a:gd name="connsiteY54" fmla="*/ 266700 h 974725"/>
                <a:gd name="connsiteX55" fmla="*/ 1196975 w 3044825"/>
                <a:gd name="connsiteY55" fmla="*/ 285750 h 974725"/>
                <a:gd name="connsiteX56" fmla="*/ 1206500 w 3044825"/>
                <a:gd name="connsiteY56" fmla="*/ 292100 h 974725"/>
                <a:gd name="connsiteX57" fmla="*/ 1225550 w 3044825"/>
                <a:gd name="connsiteY57" fmla="*/ 307975 h 974725"/>
                <a:gd name="connsiteX58" fmla="*/ 1257300 w 3044825"/>
                <a:gd name="connsiteY58" fmla="*/ 301625 h 974725"/>
                <a:gd name="connsiteX59" fmla="*/ 1266825 w 3044825"/>
                <a:gd name="connsiteY59" fmla="*/ 295275 h 974725"/>
                <a:gd name="connsiteX60" fmla="*/ 1295400 w 3044825"/>
                <a:gd name="connsiteY60" fmla="*/ 292100 h 974725"/>
                <a:gd name="connsiteX61" fmla="*/ 1320800 w 3044825"/>
                <a:gd name="connsiteY61" fmla="*/ 276225 h 974725"/>
                <a:gd name="connsiteX62" fmla="*/ 1339850 w 3044825"/>
                <a:gd name="connsiteY62" fmla="*/ 273050 h 974725"/>
                <a:gd name="connsiteX63" fmla="*/ 1346200 w 3044825"/>
                <a:gd name="connsiteY63" fmla="*/ 263525 h 974725"/>
                <a:gd name="connsiteX64" fmla="*/ 1368425 w 3044825"/>
                <a:gd name="connsiteY64" fmla="*/ 254000 h 974725"/>
                <a:gd name="connsiteX65" fmla="*/ 1377950 w 3044825"/>
                <a:gd name="connsiteY65" fmla="*/ 247650 h 974725"/>
                <a:gd name="connsiteX66" fmla="*/ 1387475 w 3044825"/>
                <a:gd name="connsiteY66" fmla="*/ 244475 h 974725"/>
                <a:gd name="connsiteX67" fmla="*/ 1409700 w 3044825"/>
                <a:gd name="connsiteY67" fmla="*/ 228600 h 974725"/>
                <a:gd name="connsiteX68" fmla="*/ 1425575 w 3044825"/>
                <a:gd name="connsiteY68" fmla="*/ 225425 h 974725"/>
                <a:gd name="connsiteX69" fmla="*/ 1435100 w 3044825"/>
                <a:gd name="connsiteY69" fmla="*/ 222250 h 974725"/>
                <a:gd name="connsiteX70" fmla="*/ 1447800 w 3044825"/>
                <a:gd name="connsiteY70" fmla="*/ 219075 h 974725"/>
                <a:gd name="connsiteX71" fmla="*/ 1470025 w 3044825"/>
                <a:gd name="connsiteY71" fmla="*/ 209550 h 974725"/>
                <a:gd name="connsiteX72" fmla="*/ 1479550 w 3044825"/>
                <a:gd name="connsiteY72" fmla="*/ 206375 h 974725"/>
                <a:gd name="connsiteX73" fmla="*/ 1508125 w 3044825"/>
                <a:gd name="connsiteY73" fmla="*/ 190500 h 974725"/>
                <a:gd name="connsiteX74" fmla="*/ 1527175 w 3044825"/>
                <a:gd name="connsiteY74" fmla="*/ 180975 h 974725"/>
                <a:gd name="connsiteX75" fmla="*/ 1539875 w 3044825"/>
                <a:gd name="connsiteY75" fmla="*/ 184150 h 974725"/>
                <a:gd name="connsiteX76" fmla="*/ 1558925 w 3044825"/>
                <a:gd name="connsiteY76" fmla="*/ 190500 h 974725"/>
                <a:gd name="connsiteX77" fmla="*/ 1568450 w 3044825"/>
                <a:gd name="connsiteY77" fmla="*/ 196850 h 974725"/>
                <a:gd name="connsiteX78" fmla="*/ 1600200 w 3044825"/>
                <a:gd name="connsiteY78" fmla="*/ 203200 h 974725"/>
                <a:gd name="connsiteX79" fmla="*/ 1657350 w 3044825"/>
                <a:gd name="connsiteY79" fmla="*/ 212725 h 974725"/>
                <a:gd name="connsiteX80" fmla="*/ 1695450 w 3044825"/>
                <a:gd name="connsiteY80" fmla="*/ 238125 h 974725"/>
                <a:gd name="connsiteX81" fmla="*/ 1708150 w 3044825"/>
                <a:gd name="connsiteY81" fmla="*/ 247650 h 974725"/>
                <a:gd name="connsiteX82" fmla="*/ 1711325 w 3044825"/>
                <a:gd name="connsiteY82" fmla="*/ 266700 h 974725"/>
                <a:gd name="connsiteX83" fmla="*/ 1724025 w 3044825"/>
                <a:gd name="connsiteY83" fmla="*/ 273050 h 974725"/>
                <a:gd name="connsiteX84" fmla="*/ 1743075 w 3044825"/>
                <a:gd name="connsiteY84" fmla="*/ 279400 h 974725"/>
                <a:gd name="connsiteX85" fmla="*/ 1752600 w 3044825"/>
                <a:gd name="connsiteY85" fmla="*/ 282575 h 974725"/>
                <a:gd name="connsiteX86" fmla="*/ 1774825 w 3044825"/>
                <a:gd name="connsiteY86" fmla="*/ 288925 h 974725"/>
                <a:gd name="connsiteX87" fmla="*/ 1793875 w 3044825"/>
                <a:gd name="connsiteY87" fmla="*/ 301625 h 974725"/>
                <a:gd name="connsiteX88" fmla="*/ 1797050 w 3044825"/>
                <a:gd name="connsiteY88" fmla="*/ 317500 h 974725"/>
                <a:gd name="connsiteX89" fmla="*/ 1920875 w 3044825"/>
                <a:gd name="connsiteY89" fmla="*/ 374650 h 974725"/>
                <a:gd name="connsiteX90" fmla="*/ 1968500 w 3044825"/>
                <a:gd name="connsiteY90" fmla="*/ 381000 h 974725"/>
                <a:gd name="connsiteX91" fmla="*/ 1987550 w 3044825"/>
                <a:gd name="connsiteY91" fmla="*/ 393700 h 974725"/>
                <a:gd name="connsiteX92" fmla="*/ 1997075 w 3044825"/>
                <a:gd name="connsiteY92" fmla="*/ 412750 h 974725"/>
                <a:gd name="connsiteX93" fmla="*/ 2003425 w 3044825"/>
                <a:gd name="connsiteY93" fmla="*/ 422275 h 974725"/>
                <a:gd name="connsiteX94" fmla="*/ 2006600 w 3044825"/>
                <a:gd name="connsiteY94" fmla="*/ 431800 h 974725"/>
                <a:gd name="connsiteX95" fmla="*/ 2019300 w 3044825"/>
                <a:gd name="connsiteY95" fmla="*/ 460375 h 974725"/>
                <a:gd name="connsiteX96" fmla="*/ 2032000 w 3044825"/>
                <a:gd name="connsiteY96" fmla="*/ 479425 h 974725"/>
                <a:gd name="connsiteX97" fmla="*/ 2063750 w 3044825"/>
                <a:gd name="connsiteY97" fmla="*/ 511175 h 974725"/>
                <a:gd name="connsiteX98" fmla="*/ 2073275 w 3044825"/>
                <a:gd name="connsiteY98" fmla="*/ 520700 h 974725"/>
                <a:gd name="connsiteX99" fmla="*/ 2095500 w 3044825"/>
                <a:gd name="connsiteY99" fmla="*/ 546100 h 974725"/>
                <a:gd name="connsiteX100" fmla="*/ 2101850 w 3044825"/>
                <a:gd name="connsiteY100" fmla="*/ 555625 h 974725"/>
                <a:gd name="connsiteX101" fmla="*/ 2111375 w 3044825"/>
                <a:gd name="connsiteY101" fmla="*/ 561975 h 974725"/>
                <a:gd name="connsiteX102" fmla="*/ 2114550 w 3044825"/>
                <a:gd name="connsiteY102" fmla="*/ 571500 h 974725"/>
                <a:gd name="connsiteX103" fmla="*/ 2124075 w 3044825"/>
                <a:gd name="connsiteY103" fmla="*/ 581025 h 974725"/>
                <a:gd name="connsiteX104" fmla="*/ 2146300 w 3044825"/>
                <a:gd name="connsiteY104" fmla="*/ 596900 h 974725"/>
                <a:gd name="connsiteX105" fmla="*/ 2155825 w 3044825"/>
                <a:gd name="connsiteY105" fmla="*/ 600075 h 974725"/>
                <a:gd name="connsiteX106" fmla="*/ 2171700 w 3044825"/>
                <a:gd name="connsiteY106" fmla="*/ 619125 h 974725"/>
                <a:gd name="connsiteX107" fmla="*/ 2178050 w 3044825"/>
                <a:gd name="connsiteY107" fmla="*/ 628650 h 974725"/>
                <a:gd name="connsiteX108" fmla="*/ 2197100 w 3044825"/>
                <a:gd name="connsiteY108" fmla="*/ 638175 h 974725"/>
                <a:gd name="connsiteX109" fmla="*/ 2222500 w 3044825"/>
                <a:gd name="connsiteY109" fmla="*/ 644525 h 974725"/>
                <a:gd name="connsiteX110" fmla="*/ 2247900 w 3044825"/>
                <a:gd name="connsiteY110" fmla="*/ 647700 h 974725"/>
                <a:gd name="connsiteX111" fmla="*/ 2266950 w 3044825"/>
                <a:gd name="connsiteY111" fmla="*/ 650875 h 974725"/>
                <a:gd name="connsiteX112" fmla="*/ 2317750 w 3044825"/>
                <a:gd name="connsiteY112" fmla="*/ 654050 h 974725"/>
                <a:gd name="connsiteX113" fmla="*/ 2333625 w 3044825"/>
                <a:gd name="connsiteY113" fmla="*/ 669925 h 974725"/>
                <a:gd name="connsiteX114" fmla="*/ 2346325 w 3044825"/>
                <a:gd name="connsiteY114" fmla="*/ 695325 h 974725"/>
                <a:gd name="connsiteX115" fmla="*/ 2359025 w 3044825"/>
                <a:gd name="connsiteY115" fmla="*/ 714375 h 974725"/>
                <a:gd name="connsiteX116" fmla="*/ 2365375 w 3044825"/>
                <a:gd name="connsiteY116" fmla="*/ 723900 h 974725"/>
                <a:gd name="connsiteX117" fmla="*/ 2374900 w 3044825"/>
                <a:gd name="connsiteY117" fmla="*/ 733425 h 974725"/>
                <a:gd name="connsiteX118" fmla="*/ 2381250 w 3044825"/>
                <a:gd name="connsiteY118" fmla="*/ 742950 h 974725"/>
                <a:gd name="connsiteX119" fmla="*/ 2390775 w 3044825"/>
                <a:gd name="connsiteY119" fmla="*/ 749300 h 974725"/>
                <a:gd name="connsiteX120" fmla="*/ 2413000 w 3044825"/>
                <a:gd name="connsiteY120" fmla="*/ 771525 h 974725"/>
                <a:gd name="connsiteX121" fmla="*/ 2419350 w 3044825"/>
                <a:gd name="connsiteY121" fmla="*/ 781050 h 974725"/>
                <a:gd name="connsiteX122" fmla="*/ 2428875 w 3044825"/>
                <a:gd name="connsiteY122" fmla="*/ 787400 h 974725"/>
                <a:gd name="connsiteX123" fmla="*/ 2444750 w 3044825"/>
                <a:gd name="connsiteY123" fmla="*/ 806450 h 974725"/>
                <a:gd name="connsiteX124" fmla="*/ 2454275 w 3044825"/>
                <a:gd name="connsiteY124" fmla="*/ 812800 h 974725"/>
                <a:gd name="connsiteX125" fmla="*/ 2470150 w 3044825"/>
                <a:gd name="connsiteY125" fmla="*/ 828675 h 974725"/>
                <a:gd name="connsiteX126" fmla="*/ 2486025 w 3044825"/>
                <a:gd name="connsiteY126" fmla="*/ 844550 h 974725"/>
                <a:gd name="connsiteX127" fmla="*/ 2501900 w 3044825"/>
                <a:gd name="connsiteY127" fmla="*/ 863600 h 974725"/>
                <a:gd name="connsiteX128" fmla="*/ 2517775 w 3044825"/>
                <a:gd name="connsiteY128" fmla="*/ 879475 h 974725"/>
                <a:gd name="connsiteX129" fmla="*/ 2520950 w 3044825"/>
                <a:gd name="connsiteY129" fmla="*/ 889000 h 974725"/>
                <a:gd name="connsiteX130" fmla="*/ 2536825 w 3044825"/>
                <a:gd name="connsiteY130" fmla="*/ 908050 h 974725"/>
                <a:gd name="connsiteX131" fmla="*/ 2540000 w 3044825"/>
                <a:gd name="connsiteY131" fmla="*/ 917575 h 974725"/>
                <a:gd name="connsiteX132" fmla="*/ 2559050 w 3044825"/>
                <a:gd name="connsiteY132" fmla="*/ 930275 h 974725"/>
                <a:gd name="connsiteX133" fmla="*/ 2578100 w 3044825"/>
                <a:gd name="connsiteY133" fmla="*/ 939800 h 974725"/>
                <a:gd name="connsiteX134" fmla="*/ 2606675 w 3044825"/>
                <a:gd name="connsiteY134" fmla="*/ 962025 h 974725"/>
                <a:gd name="connsiteX135" fmla="*/ 2616200 w 3044825"/>
                <a:gd name="connsiteY135" fmla="*/ 968375 h 974725"/>
                <a:gd name="connsiteX136" fmla="*/ 2625725 w 3044825"/>
                <a:gd name="connsiteY136" fmla="*/ 974725 h 974725"/>
                <a:gd name="connsiteX137" fmla="*/ 2705100 w 3044825"/>
                <a:gd name="connsiteY137" fmla="*/ 958850 h 974725"/>
                <a:gd name="connsiteX138" fmla="*/ 2705100 w 3044825"/>
                <a:gd name="connsiteY138" fmla="*/ 958850 h 974725"/>
                <a:gd name="connsiteX139" fmla="*/ 2724150 w 3044825"/>
                <a:gd name="connsiteY139" fmla="*/ 952500 h 974725"/>
                <a:gd name="connsiteX140" fmla="*/ 2762250 w 3044825"/>
                <a:gd name="connsiteY140" fmla="*/ 923925 h 974725"/>
                <a:gd name="connsiteX141" fmla="*/ 2771775 w 3044825"/>
                <a:gd name="connsiteY141" fmla="*/ 914400 h 974725"/>
                <a:gd name="connsiteX142" fmla="*/ 2784475 w 3044825"/>
                <a:gd name="connsiteY142" fmla="*/ 895350 h 974725"/>
                <a:gd name="connsiteX143" fmla="*/ 2794000 w 3044825"/>
                <a:gd name="connsiteY143" fmla="*/ 885825 h 974725"/>
                <a:gd name="connsiteX144" fmla="*/ 2813050 w 3044825"/>
                <a:gd name="connsiteY144" fmla="*/ 869950 h 974725"/>
                <a:gd name="connsiteX145" fmla="*/ 2825750 w 3044825"/>
                <a:gd name="connsiteY145" fmla="*/ 854075 h 974725"/>
                <a:gd name="connsiteX146" fmla="*/ 2841625 w 3044825"/>
                <a:gd name="connsiteY146" fmla="*/ 838200 h 974725"/>
                <a:gd name="connsiteX147" fmla="*/ 2863850 w 3044825"/>
                <a:gd name="connsiteY147" fmla="*/ 822325 h 974725"/>
                <a:gd name="connsiteX148" fmla="*/ 2882900 w 3044825"/>
                <a:gd name="connsiteY148" fmla="*/ 815975 h 974725"/>
                <a:gd name="connsiteX149" fmla="*/ 2905125 w 3044825"/>
                <a:gd name="connsiteY149" fmla="*/ 809625 h 974725"/>
                <a:gd name="connsiteX150" fmla="*/ 2921000 w 3044825"/>
                <a:gd name="connsiteY150" fmla="*/ 806450 h 974725"/>
                <a:gd name="connsiteX151" fmla="*/ 2930525 w 3044825"/>
                <a:gd name="connsiteY151" fmla="*/ 803275 h 974725"/>
                <a:gd name="connsiteX152" fmla="*/ 2943225 w 3044825"/>
                <a:gd name="connsiteY152" fmla="*/ 800100 h 974725"/>
                <a:gd name="connsiteX153" fmla="*/ 2955925 w 3044825"/>
                <a:gd name="connsiteY153" fmla="*/ 793750 h 974725"/>
                <a:gd name="connsiteX154" fmla="*/ 2965450 w 3044825"/>
                <a:gd name="connsiteY154" fmla="*/ 790575 h 974725"/>
                <a:gd name="connsiteX155" fmla="*/ 2974975 w 3044825"/>
                <a:gd name="connsiteY155" fmla="*/ 781050 h 974725"/>
                <a:gd name="connsiteX156" fmla="*/ 2984500 w 3044825"/>
                <a:gd name="connsiteY156" fmla="*/ 774700 h 974725"/>
                <a:gd name="connsiteX157" fmla="*/ 2987675 w 3044825"/>
                <a:gd name="connsiteY157" fmla="*/ 765175 h 974725"/>
                <a:gd name="connsiteX158" fmla="*/ 2997200 w 3044825"/>
                <a:gd name="connsiteY158" fmla="*/ 755650 h 974725"/>
                <a:gd name="connsiteX159" fmla="*/ 3006725 w 3044825"/>
                <a:gd name="connsiteY159" fmla="*/ 698500 h 974725"/>
                <a:gd name="connsiteX160" fmla="*/ 3013075 w 3044825"/>
                <a:gd name="connsiteY160" fmla="*/ 688975 h 974725"/>
                <a:gd name="connsiteX161" fmla="*/ 3032125 w 3044825"/>
                <a:gd name="connsiteY161" fmla="*/ 676275 h 974725"/>
                <a:gd name="connsiteX162" fmla="*/ 3044825 w 3044825"/>
                <a:gd name="connsiteY162" fmla="*/ 673100 h 974725"/>
                <a:gd name="connsiteX0" fmla="*/ 0 w 3044825"/>
                <a:gd name="connsiteY0" fmla="*/ 0 h 974725"/>
                <a:gd name="connsiteX1" fmla="*/ 0 w 3044825"/>
                <a:gd name="connsiteY1" fmla="*/ 0 h 974725"/>
                <a:gd name="connsiteX2" fmla="*/ 22225 w 3044825"/>
                <a:gd name="connsiteY2" fmla="*/ 19050 h 974725"/>
                <a:gd name="connsiteX3" fmla="*/ 38100 w 3044825"/>
                <a:gd name="connsiteY3" fmla="*/ 38100 h 974725"/>
                <a:gd name="connsiteX4" fmla="*/ 53975 w 3044825"/>
                <a:gd name="connsiteY4" fmla="*/ 53975 h 974725"/>
                <a:gd name="connsiteX5" fmla="*/ 69850 w 3044825"/>
                <a:gd name="connsiteY5" fmla="*/ 66675 h 974725"/>
                <a:gd name="connsiteX6" fmla="*/ 95250 w 3044825"/>
                <a:gd name="connsiteY6" fmla="*/ 79375 h 974725"/>
                <a:gd name="connsiteX7" fmla="*/ 114300 w 3044825"/>
                <a:gd name="connsiteY7" fmla="*/ 92075 h 974725"/>
                <a:gd name="connsiteX8" fmla="*/ 123825 w 3044825"/>
                <a:gd name="connsiteY8" fmla="*/ 95250 h 974725"/>
                <a:gd name="connsiteX9" fmla="*/ 146050 w 3044825"/>
                <a:gd name="connsiteY9" fmla="*/ 111125 h 974725"/>
                <a:gd name="connsiteX10" fmla="*/ 155575 w 3044825"/>
                <a:gd name="connsiteY10" fmla="*/ 114300 h 974725"/>
                <a:gd name="connsiteX11" fmla="*/ 180975 w 3044825"/>
                <a:gd name="connsiteY11" fmla="*/ 123825 h 974725"/>
                <a:gd name="connsiteX12" fmla="*/ 200025 w 3044825"/>
                <a:gd name="connsiteY12" fmla="*/ 130175 h 974725"/>
                <a:gd name="connsiteX13" fmla="*/ 212725 w 3044825"/>
                <a:gd name="connsiteY13" fmla="*/ 133350 h 974725"/>
                <a:gd name="connsiteX14" fmla="*/ 231775 w 3044825"/>
                <a:gd name="connsiteY14" fmla="*/ 139700 h 974725"/>
                <a:gd name="connsiteX15" fmla="*/ 250825 w 3044825"/>
                <a:gd name="connsiteY15" fmla="*/ 142875 h 974725"/>
                <a:gd name="connsiteX16" fmla="*/ 279400 w 3044825"/>
                <a:gd name="connsiteY16" fmla="*/ 152400 h 974725"/>
                <a:gd name="connsiteX17" fmla="*/ 298450 w 3044825"/>
                <a:gd name="connsiteY17" fmla="*/ 155575 h 974725"/>
                <a:gd name="connsiteX18" fmla="*/ 317500 w 3044825"/>
                <a:gd name="connsiteY18" fmla="*/ 161925 h 974725"/>
                <a:gd name="connsiteX19" fmla="*/ 327025 w 3044825"/>
                <a:gd name="connsiteY19" fmla="*/ 165100 h 974725"/>
                <a:gd name="connsiteX20" fmla="*/ 336550 w 3044825"/>
                <a:gd name="connsiteY20" fmla="*/ 171450 h 974725"/>
                <a:gd name="connsiteX21" fmla="*/ 346075 w 3044825"/>
                <a:gd name="connsiteY21" fmla="*/ 180975 h 974725"/>
                <a:gd name="connsiteX22" fmla="*/ 355600 w 3044825"/>
                <a:gd name="connsiteY22" fmla="*/ 184150 h 974725"/>
                <a:gd name="connsiteX23" fmla="*/ 377825 w 3044825"/>
                <a:gd name="connsiteY23" fmla="*/ 196850 h 974725"/>
                <a:gd name="connsiteX24" fmla="*/ 396875 w 3044825"/>
                <a:gd name="connsiteY24" fmla="*/ 212725 h 974725"/>
                <a:gd name="connsiteX25" fmla="*/ 409575 w 3044825"/>
                <a:gd name="connsiteY25" fmla="*/ 219075 h 974725"/>
                <a:gd name="connsiteX26" fmla="*/ 428625 w 3044825"/>
                <a:gd name="connsiteY26" fmla="*/ 231775 h 974725"/>
                <a:gd name="connsiteX27" fmla="*/ 447675 w 3044825"/>
                <a:gd name="connsiteY27" fmla="*/ 244475 h 974725"/>
                <a:gd name="connsiteX28" fmla="*/ 466725 w 3044825"/>
                <a:gd name="connsiteY28" fmla="*/ 257175 h 974725"/>
                <a:gd name="connsiteX29" fmla="*/ 476250 w 3044825"/>
                <a:gd name="connsiteY29" fmla="*/ 263525 h 974725"/>
                <a:gd name="connsiteX30" fmla="*/ 495300 w 3044825"/>
                <a:gd name="connsiteY30" fmla="*/ 279400 h 974725"/>
                <a:gd name="connsiteX31" fmla="*/ 504825 w 3044825"/>
                <a:gd name="connsiteY31" fmla="*/ 282575 h 974725"/>
                <a:gd name="connsiteX32" fmla="*/ 514350 w 3044825"/>
                <a:gd name="connsiteY32" fmla="*/ 288925 h 974725"/>
                <a:gd name="connsiteX33" fmla="*/ 533400 w 3044825"/>
                <a:gd name="connsiteY33" fmla="*/ 298450 h 974725"/>
                <a:gd name="connsiteX34" fmla="*/ 549275 w 3044825"/>
                <a:gd name="connsiteY34" fmla="*/ 282575 h 974725"/>
                <a:gd name="connsiteX35" fmla="*/ 558800 w 3044825"/>
                <a:gd name="connsiteY35" fmla="*/ 279400 h 974725"/>
                <a:gd name="connsiteX36" fmla="*/ 590550 w 3044825"/>
                <a:gd name="connsiteY36" fmla="*/ 276225 h 974725"/>
                <a:gd name="connsiteX37" fmla="*/ 603250 w 3044825"/>
                <a:gd name="connsiteY37" fmla="*/ 234950 h 974725"/>
                <a:gd name="connsiteX38" fmla="*/ 622300 w 3044825"/>
                <a:gd name="connsiteY38" fmla="*/ 225425 h 974725"/>
                <a:gd name="connsiteX39" fmla="*/ 638175 w 3044825"/>
                <a:gd name="connsiteY39" fmla="*/ 209550 h 974725"/>
                <a:gd name="connsiteX40" fmla="*/ 657225 w 3044825"/>
                <a:gd name="connsiteY40" fmla="*/ 203200 h 974725"/>
                <a:gd name="connsiteX41" fmla="*/ 676275 w 3044825"/>
                <a:gd name="connsiteY41" fmla="*/ 190500 h 974725"/>
                <a:gd name="connsiteX42" fmla="*/ 685800 w 3044825"/>
                <a:gd name="connsiteY42" fmla="*/ 180975 h 974725"/>
                <a:gd name="connsiteX43" fmla="*/ 711200 w 3044825"/>
                <a:gd name="connsiteY43" fmla="*/ 174625 h 974725"/>
                <a:gd name="connsiteX44" fmla="*/ 736600 w 3044825"/>
                <a:gd name="connsiteY44" fmla="*/ 177800 h 974725"/>
                <a:gd name="connsiteX45" fmla="*/ 752475 w 3044825"/>
                <a:gd name="connsiteY45" fmla="*/ 193675 h 974725"/>
                <a:gd name="connsiteX46" fmla="*/ 762000 w 3044825"/>
                <a:gd name="connsiteY46" fmla="*/ 196850 h 974725"/>
                <a:gd name="connsiteX47" fmla="*/ 873125 w 3044825"/>
                <a:gd name="connsiteY47" fmla="*/ 193675 h 974725"/>
                <a:gd name="connsiteX48" fmla="*/ 908050 w 3044825"/>
                <a:gd name="connsiteY48" fmla="*/ 196850 h 974725"/>
                <a:gd name="connsiteX49" fmla="*/ 927100 w 3044825"/>
                <a:gd name="connsiteY49" fmla="*/ 215900 h 974725"/>
                <a:gd name="connsiteX50" fmla="*/ 936625 w 3044825"/>
                <a:gd name="connsiteY50" fmla="*/ 225425 h 974725"/>
                <a:gd name="connsiteX51" fmla="*/ 946150 w 3044825"/>
                <a:gd name="connsiteY51" fmla="*/ 234950 h 974725"/>
                <a:gd name="connsiteX52" fmla="*/ 955675 w 3044825"/>
                <a:gd name="connsiteY52" fmla="*/ 241300 h 974725"/>
                <a:gd name="connsiteX53" fmla="*/ 1162050 w 3044825"/>
                <a:gd name="connsiteY53" fmla="*/ 244475 h 974725"/>
                <a:gd name="connsiteX54" fmla="*/ 1184275 w 3044825"/>
                <a:gd name="connsiteY54" fmla="*/ 266700 h 974725"/>
                <a:gd name="connsiteX55" fmla="*/ 1196975 w 3044825"/>
                <a:gd name="connsiteY55" fmla="*/ 285750 h 974725"/>
                <a:gd name="connsiteX56" fmla="*/ 1206500 w 3044825"/>
                <a:gd name="connsiteY56" fmla="*/ 292100 h 974725"/>
                <a:gd name="connsiteX57" fmla="*/ 1225550 w 3044825"/>
                <a:gd name="connsiteY57" fmla="*/ 307975 h 974725"/>
                <a:gd name="connsiteX58" fmla="*/ 1257300 w 3044825"/>
                <a:gd name="connsiteY58" fmla="*/ 301625 h 974725"/>
                <a:gd name="connsiteX59" fmla="*/ 1266825 w 3044825"/>
                <a:gd name="connsiteY59" fmla="*/ 295275 h 974725"/>
                <a:gd name="connsiteX60" fmla="*/ 1295400 w 3044825"/>
                <a:gd name="connsiteY60" fmla="*/ 292100 h 974725"/>
                <a:gd name="connsiteX61" fmla="*/ 1320800 w 3044825"/>
                <a:gd name="connsiteY61" fmla="*/ 276225 h 974725"/>
                <a:gd name="connsiteX62" fmla="*/ 1339850 w 3044825"/>
                <a:gd name="connsiteY62" fmla="*/ 273050 h 974725"/>
                <a:gd name="connsiteX63" fmla="*/ 1346200 w 3044825"/>
                <a:gd name="connsiteY63" fmla="*/ 263525 h 974725"/>
                <a:gd name="connsiteX64" fmla="*/ 1368425 w 3044825"/>
                <a:gd name="connsiteY64" fmla="*/ 254000 h 974725"/>
                <a:gd name="connsiteX65" fmla="*/ 1377950 w 3044825"/>
                <a:gd name="connsiteY65" fmla="*/ 247650 h 974725"/>
                <a:gd name="connsiteX66" fmla="*/ 1387475 w 3044825"/>
                <a:gd name="connsiteY66" fmla="*/ 244475 h 974725"/>
                <a:gd name="connsiteX67" fmla="*/ 1409700 w 3044825"/>
                <a:gd name="connsiteY67" fmla="*/ 228600 h 974725"/>
                <a:gd name="connsiteX68" fmla="*/ 1425575 w 3044825"/>
                <a:gd name="connsiteY68" fmla="*/ 225425 h 974725"/>
                <a:gd name="connsiteX69" fmla="*/ 1435100 w 3044825"/>
                <a:gd name="connsiteY69" fmla="*/ 222250 h 974725"/>
                <a:gd name="connsiteX70" fmla="*/ 1447800 w 3044825"/>
                <a:gd name="connsiteY70" fmla="*/ 219075 h 974725"/>
                <a:gd name="connsiteX71" fmla="*/ 1470025 w 3044825"/>
                <a:gd name="connsiteY71" fmla="*/ 209550 h 974725"/>
                <a:gd name="connsiteX72" fmla="*/ 1479550 w 3044825"/>
                <a:gd name="connsiteY72" fmla="*/ 206375 h 974725"/>
                <a:gd name="connsiteX73" fmla="*/ 1508125 w 3044825"/>
                <a:gd name="connsiteY73" fmla="*/ 190500 h 974725"/>
                <a:gd name="connsiteX74" fmla="*/ 1527175 w 3044825"/>
                <a:gd name="connsiteY74" fmla="*/ 180975 h 974725"/>
                <a:gd name="connsiteX75" fmla="*/ 1539875 w 3044825"/>
                <a:gd name="connsiteY75" fmla="*/ 184150 h 974725"/>
                <a:gd name="connsiteX76" fmla="*/ 1558925 w 3044825"/>
                <a:gd name="connsiteY76" fmla="*/ 190500 h 974725"/>
                <a:gd name="connsiteX77" fmla="*/ 1568450 w 3044825"/>
                <a:gd name="connsiteY77" fmla="*/ 196850 h 974725"/>
                <a:gd name="connsiteX78" fmla="*/ 1600200 w 3044825"/>
                <a:gd name="connsiteY78" fmla="*/ 203200 h 974725"/>
                <a:gd name="connsiteX79" fmla="*/ 1657350 w 3044825"/>
                <a:gd name="connsiteY79" fmla="*/ 212725 h 974725"/>
                <a:gd name="connsiteX80" fmla="*/ 1695450 w 3044825"/>
                <a:gd name="connsiteY80" fmla="*/ 238125 h 974725"/>
                <a:gd name="connsiteX81" fmla="*/ 1708150 w 3044825"/>
                <a:gd name="connsiteY81" fmla="*/ 247650 h 974725"/>
                <a:gd name="connsiteX82" fmla="*/ 1711325 w 3044825"/>
                <a:gd name="connsiteY82" fmla="*/ 266700 h 974725"/>
                <a:gd name="connsiteX83" fmla="*/ 1724025 w 3044825"/>
                <a:gd name="connsiteY83" fmla="*/ 273050 h 974725"/>
                <a:gd name="connsiteX84" fmla="*/ 1743075 w 3044825"/>
                <a:gd name="connsiteY84" fmla="*/ 279400 h 974725"/>
                <a:gd name="connsiteX85" fmla="*/ 1752600 w 3044825"/>
                <a:gd name="connsiteY85" fmla="*/ 282575 h 974725"/>
                <a:gd name="connsiteX86" fmla="*/ 1774825 w 3044825"/>
                <a:gd name="connsiteY86" fmla="*/ 288925 h 974725"/>
                <a:gd name="connsiteX87" fmla="*/ 1793875 w 3044825"/>
                <a:gd name="connsiteY87" fmla="*/ 301625 h 974725"/>
                <a:gd name="connsiteX88" fmla="*/ 1797050 w 3044825"/>
                <a:gd name="connsiteY88" fmla="*/ 317500 h 974725"/>
                <a:gd name="connsiteX89" fmla="*/ 1920875 w 3044825"/>
                <a:gd name="connsiteY89" fmla="*/ 374650 h 974725"/>
                <a:gd name="connsiteX90" fmla="*/ 1968500 w 3044825"/>
                <a:gd name="connsiteY90" fmla="*/ 381000 h 974725"/>
                <a:gd name="connsiteX91" fmla="*/ 1987550 w 3044825"/>
                <a:gd name="connsiteY91" fmla="*/ 393700 h 974725"/>
                <a:gd name="connsiteX92" fmla="*/ 1997075 w 3044825"/>
                <a:gd name="connsiteY92" fmla="*/ 412750 h 974725"/>
                <a:gd name="connsiteX93" fmla="*/ 2003425 w 3044825"/>
                <a:gd name="connsiteY93" fmla="*/ 422275 h 974725"/>
                <a:gd name="connsiteX94" fmla="*/ 2006600 w 3044825"/>
                <a:gd name="connsiteY94" fmla="*/ 431800 h 974725"/>
                <a:gd name="connsiteX95" fmla="*/ 2019300 w 3044825"/>
                <a:gd name="connsiteY95" fmla="*/ 460375 h 974725"/>
                <a:gd name="connsiteX96" fmla="*/ 2032000 w 3044825"/>
                <a:gd name="connsiteY96" fmla="*/ 479425 h 974725"/>
                <a:gd name="connsiteX97" fmla="*/ 2063750 w 3044825"/>
                <a:gd name="connsiteY97" fmla="*/ 511175 h 974725"/>
                <a:gd name="connsiteX98" fmla="*/ 2073275 w 3044825"/>
                <a:gd name="connsiteY98" fmla="*/ 520700 h 974725"/>
                <a:gd name="connsiteX99" fmla="*/ 2095500 w 3044825"/>
                <a:gd name="connsiteY99" fmla="*/ 546100 h 974725"/>
                <a:gd name="connsiteX100" fmla="*/ 2101850 w 3044825"/>
                <a:gd name="connsiteY100" fmla="*/ 555625 h 974725"/>
                <a:gd name="connsiteX101" fmla="*/ 2111375 w 3044825"/>
                <a:gd name="connsiteY101" fmla="*/ 561975 h 974725"/>
                <a:gd name="connsiteX102" fmla="*/ 2114550 w 3044825"/>
                <a:gd name="connsiteY102" fmla="*/ 571500 h 974725"/>
                <a:gd name="connsiteX103" fmla="*/ 2124075 w 3044825"/>
                <a:gd name="connsiteY103" fmla="*/ 581025 h 974725"/>
                <a:gd name="connsiteX104" fmla="*/ 2146300 w 3044825"/>
                <a:gd name="connsiteY104" fmla="*/ 596900 h 974725"/>
                <a:gd name="connsiteX105" fmla="*/ 2155825 w 3044825"/>
                <a:gd name="connsiteY105" fmla="*/ 600075 h 974725"/>
                <a:gd name="connsiteX106" fmla="*/ 2171700 w 3044825"/>
                <a:gd name="connsiteY106" fmla="*/ 619125 h 974725"/>
                <a:gd name="connsiteX107" fmla="*/ 2178050 w 3044825"/>
                <a:gd name="connsiteY107" fmla="*/ 628650 h 974725"/>
                <a:gd name="connsiteX108" fmla="*/ 2197100 w 3044825"/>
                <a:gd name="connsiteY108" fmla="*/ 638175 h 974725"/>
                <a:gd name="connsiteX109" fmla="*/ 2222500 w 3044825"/>
                <a:gd name="connsiteY109" fmla="*/ 644525 h 974725"/>
                <a:gd name="connsiteX110" fmla="*/ 2247900 w 3044825"/>
                <a:gd name="connsiteY110" fmla="*/ 647700 h 974725"/>
                <a:gd name="connsiteX111" fmla="*/ 2266950 w 3044825"/>
                <a:gd name="connsiteY111" fmla="*/ 650875 h 974725"/>
                <a:gd name="connsiteX112" fmla="*/ 2317750 w 3044825"/>
                <a:gd name="connsiteY112" fmla="*/ 654050 h 974725"/>
                <a:gd name="connsiteX113" fmla="*/ 2333625 w 3044825"/>
                <a:gd name="connsiteY113" fmla="*/ 669925 h 974725"/>
                <a:gd name="connsiteX114" fmla="*/ 2346325 w 3044825"/>
                <a:gd name="connsiteY114" fmla="*/ 695325 h 974725"/>
                <a:gd name="connsiteX115" fmla="*/ 2359025 w 3044825"/>
                <a:gd name="connsiteY115" fmla="*/ 714375 h 974725"/>
                <a:gd name="connsiteX116" fmla="*/ 2365375 w 3044825"/>
                <a:gd name="connsiteY116" fmla="*/ 723900 h 974725"/>
                <a:gd name="connsiteX117" fmla="*/ 2374900 w 3044825"/>
                <a:gd name="connsiteY117" fmla="*/ 733425 h 974725"/>
                <a:gd name="connsiteX118" fmla="*/ 2381250 w 3044825"/>
                <a:gd name="connsiteY118" fmla="*/ 742950 h 974725"/>
                <a:gd name="connsiteX119" fmla="*/ 2390775 w 3044825"/>
                <a:gd name="connsiteY119" fmla="*/ 749300 h 974725"/>
                <a:gd name="connsiteX120" fmla="*/ 2413000 w 3044825"/>
                <a:gd name="connsiteY120" fmla="*/ 771525 h 974725"/>
                <a:gd name="connsiteX121" fmla="*/ 2419350 w 3044825"/>
                <a:gd name="connsiteY121" fmla="*/ 781050 h 974725"/>
                <a:gd name="connsiteX122" fmla="*/ 2428875 w 3044825"/>
                <a:gd name="connsiteY122" fmla="*/ 787400 h 974725"/>
                <a:gd name="connsiteX123" fmla="*/ 2444750 w 3044825"/>
                <a:gd name="connsiteY123" fmla="*/ 806450 h 974725"/>
                <a:gd name="connsiteX124" fmla="*/ 2454275 w 3044825"/>
                <a:gd name="connsiteY124" fmla="*/ 812800 h 974725"/>
                <a:gd name="connsiteX125" fmla="*/ 2470150 w 3044825"/>
                <a:gd name="connsiteY125" fmla="*/ 828675 h 974725"/>
                <a:gd name="connsiteX126" fmla="*/ 2486025 w 3044825"/>
                <a:gd name="connsiteY126" fmla="*/ 844550 h 974725"/>
                <a:gd name="connsiteX127" fmla="*/ 2501900 w 3044825"/>
                <a:gd name="connsiteY127" fmla="*/ 863600 h 974725"/>
                <a:gd name="connsiteX128" fmla="*/ 2517775 w 3044825"/>
                <a:gd name="connsiteY128" fmla="*/ 879475 h 974725"/>
                <a:gd name="connsiteX129" fmla="*/ 2520950 w 3044825"/>
                <a:gd name="connsiteY129" fmla="*/ 889000 h 974725"/>
                <a:gd name="connsiteX130" fmla="*/ 2536825 w 3044825"/>
                <a:gd name="connsiteY130" fmla="*/ 908050 h 974725"/>
                <a:gd name="connsiteX131" fmla="*/ 2540000 w 3044825"/>
                <a:gd name="connsiteY131" fmla="*/ 917575 h 974725"/>
                <a:gd name="connsiteX132" fmla="*/ 2559050 w 3044825"/>
                <a:gd name="connsiteY132" fmla="*/ 930275 h 974725"/>
                <a:gd name="connsiteX133" fmla="*/ 2578100 w 3044825"/>
                <a:gd name="connsiteY133" fmla="*/ 939800 h 974725"/>
                <a:gd name="connsiteX134" fmla="*/ 2606675 w 3044825"/>
                <a:gd name="connsiteY134" fmla="*/ 962025 h 974725"/>
                <a:gd name="connsiteX135" fmla="*/ 2616200 w 3044825"/>
                <a:gd name="connsiteY135" fmla="*/ 968375 h 974725"/>
                <a:gd name="connsiteX136" fmla="*/ 2625725 w 3044825"/>
                <a:gd name="connsiteY136" fmla="*/ 974725 h 974725"/>
                <a:gd name="connsiteX137" fmla="*/ 2705100 w 3044825"/>
                <a:gd name="connsiteY137" fmla="*/ 958850 h 974725"/>
                <a:gd name="connsiteX138" fmla="*/ 2705100 w 3044825"/>
                <a:gd name="connsiteY138" fmla="*/ 958850 h 974725"/>
                <a:gd name="connsiteX139" fmla="*/ 2724150 w 3044825"/>
                <a:gd name="connsiteY139" fmla="*/ 952500 h 974725"/>
                <a:gd name="connsiteX140" fmla="*/ 2771775 w 3044825"/>
                <a:gd name="connsiteY140" fmla="*/ 914400 h 974725"/>
                <a:gd name="connsiteX141" fmla="*/ 2784475 w 3044825"/>
                <a:gd name="connsiteY141" fmla="*/ 895350 h 974725"/>
                <a:gd name="connsiteX142" fmla="*/ 2794000 w 3044825"/>
                <a:gd name="connsiteY142" fmla="*/ 885825 h 974725"/>
                <a:gd name="connsiteX143" fmla="*/ 2813050 w 3044825"/>
                <a:gd name="connsiteY143" fmla="*/ 869950 h 974725"/>
                <a:gd name="connsiteX144" fmla="*/ 2825750 w 3044825"/>
                <a:gd name="connsiteY144" fmla="*/ 854075 h 974725"/>
                <a:gd name="connsiteX145" fmla="*/ 2841625 w 3044825"/>
                <a:gd name="connsiteY145" fmla="*/ 838200 h 974725"/>
                <a:gd name="connsiteX146" fmla="*/ 2863850 w 3044825"/>
                <a:gd name="connsiteY146" fmla="*/ 822325 h 974725"/>
                <a:gd name="connsiteX147" fmla="*/ 2882900 w 3044825"/>
                <a:gd name="connsiteY147" fmla="*/ 815975 h 974725"/>
                <a:gd name="connsiteX148" fmla="*/ 2905125 w 3044825"/>
                <a:gd name="connsiteY148" fmla="*/ 809625 h 974725"/>
                <a:gd name="connsiteX149" fmla="*/ 2921000 w 3044825"/>
                <a:gd name="connsiteY149" fmla="*/ 806450 h 974725"/>
                <a:gd name="connsiteX150" fmla="*/ 2930525 w 3044825"/>
                <a:gd name="connsiteY150" fmla="*/ 803275 h 974725"/>
                <a:gd name="connsiteX151" fmla="*/ 2943225 w 3044825"/>
                <a:gd name="connsiteY151" fmla="*/ 800100 h 974725"/>
                <a:gd name="connsiteX152" fmla="*/ 2955925 w 3044825"/>
                <a:gd name="connsiteY152" fmla="*/ 793750 h 974725"/>
                <a:gd name="connsiteX153" fmla="*/ 2965450 w 3044825"/>
                <a:gd name="connsiteY153" fmla="*/ 790575 h 974725"/>
                <a:gd name="connsiteX154" fmla="*/ 2974975 w 3044825"/>
                <a:gd name="connsiteY154" fmla="*/ 781050 h 974725"/>
                <a:gd name="connsiteX155" fmla="*/ 2984500 w 3044825"/>
                <a:gd name="connsiteY155" fmla="*/ 774700 h 974725"/>
                <a:gd name="connsiteX156" fmla="*/ 2987675 w 3044825"/>
                <a:gd name="connsiteY156" fmla="*/ 765175 h 974725"/>
                <a:gd name="connsiteX157" fmla="*/ 2997200 w 3044825"/>
                <a:gd name="connsiteY157" fmla="*/ 755650 h 974725"/>
                <a:gd name="connsiteX158" fmla="*/ 3006725 w 3044825"/>
                <a:gd name="connsiteY158" fmla="*/ 698500 h 974725"/>
                <a:gd name="connsiteX159" fmla="*/ 3013075 w 3044825"/>
                <a:gd name="connsiteY159" fmla="*/ 688975 h 974725"/>
                <a:gd name="connsiteX160" fmla="*/ 3032125 w 3044825"/>
                <a:gd name="connsiteY160" fmla="*/ 676275 h 974725"/>
                <a:gd name="connsiteX161" fmla="*/ 3044825 w 3044825"/>
                <a:gd name="connsiteY161" fmla="*/ 673100 h 974725"/>
                <a:gd name="connsiteX0" fmla="*/ 0 w 3044825"/>
                <a:gd name="connsiteY0" fmla="*/ 0 h 974725"/>
                <a:gd name="connsiteX1" fmla="*/ 0 w 3044825"/>
                <a:gd name="connsiteY1" fmla="*/ 0 h 974725"/>
                <a:gd name="connsiteX2" fmla="*/ 22225 w 3044825"/>
                <a:gd name="connsiteY2" fmla="*/ 19050 h 974725"/>
                <a:gd name="connsiteX3" fmla="*/ 38100 w 3044825"/>
                <a:gd name="connsiteY3" fmla="*/ 38100 h 974725"/>
                <a:gd name="connsiteX4" fmla="*/ 53975 w 3044825"/>
                <a:gd name="connsiteY4" fmla="*/ 53975 h 974725"/>
                <a:gd name="connsiteX5" fmla="*/ 69850 w 3044825"/>
                <a:gd name="connsiteY5" fmla="*/ 66675 h 974725"/>
                <a:gd name="connsiteX6" fmla="*/ 95250 w 3044825"/>
                <a:gd name="connsiteY6" fmla="*/ 79375 h 974725"/>
                <a:gd name="connsiteX7" fmla="*/ 114300 w 3044825"/>
                <a:gd name="connsiteY7" fmla="*/ 92075 h 974725"/>
                <a:gd name="connsiteX8" fmla="*/ 123825 w 3044825"/>
                <a:gd name="connsiteY8" fmla="*/ 95250 h 974725"/>
                <a:gd name="connsiteX9" fmla="*/ 146050 w 3044825"/>
                <a:gd name="connsiteY9" fmla="*/ 111125 h 974725"/>
                <a:gd name="connsiteX10" fmla="*/ 155575 w 3044825"/>
                <a:gd name="connsiteY10" fmla="*/ 114300 h 974725"/>
                <a:gd name="connsiteX11" fmla="*/ 180975 w 3044825"/>
                <a:gd name="connsiteY11" fmla="*/ 123825 h 974725"/>
                <a:gd name="connsiteX12" fmla="*/ 200025 w 3044825"/>
                <a:gd name="connsiteY12" fmla="*/ 130175 h 974725"/>
                <a:gd name="connsiteX13" fmla="*/ 212725 w 3044825"/>
                <a:gd name="connsiteY13" fmla="*/ 133350 h 974725"/>
                <a:gd name="connsiteX14" fmla="*/ 231775 w 3044825"/>
                <a:gd name="connsiteY14" fmla="*/ 139700 h 974725"/>
                <a:gd name="connsiteX15" fmla="*/ 250825 w 3044825"/>
                <a:gd name="connsiteY15" fmla="*/ 142875 h 974725"/>
                <a:gd name="connsiteX16" fmla="*/ 279400 w 3044825"/>
                <a:gd name="connsiteY16" fmla="*/ 152400 h 974725"/>
                <a:gd name="connsiteX17" fmla="*/ 298450 w 3044825"/>
                <a:gd name="connsiteY17" fmla="*/ 155575 h 974725"/>
                <a:gd name="connsiteX18" fmla="*/ 317500 w 3044825"/>
                <a:gd name="connsiteY18" fmla="*/ 161925 h 974725"/>
                <a:gd name="connsiteX19" fmla="*/ 327025 w 3044825"/>
                <a:gd name="connsiteY19" fmla="*/ 165100 h 974725"/>
                <a:gd name="connsiteX20" fmla="*/ 336550 w 3044825"/>
                <a:gd name="connsiteY20" fmla="*/ 171450 h 974725"/>
                <a:gd name="connsiteX21" fmla="*/ 346075 w 3044825"/>
                <a:gd name="connsiteY21" fmla="*/ 180975 h 974725"/>
                <a:gd name="connsiteX22" fmla="*/ 355600 w 3044825"/>
                <a:gd name="connsiteY22" fmla="*/ 184150 h 974725"/>
                <a:gd name="connsiteX23" fmla="*/ 377825 w 3044825"/>
                <a:gd name="connsiteY23" fmla="*/ 196850 h 974725"/>
                <a:gd name="connsiteX24" fmla="*/ 396875 w 3044825"/>
                <a:gd name="connsiteY24" fmla="*/ 212725 h 974725"/>
                <a:gd name="connsiteX25" fmla="*/ 409575 w 3044825"/>
                <a:gd name="connsiteY25" fmla="*/ 219075 h 974725"/>
                <a:gd name="connsiteX26" fmla="*/ 428625 w 3044825"/>
                <a:gd name="connsiteY26" fmla="*/ 231775 h 974725"/>
                <a:gd name="connsiteX27" fmla="*/ 447675 w 3044825"/>
                <a:gd name="connsiteY27" fmla="*/ 244475 h 974725"/>
                <a:gd name="connsiteX28" fmla="*/ 466725 w 3044825"/>
                <a:gd name="connsiteY28" fmla="*/ 257175 h 974725"/>
                <a:gd name="connsiteX29" fmla="*/ 476250 w 3044825"/>
                <a:gd name="connsiteY29" fmla="*/ 263525 h 974725"/>
                <a:gd name="connsiteX30" fmla="*/ 495300 w 3044825"/>
                <a:gd name="connsiteY30" fmla="*/ 279400 h 974725"/>
                <a:gd name="connsiteX31" fmla="*/ 504825 w 3044825"/>
                <a:gd name="connsiteY31" fmla="*/ 282575 h 974725"/>
                <a:gd name="connsiteX32" fmla="*/ 514350 w 3044825"/>
                <a:gd name="connsiteY32" fmla="*/ 288925 h 974725"/>
                <a:gd name="connsiteX33" fmla="*/ 533400 w 3044825"/>
                <a:gd name="connsiteY33" fmla="*/ 298450 h 974725"/>
                <a:gd name="connsiteX34" fmla="*/ 549275 w 3044825"/>
                <a:gd name="connsiteY34" fmla="*/ 282575 h 974725"/>
                <a:gd name="connsiteX35" fmla="*/ 558800 w 3044825"/>
                <a:gd name="connsiteY35" fmla="*/ 279400 h 974725"/>
                <a:gd name="connsiteX36" fmla="*/ 590550 w 3044825"/>
                <a:gd name="connsiteY36" fmla="*/ 276225 h 974725"/>
                <a:gd name="connsiteX37" fmla="*/ 603250 w 3044825"/>
                <a:gd name="connsiteY37" fmla="*/ 234950 h 974725"/>
                <a:gd name="connsiteX38" fmla="*/ 622300 w 3044825"/>
                <a:gd name="connsiteY38" fmla="*/ 225425 h 974725"/>
                <a:gd name="connsiteX39" fmla="*/ 638175 w 3044825"/>
                <a:gd name="connsiteY39" fmla="*/ 209550 h 974725"/>
                <a:gd name="connsiteX40" fmla="*/ 657225 w 3044825"/>
                <a:gd name="connsiteY40" fmla="*/ 203200 h 974725"/>
                <a:gd name="connsiteX41" fmla="*/ 676275 w 3044825"/>
                <a:gd name="connsiteY41" fmla="*/ 190500 h 974725"/>
                <a:gd name="connsiteX42" fmla="*/ 685800 w 3044825"/>
                <a:gd name="connsiteY42" fmla="*/ 180975 h 974725"/>
                <a:gd name="connsiteX43" fmla="*/ 711200 w 3044825"/>
                <a:gd name="connsiteY43" fmla="*/ 174625 h 974725"/>
                <a:gd name="connsiteX44" fmla="*/ 736600 w 3044825"/>
                <a:gd name="connsiteY44" fmla="*/ 177800 h 974725"/>
                <a:gd name="connsiteX45" fmla="*/ 752475 w 3044825"/>
                <a:gd name="connsiteY45" fmla="*/ 193675 h 974725"/>
                <a:gd name="connsiteX46" fmla="*/ 762000 w 3044825"/>
                <a:gd name="connsiteY46" fmla="*/ 196850 h 974725"/>
                <a:gd name="connsiteX47" fmla="*/ 873125 w 3044825"/>
                <a:gd name="connsiteY47" fmla="*/ 193675 h 974725"/>
                <a:gd name="connsiteX48" fmla="*/ 908050 w 3044825"/>
                <a:gd name="connsiteY48" fmla="*/ 196850 h 974725"/>
                <a:gd name="connsiteX49" fmla="*/ 927100 w 3044825"/>
                <a:gd name="connsiteY49" fmla="*/ 215900 h 974725"/>
                <a:gd name="connsiteX50" fmla="*/ 936625 w 3044825"/>
                <a:gd name="connsiteY50" fmla="*/ 225425 h 974725"/>
                <a:gd name="connsiteX51" fmla="*/ 946150 w 3044825"/>
                <a:gd name="connsiteY51" fmla="*/ 234950 h 974725"/>
                <a:gd name="connsiteX52" fmla="*/ 955675 w 3044825"/>
                <a:gd name="connsiteY52" fmla="*/ 241300 h 974725"/>
                <a:gd name="connsiteX53" fmla="*/ 1162050 w 3044825"/>
                <a:gd name="connsiteY53" fmla="*/ 244475 h 974725"/>
                <a:gd name="connsiteX54" fmla="*/ 1184275 w 3044825"/>
                <a:gd name="connsiteY54" fmla="*/ 266700 h 974725"/>
                <a:gd name="connsiteX55" fmla="*/ 1196975 w 3044825"/>
                <a:gd name="connsiteY55" fmla="*/ 285750 h 974725"/>
                <a:gd name="connsiteX56" fmla="*/ 1206500 w 3044825"/>
                <a:gd name="connsiteY56" fmla="*/ 292100 h 974725"/>
                <a:gd name="connsiteX57" fmla="*/ 1225550 w 3044825"/>
                <a:gd name="connsiteY57" fmla="*/ 307975 h 974725"/>
                <a:gd name="connsiteX58" fmla="*/ 1257300 w 3044825"/>
                <a:gd name="connsiteY58" fmla="*/ 301625 h 974725"/>
                <a:gd name="connsiteX59" fmla="*/ 1266825 w 3044825"/>
                <a:gd name="connsiteY59" fmla="*/ 295275 h 974725"/>
                <a:gd name="connsiteX60" fmla="*/ 1295400 w 3044825"/>
                <a:gd name="connsiteY60" fmla="*/ 292100 h 974725"/>
                <a:gd name="connsiteX61" fmla="*/ 1320800 w 3044825"/>
                <a:gd name="connsiteY61" fmla="*/ 276225 h 974725"/>
                <a:gd name="connsiteX62" fmla="*/ 1339850 w 3044825"/>
                <a:gd name="connsiteY62" fmla="*/ 273050 h 974725"/>
                <a:gd name="connsiteX63" fmla="*/ 1346200 w 3044825"/>
                <a:gd name="connsiteY63" fmla="*/ 263525 h 974725"/>
                <a:gd name="connsiteX64" fmla="*/ 1368425 w 3044825"/>
                <a:gd name="connsiteY64" fmla="*/ 254000 h 974725"/>
                <a:gd name="connsiteX65" fmla="*/ 1377950 w 3044825"/>
                <a:gd name="connsiteY65" fmla="*/ 247650 h 974725"/>
                <a:gd name="connsiteX66" fmla="*/ 1387475 w 3044825"/>
                <a:gd name="connsiteY66" fmla="*/ 244475 h 974725"/>
                <a:gd name="connsiteX67" fmla="*/ 1409700 w 3044825"/>
                <a:gd name="connsiteY67" fmla="*/ 228600 h 974725"/>
                <a:gd name="connsiteX68" fmla="*/ 1425575 w 3044825"/>
                <a:gd name="connsiteY68" fmla="*/ 225425 h 974725"/>
                <a:gd name="connsiteX69" fmla="*/ 1435100 w 3044825"/>
                <a:gd name="connsiteY69" fmla="*/ 222250 h 974725"/>
                <a:gd name="connsiteX70" fmla="*/ 1447800 w 3044825"/>
                <a:gd name="connsiteY70" fmla="*/ 219075 h 974725"/>
                <a:gd name="connsiteX71" fmla="*/ 1470025 w 3044825"/>
                <a:gd name="connsiteY71" fmla="*/ 209550 h 974725"/>
                <a:gd name="connsiteX72" fmla="*/ 1479550 w 3044825"/>
                <a:gd name="connsiteY72" fmla="*/ 206375 h 974725"/>
                <a:gd name="connsiteX73" fmla="*/ 1508125 w 3044825"/>
                <a:gd name="connsiteY73" fmla="*/ 190500 h 974725"/>
                <a:gd name="connsiteX74" fmla="*/ 1527175 w 3044825"/>
                <a:gd name="connsiteY74" fmla="*/ 180975 h 974725"/>
                <a:gd name="connsiteX75" fmla="*/ 1539875 w 3044825"/>
                <a:gd name="connsiteY75" fmla="*/ 184150 h 974725"/>
                <a:gd name="connsiteX76" fmla="*/ 1558925 w 3044825"/>
                <a:gd name="connsiteY76" fmla="*/ 190500 h 974725"/>
                <a:gd name="connsiteX77" fmla="*/ 1568450 w 3044825"/>
                <a:gd name="connsiteY77" fmla="*/ 196850 h 974725"/>
                <a:gd name="connsiteX78" fmla="*/ 1600200 w 3044825"/>
                <a:gd name="connsiteY78" fmla="*/ 203200 h 974725"/>
                <a:gd name="connsiteX79" fmla="*/ 1657350 w 3044825"/>
                <a:gd name="connsiteY79" fmla="*/ 212725 h 974725"/>
                <a:gd name="connsiteX80" fmla="*/ 1695450 w 3044825"/>
                <a:gd name="connsiteY80" fmla="*/ 238125 h 974725"/>
                <a:gd name="connsiteX81" fmla="*/ 1708150 w 3044825"/>
                <a:gd name="connsiteY81" fmla="*/ 247650 h 974725"/>
                <a:gd name="connsiteX82" fmla="*/ 1711325 w 3044825"/>
                <a:gd name="connsiteY82" fmla="*/ 266700 h 974725"/>
                <a:gd name="connsiteX83" fmla="*/ 1724025 w 3044825"/>
                <a:gd name="connsiteY83" fmla="*/ 273050 h 974725"/>
                <a:gd name="connsiteX84" fmla="*/ 1743075 w 3044825"/>
                <a:gd name="connsiteY84" fmla="*/ 279400 h 974725"/>
                <a:gd name="connsiteX85" fmla="*/ 1752600 w 3044825"/>
                <a:gd name="connsiteY85" fmla="*/ 282575 h 974725"/>
                <a:gd name="connsiteX86" fmla="*/ 1774825 w 3044825"/>
                <a:gd name="connsiteY86" fmla="*/ 288925 h 974725"/>
                <a:gd name="connsiteX87" fmla="*/ 1793875 w 3044825"/>
                <a:gd name="connsiteY87" fmla="*/ 301625 h 974725"/>
                <a:gd name="connsiteX88" fmla="*/ 1797050 w 3044825"/>
                <a:gd name="connsiteY88" fmla="*/ 317500 h 974725"/>
                <a:gd name="connsiteX89" fmla="*/ 1920875 w 3044825"/>
                <a:gd name="connsiteY89" fmla="*/ 374650 h 974725"/>
                <a:gd name="connsiteX90" fmla="*/ 1968500 w 3044825"/>
                <a:gd name="connsiteY90" fmla="*/ 381000 h 974725"/>
                <a:gd name="connsiteX91" fmla="*/ 1987550 w 3044825"/>
                <a:gd name="connsiteY91" fmla="*/ 393700 h 974725"/>
                <a:gd name="connsiteX92" fmla="*/ 1997075 w 3044825"/>
                <a:gd name="connsiteY92" fmla="*/ 412750 h 974725"/>
                <a:gd name="connsiteX93" fmla="*/ 2003425 w 3044825"/>
                <a:gd name="connsiteY93" fmla="*/ 422275 h 974725"/>
                <a:gd name="connsiteX94" fmla="*/ 2006600 w 3044825"/>
                <a:gd name="connsiteY94" fmla="*/ 431800 h 974725"/>
                <a:gd name="connsiteX95" fmla="*/ 2019300 w 3044825"/>
                <a:gd name="connsiteY95" fmla="*/ 460375 h 974725"/>
                <a:gd name="connsiteX96" fmla="*/ 2032000 w 3044825"/>
                <a:gd name="connsiteY96" fmla="*/ 479425 h 974725"/>
                <a:gd name="connsiteX97" fmla="*/ 2063750 w 3044825"/>
                <a:gd name="connsiteY97" fmla="*/ 511175 h 974725"/>
                <a:gd name="connsiteX98" fmla="*/ 2073275 w 3044825"/>
                <a:gd name="connsiteY98" fmla="*/ 520700 h 974725"/>
                <a:gd name="connsiteX99" fmla="*/ 2095500 w 3044825"/>
                <a:gd name="connsiteY99" fmla="*/ 546100 h 974725"/>
                <a:gd name="connsiteX100" fmla="*/ 2101850 w 3044825"/>
                <a:gd name="connsiteY100" fmla="*/ 555625 h 974725"/>
                <a:gd name="connsiteX101" fmla="*/ 2111375 w 3044825"/>
                <a:gd name="connsiteY101" fmla="*/ 561975 h 974725"/>
                <a:gd name="connsiteX102" fmla="*/ 2114550 w 3044825"/>
                <a:gd name="connsiteY102" fmla="*/ 571500 h 974725"/>
                <a:gd name="connsiteX103" fmla="*/ 2124075 w 3044825"/>
                <a:gd name="connsiteY103" fmla="*/ 581025 h 974725"/>
                <a:gd name="connsiteX104" fmla="*/ 2146300 w 3044825"/>
                <a:gd name="connsiteY104" fmla="*/ 596900 h 974725"/>
                <a:gd name="connsiteX105" fmla="*/ 2155825 w 3044825"/>
                <a:gd name="connsiteY105" fmla="*/ 600075 h 974725"/>
                <a:gd name="connsiteX106" fmla="*/ 2171700 w 3044825"/>
                <a:gd name="connsiteY106" fmla="*/ 619125 h 974725"/>
                <a:gd name="connsiteX107" fmla="*/ 2178050 w 3044825"/>
                <a:gd name="connsiteY107" fmla="*/ 628650 h 974725"/>
                <a:gd name="connsiteX108" fmla="*/ 2197100 w 3044825"/>
                <a:gd name="connsiteY108" fmla="*/ 638175 h 974725"/>
                <a:gd name="connsiteX109" fmla="*/ 2222500 w 3044825"/>
                <a:gd name="connsiteY109" fmla="*/ 644525 h 974725"/>
                <a:gd name="connsiteX110" fmla="*/ 2247900 w 3044825"/>
                <a:gd name="connsiteY110" fmla="*/ 647700 h 974725"/>
                <a:gd name="connsiteX111" fmla="*/ 2266950 w 3044825"/>
                <a:gd name="connsiteY111" fmla="*/ 650875 h 974725"/>
                <a:gd name="connsiteX112" fmla="*/ 2317750 w 3044825"/>
                <a:gd name="connsiteY112" fmla="*/ 654050 h 974725"/>
                <a:gd name="connsiteX113" fmla="*/ 2333625 w 3044825"/>
                <a:gd name="connsiteY113" fmla="*/ 669925 h 974725"/>
                <a:gd name="connsiteX114" fmla="*/ 2346325 w 3044825"/>
                <a:gd name="connsiteY114" fmla="*/ 695325 h 974725"/>
                <a:gd name="connsiteX115" fmla="*/ 2359025 w 3044825"/>
                <a:gd name="connsiteY115" fmla="*/ 714375 h 974725"/>
                <a:gd name="connsiteX116" fmla="*/ 2365375 w 3044825"/>
                <a:gd name="connsiteY116" fmla="*/ 723900 h 974725"/>
                <a:gd name="connsiteX117" fmla="*/ 2374900 w 3044825"/>
                <a:gd name="connsiteY117" fmla="*/ 733425 h 974725"/>
                <a:gd name="connsiteX118" fmla="*/ 2381250 w 3044825"/>
                <a:gd name="connsiteY118" fmla="*/ 742950 h 974725"/>
                <a:gd name="connsiteX119" fmla="*/ 2390775 w 3044825"/>
                <a:gd name="connsiteY119" fmla="*/ 749300 h 974725"/>
                <a:gd name="connsiteX120" fmla="*/ 2413000 w 3044825"/>
                <a:gd name="connsiteY120" fmla="*/ 771525 h 974725"/>
                <a:gd name="connsiteX121" fmla="*/ 2419350 w 3044825"/>
                <a:gd name="connsiteY121" fmla="*/ 781050 h 974725"/>
                <a:gd name="connsiteX122" fmla="*/ 2428875 w 3044825"/>
                <a:gd name="connsiteY122" fmla="*/ 787400 h 974725"/>
                <a:gd name="connsiteX123" fmla="*/ 2444750 w 3044825"/>
                <a:gd name="connsiteY123" fmla="*/ 806450 h 974725"/>
                <a:gd name="connsiteX124" fmla="*/ 2454275 w 3044825"/>
                <a:gd name="connsiteY124" fmla="*/ 812800 h 974725"/>
                <a:gd name="connsiteX125" fmla="*/ 2470150 w 3044825"/>
                <a:gd name="connsiteY125" fmla="*/ 828675 h 974725"/>
                <a:gd name="connsiteX126" fmla="*/ 2486025 w 3044825"/>
                <a:gd name="connsiteY126" fmla="*/ 844550 h 974725"/>
                <a:gd name="connsiteX127" fmla="*/ 2501900 w 3044825"/>
                <a:gd name="connsiteY127" fmla="*/ 863600 h 974725"/>
                <a:gd name="connsiteX128" fmla="*/ 2517775 w 3044825"/>
                <a:gd name="connsiteY128" fmla="*/ 879475 h 974725"/>
                <a:gd name="connsiteX129" fmla="*/ 2520950 w 3044825"/>
                <a:gd name="connsiteY129" fmla="*/ 889000 h 974725"/>
                <a:gd name="connsiteX130" fmla="*/ 2536825 w 3044825"/>
                <a:gd name="connsiteY130" fmla="*/ 908050 h 974725"/>
                <a:gd name="connsiteX131" fmla="*/ 2540000 w 3044825"/>
                <a:gd name="connsiteY131" fmla="*/ 917575 h 974725"/>
                <a:gd name="connsiteX132" fmla="*/ 2559050 w 3044825"/>
                <a:gd name="connsiteY132" fmla="*/ 930275 h 974725"/>
                <a:gd name="connsiteX133" fmla="*/ 2578100 w 3044825"/>
                <a:gd name="connsiteY133" fmla="*/ 939800 h 974725"/>
                <a:gd name="connsiteX134" fmla="*/ 2606675 w 3044825"/>
                <a:gd name="connsiteY134" fmla="*/ 962025 h 974725"/>
                <a:gd name="connsiteX135" fmla="*/ 2616200 w 3044825"/>
                <a:gd name="connsiteY135" fmla="*/ 968375 h 974725"/>
                <a:gd name="connsiteX136" fmla="*/ 2625725 w 3044825"/>
                <a:gd name="connsiteY136" fmla="*/ 974725 h 974725"/>
                <a:gd name="connsiteX137" fmla="*/ 2705100 w 3044825"/>
                <a:gd name="connsiteY137" fmla="*/ 958850 h 974725"/>
                <a:gd name="connsiteX138" fmla="*/ 2705100 w 3044825"/>
                <a:gd name="connsiteY138" fmla="*/ 958850 h 974725"/>
                <a:gd name="connsiteX139" fmla="*/ 2771775 w 3044825"/>
                <a:gd name="connsiteY139" fmla="*/ 914400 h 974725"/>
                <a:gd name="connsiteX140" fmla="*/ 2784475 w 3044825"/>
                <a:gd name="connsiteY140" fmla="*/ 895350 h 974725"/>
                <a:gd name="connsiteX141" fmla="*/ 2794000 w 3044825"/>
                <a:gd name="connsiteY141" fmla="*/ 885825 h 974725"/>
                <a:gd name="connsiteX142" fmla="*/ 2813050 w 3044825"/>
                <a:gd name="connsiteY142" fmla="*/ 869950 h 974725"/>
                <a:gd name="connsiteX143" fmla="*/ 2825750 w 3044825"/>
                <a:gd name="connsiteY143" fmla="*/ 854075 h 974725"/>
                <a:gd name="connsiteX144" fmla="*/ 2841625 w 3044825"/>
                <a:gd name="connsiteY144" fmla="*/ 838200 h 974725"/>
                <a:gd name="connsiteX145" fmla="*/ 2863850 w 3044825"/>
                <a:gd name="connsiteY145" fmla="*/ 822325 h 974725"/>
                <a:gd name="connsiteX146" fmla="*/ 2882900 w 3044825"/>
                <a:gd name="connsiteY146" fmla="*/ 815975 h 974725"/>
                <a:gd name="connsiteX147" fmla="*/ 2905125 w 3044825"/>
                <a:gd name="connsiteY147" fmla="*/ 809625 h 974725"/>
                <a:gd name="connsiteX148" fmla="*/ 2921000 w 3044825"/>
                <a:gd name="connsiteY148" fmla="*/ 806450 h 974725"/>
                <a:gd name="connsiteX149" fmla="*/ 2930525 w 3044825"/>
                <a:gd name="connsiteY149" fmla="*/ 803275 h 974725"/>
                <a:gd name="connsiteX150" fmla="*/ 2943225 w 3044825"/>
                <a:gd name="connsiteY150" fmla="*/ 800100 h 974725"/>
                <a:gd name="connsiteX151" fmla="*/ 2955925 w 3044825"/>
                <a:gd name="connsiteY151" fmla="*/ 793750 h 974725"/>
                <a:gd name="connsiteX152" fmla="*/ 2965450 w 3044825"/>
                <a:gd name="connsiteY152" fmla="*/ 790575 h 974725"/>
                <a:gd name="connsiteX153" fmla="*/ 2974975 w 3044825"/>
                <a:gd name="connsiteY153" fmla="*/ 781050 h 974725"/>
                <a:gd name="connsiteX154" fmla="*/ 2984500 w 3044825"/>
                <a:gd name="connsiteY154" fmla="*/ 774700 h 974725"/>
                <a:gd name="connsiteX155" fmla="*/ 2987675 w 3044825"/>
                <a:gd name="connsiteY155" fmla="*/ 765175 h 974725"/>
                <a:gd name="connsiteX156" fmla="*/ 2997200 w 3044825"/>
                <a:gd name="connsiteY156" fmla="*/ 755650 h 974725"/>
                <a:gd name="connsiteX157" fmla="*/ 3006725 w 3044825"/>
                <a:gd name="connsiteY157" fmla="*/ 698500 h 974725"/>
                <a:gd name="connsiteX158" fmla="*/ 3013075 w 3044825"/>
                <a:gd name="connsiteY158" fmla="*/ 688975 h 974725"/>
                <a:gd name="connsiteX159" fmla="*/ 3032125 w 3044825"/>
                <a:gd name="connsiteY159" fmla="*/ 676275 h 974725"/>
                <a:gd name="connsiteX160" fmla="*/ 3044825 w 3044825"/>
                <a:gd name="connsiteY160" fmla="*/ 673100 h 974725"/>
                <a:gd name="connsiteX0" fmla="*/ 0 w 3044825"/>
                <a:gd name="connsiteY0" fmla="*/ 0 h 974725"/>
                <a:gd name="connsiteX1" fmla="*/ 0 w 3044825"/>
                <a:gd name="connsiteY1" fmla="*/ 0 h 974725"/>
                <a:gd name="connsiteX2" fmla="*/ 22225 w 3044825"/>
                <a:gd name="connsiteY2" fmla="*/ 19050 h 974725"/>
                <a:gd name="connsiteX3" fmla="*/ 38100 w 3044825"/>
                <a:gd name="connsiteY3" fmla="*/ 38100 h 974725"/>
                <a:gd name="connsiteX4" fmla="*/ 53975 w 3044825"/>
                <a:gd name="connsiteY4" fmla="*/ 53975 h 974725"/>
                <a:gd name="connsiteX5" fmla="*/ 69850 w 3044825"/>
                <a:gd name="connsiteY5" fmla="*/ 66675 h 974725"/>
                <a:gd name="connsiteX6" fmla="*/ 95250 w 3044825"/>
                <a:gd name="connsiteY6" fmla="*/ 79375 h 974725"/>
                <a:gd name="connsiteX7" fmla="*/ 114300 w 3044825"/>
                <a:gd name="connsiteY7" fmla="*/ 92075 h 974725"/>
                <a:gd name="connsiteX8" fmla="*/ 123825 w 3044825"/>
                <a:gd name="connsiteY8" fmla="*/ 95250 h 974725"/>
                <a:gd name="connsiteX9" fmla="*/ 146050 w 3044825"/>
                <a:gd name="connsiteY9" fmla="*/ 111125 h 974725"/>
                <a:gd name="connsiteX10" fmla="*/ 155575 w 3044825"/>
                <a:gd name="connsiteY10" fmla="*/ 114300 h 974725"/>
                <a:gd name="connsiteX11" fmla="*/ 180975 w 3044825"/>
                <a:gd name="connsiteY11" fmla="*/ 123825 h 974725"/>
                <a:gd name="connsiteX12" fmla="*/ 200025 w 3044825"/>
                <a:gd name="connsiteY12" fmla="*/ 130175 h 974725"/>
                <a:gd name="connsiteX13" fmla="*/ 212725 w 3044825"/>
                <a:gd name="connsiteY13" fmla="*/ 133350 h 974725"/>
                <a:gd name="connsiteX14" fmla="*/ 231775 w 3044825"/>
                <a:gd name="connsiteY14" fmla="*/ 139700 h 974725"/>
                <a:gd name="connsiteX15" fmla="*/ 250825 w 3044825"/>
                <a:gd name="connsiteY15" fmla="*/ 142875 h 974725"/>
                <a:gd name="connsiteX16" fmla="*/ 279400 w 3044825"/>
                <a:gd name="connsiteY16" fmla="*/ 152400 h 974725"/>
                <a:gd name="connsiteX17" fmla="*/ 298450 w 3044825"/>
                <a:gd name="connsiteY17" fmla="*/ 155575 h 974725"/>
                <a:gd name="connsiteX18" fmla="*/ 317500 w 3044825"/>
                <a:gd name="connsiteY18" fmla="*/ 161925 h 974725"/>
                <a:gd name="connsiteX19" fmla="*/ 327025 w 3044825"/>
                <a:gd name="connsiteY19" fmla="*/ 165100 h 974725"/>
                <a:gd name="connsiteX20" fmla="*/ 336550 w 3044825"/>
                <a:gd name="connsiteY20" fmla="*/ 171450 h 974725"/>
                <a:gd name="connsiteX21" fmla="*/ 346075 w 3044825"/>
                <a:gd name="connsiteY21" fmla="*/ 180975 h 974725"/>
                <a:gd name="connsiteX22" fmla="*/ 355600 w 3044825"/>
                <a:gd name="connsiteY22" fmla="*/ 184150 h 974725"/>
                <a:gd name="connsiteX23" fmla="*/ 377825 w 3044825"/>
                <a:gd name="connsiteY23" fmla="*/ 196850 h 974725"/>
                <a:gd name="connsiteX24" fmla="*/ 396875 w 3044825"/>
                <a:gd name="connsiteY24" fmla="*/ 212725 h 974725"/>
                <a:gd name="connsiteX25" fmla="*/ 409575 w 3044825"/>
                <a:gd name="connsiteY25" fmla="*/ 219075 h 974725"/>
                <a:gd name="connsiteX26" fmla="*/ 428625 w 3044825"/>
                <a:gd name="connsiteY26" fmla="*/ 231775 h 974725"/>
                <a:gd name="connsiteX27" fmla="*/ 447675 w 3044825"/>
                <a:gd name="connsiteY27" fmla="*/ 244475 h 974725"/>
                <a:gd name="connsiteX28" fmla="*/ 466725 w 3044825"/>
                <a:gd name="connsiteY28" fmla="*/ 257175 h 974725"/>
                <a:gd name="connsiteX29" fmla="*/ 476250 w 3044825"/>
                <a:gd name="connsiteY29" fmla="*/ 263525 h 974725"/>
                <a:gd name="connsiteX30" fmla="*/ 495300 w 3044825"/>
                <a:gd name="connsiteY30" fmla="*/ 279400 h 974725"/>
                <a:gd name="connsiteX31" fmla="*/ 504825 w 3044825"/>
                <a:gd name="connsiteY31" fmla="*/ 282575 h 974725"/>
                <a:gd name="connsiteX32" fmla="*/ 514350 w 3044825"/>
                <a:gd name="connsiteY32" fmla="*/ 288925 h 974725"/>
                <a:gd name="connsiteX33" fmla="*/ 533400 w 3044825"/>
                <a:gd name="connsiteY33" fmla="*/ 298450 h 974725"/>
                <a:gd name="connsiteX34" fmla="*/ 549275 w 3044825"/>
                <a:gd name="connsiteY34" fmla="*/ 282575 h 974725"/>
                <a:gd name="connsiteX35" fmla="*/ 558800 w 3044825"/>
                <a:gd name="connsiteY35" fmla="*/ 279400 h 974725"/>
                <a:gd name="connsiteX36" fmla="*/ 590550 w 3044825"/>
                <a:gd name="connsiteY36" fmla="*/ 276225 h 974725"/>
                <a:gd name="connsiteX37" fmla="*/ 603250 w 3044825"/>
                <a:gd name="connsiteY37" fmla="*/ 234950 h 974725"/>
                <a:gd name="connsiteX38" fmla="*/ 622300 w 3044825"/>
                <a:gd name="connsiteY38" fmla="*/ 225425 h 974725"/>
                <a:gd name="connsiteX39" fmla="*/ 638175 w 3044825"/>
                <a:gd name="connsiteY39" fmla="*/ 209550 h 974725"/>
                <a:gd name="connsiteX40" fmla="*/ 657225 w 3044825"/>
                <a:gd name="connsiteY40" fmla="*/ 203200 h 974725"/>
                <a:gd name="connsiteX41" fmla="*/ 676275 w 3044825"/>
                <a:gd name="connsiteY41" fmla="*/ 190500 h 974725"/>
                <a:gd name="connsiteX42" fmla="*/ 685800 w 3044825"/>
                <a:gd name="connsiteY42" fmla="*/ 180975 h 974725"/>
                <a:gd name="connsiteX43" fmla="*/ 711200 w 3044825"/>
                <a:gd name="connsiteY43" fmla="*/ 174625 h 974725"/>
                <a:gd name="connsiteX44" fmla="*/ 736600 w 3044825"/>
                <a:gd name="connsiteY44" fmla="*/ 177800 h 974725"/>
                <a:gd name="connsiteX45" fmla="*/ 752475 w 3044825"/>
                <a:gd name="connsiteY45" fmla="*/ 193675 h 974725"/>
                <a:gd name="connsiteX46" fmla="*/ 762000 w 3044825"/>
                <a:gd name="connsiteY46" fmla="*/ 196850 h 974725"/>
                <a:gd name="connsiteX47" fmla="*/ 873125 w 3044825"/>
                <a:gd name="connsiteY47" fmla="*/ 193675 h 974725"/>
                <a:gd name="connsiteX48" fmla="*/ 908050 w 3044825"/>
                <a:gd name="connsiteY48" fmla="*/ 196850 h 974725"/>
                <a:gd name="connsiteX49" fmla="*/ 927100 w 3044825"/>
                <a:gd name="connsiteY49" fmla="*/ 215900 h 974725"/>
                <a:gd name="connsiteX50" fmla="*/ 936625 w 3044825"/>
                <a:gd name="connsiteY50" fmla="*/ 225425 h 974725"/>
                <a:gd name="connsiteX51" fmla="*/ 946150 w 3044825"/>
                <a:gd name="connsiteY51" fmla="*/ 234950 h 974725"/>
                <a:gd name="connsiteX52" fmla="*/ 955675 w 3044825"/>
                <a:gd name="connsiteY52" fmla="*/ 241300 h 974725"/>
                <a:gd name="connsiteX53" fmla="*/ 1162050 w 3044825"/>
                <a:gd name="connsiteY53" fmla="*/ 244475 h 974725"/>
                <a:gd name="connsiteX54" fmla="*/ 1184275 w 3044825"/>
                <a:gd name="connsiteY54" fmla="*/ 266700 h 974725"/>
                <a:gd name="connsiteX55" fmla="*/ 1196975 w 3044825"/>
                <a:gd name="connsiteY55" fmla="*/ 285750 h 974725"/>
                <a:gd name="connsiteX56" fmla="*/ 1206500 w 3044825"/>
                <a:gd name="connsiteY56" fmla="*/ 292100 h 974725"/>
                <a:gd name="connsiteX57" fmla="*/ 1225550 w 3044825"/>
                <a:gd name="connsiteY57" fmla="*/ 307975 h 974725"/>
                <a:gd name="connsiteX58" fmla="*/ 1257300 w 3044825"/>
                <a:gd name="connsiteY58" fmla="*/ 301625 h 974725"/>
                <a:gd name="connsiteX59" fmla="*/ 1266825 w 3044825"/>
                <a:gd name="connsiteY59" fmla="*/ 295275 h 974725"/>
                <a:gd name="connsiteX60" fmla="*/ 1295400 w 3044825"/>
                <a:gd name="connsiteY60" fmla="*/ 292100 h 974725"/>
                <a:gd name="connsiteX61" fmla="*/ 1320800 w 3044825"/>
                <a:gd name="connsiteY61" fmla="*/ 276225 h 974725"/>
                <a:gd name="connsiteX62" fmla="*/ 1339850 w 3044825"/>
                <a:gd name="connsiteY62" fmla="*/ 273050 h 974725"/>
                <a:gd name="connsiteX63" fmla="*/ 1346200 w 3044825"/>
                <a:gd name="connsiteY63" fmla="*/ 263525 h 974725"/>
                <a:gd name="connsiteX64" fmla="*/ 1368425 w 3044825"/>
                <a:gd name="connsiteY64" fmla="*/ 254000 h 974725"/>
                <a:gd name="connsiteX65" fmla="*/ 1377950 w 3044825"/>
                <a:gd name="connsiteY65" fmla="*/ 247650 h 974725"/>
                <a:gd name="connsiteX66" fmla="*/ 1387475 w 3044825"/>
                <a:gd name="connsiteY66" fmla="*/ 244475 h 974725"/>
                <a:gd name="connsiteX67" fmla="*/ 1409700 w 3044825"/>
                <a:gd name="connsiteY67" fmla="*/ 228600 h 974725"/>
                <a:gd name="connsiteX68" fmla="*/ 1425575 w 3044825"/>
                <a:gd name="connsiteY68" fmla="*/ 225425 h 974725"/>
                <a:gd name="connsiteX69" fmla="*/ 1435100 w 3044825"/>
                <a:gd name="connsiteY69" fmla="*/ 222250 h 974725"/>
                <a:gd name="connsiteX70" fmla="*/ 1447800 w 3044825"/>
                <a:gd name="connsiteY70" fmla="*/ 219075 h 974725"/>
                <a:gd name="connsiteX71" fmla="*/ 1470025 w 3044825"/>
                <a:gd name="connsiteY71" fmla="*/ 209550 h 974725"/>
                <a:gd name="connsiteX72" fmla="*/ 1479550 w 3044825"/>
                <a:gd name="connsiteY72" fmla="*/ 206375 h 974725"/>
                <a:gd name="connsiteX73" fmla="*/ 1508125 w 3044825"/>
                <a:gd name="connsiteY73" fmla="*/ 190500 h 974725"/>
                <a:gd name="connsiteX74" fmla="*/ 1527175 w 3044825"/>
                <a:gd name="connsiteY74" fmla="*/ 180975 h 974725"/>
                <a:gd name="connsiteX75" fmla="*/ 1539875 w 3044825"/>
                <a:gd name="connsiteY75" fmla="*/ 184150 h 974725"/>
                <a:gd name="connsiteX76" fmla="*/ 1558925 w 3044825"/>
                <a:gd name="connsiteY76" fmla="*/ 190500 h 974725"/>
                <a:gd name="connsiteX77" fmla="*/ 1568450 w 3044825"/>
                <a:gd name="connsiteY77" fmla="*/ 196850 h 974725"/>
                <a:gd name="connsiteX78" fmla="*/ 1600200 w 3044825"/>
                <a:gd name="connsiteY78" fmla="*/ 203200 h 974725"/>
                <a:gd name="connsiteX79" fmla="*/ 1657350 w 3044825"/>
                <a:gd name="connsiteY79" fmla="*/ 212725 h 974725"/>
                <a:gd name="connsiteX80" fmla="*/ 1695450 w 3044825"/>
                <a:gd name="connsiteY80" fmla="*/ 238125 h 974725"/>
                <a:gd name="connsiteX81" fmla="*/ 1708150 w 3044825"/>
                <a:gd name="connsiteY81" fmla="*/ 247650 h 974725"/>
                <a:gd name="connsiteX82" fmla="*/ 1711325 w 3044825"/>
                <a:gd name="connsiteY82" fmla="*/ 266700 h 974725"/>
                <a:gd name="connsiteX83" fmla="*/ 1724025 w 3044825"/>
                <a:gd name="connsiteY83" fmla="*/ 273050 h 974725"/>
                <a:gd name="connsiteX84" fmla="*/ 1743075 w 3044825"/>
                <a:gd name="connsiteY84" fmla="*/ 279400 h 974725"/>
                <a:gd name="connsiteX85" fmla="*/ 1752600 w 3044825"/>
                <a:gd name="connsiteY85" fmla="*/ 282575 h 974725"/>
                <a:gd name="connsiteX86" fmla="*/ 1774825 w 3044825"/>
                <a:gd name="connsiteY86" fmla="*/ 288925 h 974725"/>
                <a:gd name="connsiteX87" fmla="*/ 1793875 w 3044825"/>
                <a:gd name="connsiteY87" fmla="*/ 301625 h 974725"/>
                <a:gd name="connsiteX88" fmla="*/ 1797050 w 3044825"/>
                <a:gd name="connsiteY88" fmla="*/ 317500 h 974725"/>
                <a:gd name="connsiteX89" fmla="*/ 1920875 w 3044825"/>
                <a:gd name="connsiteY89" fmla="*/ 374650 h 974725"/>
                <a:gd name="connsiteX90" fmla="*/ 1968500 w 3044825"/>
                <a:gd name="connsiteY90" fmla="*/ 381000 h 974725"/>
                <a:gd name="connsiteX91" fmla="*/ 1987550 w 3044825"/>
                <a:gd name="connsiteY91" fmla="*/ 393700 h 974725"/>
                <a:gd name="connsiteX92" fmla="*/ 1997075 w 3044825"/>
                <a:gd name="connsiteY92" fmla="*/ 412750 h 974725"/>
                <a:gd name="connsiteX93" fmla="*/ 2003425 w 3044825"/>
                <a:gd name="connsiteY93" fmla="*/ 422275 h 974725"/>
                <a:gd name="connsiteX94" fmla="*/ 2006600 w 3044825"/>
                <a:gd name="connsiteY94" fmla="*/ 431800 h 974725"/>
                <a:gd name="connsiteX95" fmla="*/ 2019300 w 3044825"/>
                <a:gd name="connsiteY95" fmla="*/ 460375 h 974725"/>
                <a:gd name="connsiteX96" fmla="*/ 2032000 w 3044825"/>
                <a:gd name="connsiteY96" fmla="*/ 479425 h 974725"/>
                <a:gd name="connsiteX97" fmla="*/ 2063750 w 3044825"/>
                <a:gd name="connsiteY97" fmla="*/ 511175 h 974725"/>
                <a:gd name="connsiteX98" fmla="*/ 2073275 w 3044825"/>
                <a:gd name="connsiteY98" fmla="*/ 520700 h 974725"/>
                <a:gd name="connsiteX99" fmla="*/ 2095500 w 3044825"/>
                <a:gd name="connsiteY99" fmla="*/ 546100 h 974725"/>
                <a:gd name="connsiteX100" fmla="*/ 2101850 w 3044825"/>
                <a:gd name="connsiteY100" fmla="*/ 555625 h 974725"/>
                <a:gd name="connsiteX101" fmla="*/ 2111375 w 3044825"/>
                <a:gd name="connsiteY101" fmla="*/ 561975 h 974725"/>
                <a:gd name="connsiteX102" fmla="*/ 2114550 w 3044825"/>
                <a:gd name="connsiteY102" fmla="*/ 571500 h 974725"/>
                <a:gd name="connsiteX103" fmla="*/ 2124075 w 3044825"/>
                <a:gd name="connsiteY103" fmla="*/ 581025 h 974725"/>
                <a:gd name="connsiteX104" fmla="*/ 2146300 w 3044825"/>
                <a:gd name="connsiteY104" fmla="*/ 596900 h 974725"/>
                <a:gd name="connsiteX105" fmla="*/ 2155825 w 3044825"/>
                <a:gd name="connsiteY105" fmla="*/ 600075 h 974725"/>
                <a:gd name="connsiteX106" fmla="*/ 2171700 w 3044825"/>
                <a:gd name="connsiteY106" fmla="*/ 619125 h 974725"/>
                <a:gd name="connsiteX107" fmla="*/ 2178050 w 3044825"/>
                <a:gd name="connsiteY107" fmla="*/ 628650 h 974725"/>
                <a:gd name="connsiteX108" fmla="*/ 2197100 w 3044825"/>
                <a:gd name="connsiteY108" fmla="*/ 638175 h 974725"/>
                <a:gd name="connsiteX109" fmla="*/ 2222500 w 3044825"/>
                <a:gd name="connsiteY109" fmla="*/ 644525 h 974725"/>
                <a:gd name="connsiteX110" fmla="*/ 2247900 w 3044825"/>
                <a:gd name="connsiteY110" fmla="*/ 647700 h 974725"/>
                <a:gd name="connsiteX111" fmla="*/ 2266950 w 3044825"/>
                <a:gd name="connsiteY111" fmla="*/ 650875 h 974725"/>
                <a:gd name="connsiteX112" fmla="*/ 2317750 w 3044825"/>
                <a:gd name="connsiteY112" fmla="*/ 654050 h 974725"/>
                <a:gd name="connsiteX113" fmla="*/ 2333625 w 3044825"/>
                <a:gd name="connsiteY113" fmla="*/ 669925 h 974725"/>
                <a:gd name="connsiteX114" fmla="*/ 2346325 w 3044825"/>
                <a:gd name="connsiteY114" fmla="*/ 695325 h 974725"/>
                <a:gd name="connsiteX115" fmla="*/ 2359025 w 3044825"/>
                <a:gd name="connsiteY115" fmla="*/ 714375 h 974725"/>
                <a:gd name="connsiteX116" fmla="*/ 2365375 w 3044825"/>
                <a:gd name="connsiteY116" fmla="*/ 723900 h 974725"/>
                <a:gd name="connsiteX117" fmla="*/ 2374900 w 3044825"/>
                <a:gd name="connsiteY117" fmla="*/ 733425 h 974725"/>
                <a:gd name="connsiteX118" fmla="*/ 2381250 w 3044825"/>
                <a:gd name="connsiteY118" fmla="*/ 742950 h 974725"/>
                <a:gd name="connsiteX119" fmla="*/ 2390775 w 3044825"/>
                <a:gd name="connsiteY119" fmla="*/ 749300 h 974725"/>
                <a:gd name="connsiteX120" fmla="*/ 2413000 w 3044825"/>
                <a:gd name="connsiteY120" fmla="*/ 771525 h 974725"/>
                <a:gd name="connsiteX121" fmla="*/ 2419350 w 3044825"/>
                <a:gd name="connsiteY121" fmla="*/ 781050 h 974725"/>
                <a:gd name="connsiteX122" fmla="*/ 2428875 w 3044825"/>
                <a:gd name="connsiteY122" fmla="*/ 787400 h 974725"/>
                <a:gd name="connsiteX123" fmla="*/ 2444750 w 3044825"/>
                <a:gd name="connsiteY123" fmla="*/ 806450 h 974725"/>
                <a:gd name="connsiteX124" fmla="*/ 2454275 w 3044825"/>
                <a:gd name="connsiteY124" fmla="*/ 812800 h 974725"/>
                <a:gd name="connsiteX125" fmla="*/ 2470150 w 3044825"/>
                <a:gd name="connsiteY125" fmla="*/ 828675 h 974725"/>
                <a:gd name="connsiteX126" fmla="*/ 2486025 w 3044825"/>
                <a:gd name="connsiteY126" fmla="*/ 844550 h 974725"/>
                <a:gd name="connsiteX127" fmla="*/ 2501900 w 3044825"/>
                <a:gd name="connsiteY127" fmla="*/ 863600 h 974725"/>
                <a:gd name="connsiteX128" fmla="*/ 2517775 w 3044825"/>
                <a:gd name="connsiteY128" fmla="*/ 879475 h 974725"/>
                <a:gd name="connsiteX129" fmla="*/ 2520950 w 3044825"/>
                <a:gd name="connsiteY129" fmla="*/ 889000 h 974725"/>
                <a:gd name="connsiteX130" fmla="*/ 2536825 w 3044825"/>
                <a:gd name="connsiteY130" fmla="*/ 908050 h 974725"/>
                <a:gd name="connsiteX131" fmla="*/ 2540000 w 3044825"/>
                <a:gd name="connsiteY131" fmla="*/ 917575 h 974725"/>
                <a:gd name="connsiteX132" fmla="*/ 2559050 w 3044825"/>
                <a:gd name="connsiteY132" fmla="*/ 930275 h 974725"/>
                <a:gd name="connsiteX133" fmla="*/ 2578100 w 3044825"/>
                <a:gd name="connsiteY133" fmla="*/ 939800 h 974725"/>
                <a:gd name="connsiteX134" fmla="*/ 2606675 w 3044825"/>
                <a:gd name="connsiteY134" fmla="*/ 962025 h 974725"/>
                <a:gd name="connsiteX135" fmla="*/ 2616200 w 3044825"/>
                <a:gd name="connsiteY135" fmla="*/ 968375 h 974725"/>
                <a:gd name="connsiteX136" fmla="*/ 2625725 w 3044825"/>
                <a:gd name="connsiteY136" fmla="*/ 974725 h 974725"/>
                <a:gd name="connsiteX137" fmla="*/ 2705100 w 3044825"/>
                <a:gd name="connsiteY137" fmla="*/ 958850 h 974725"/>
                <a:gd name="connsiteX138" fmla="*/ 2771775 w 3044825"/>
                <a:gd name="connsiteY138" fmla="*/ 914400 h 974725"/>
                <a:gd name="connsiteX139" fmla="*/ 2784475 w 3044825"/>
                <a:gd name="connsiteY139" fmla="*/ 895350 h 974725"/>
                <a:gd name="connsiteX140" fmla="*/ 2794000 w 3044825"/>
                <a:gd name="connsiteY140" fmla="*/ 885825 h 974725"/>
                <a:gd name="connsiteX141" fmla="*/ 2813050 w 3044825"/>
                <a:gd name="connsiteY141" fmla="*/ 869950 h 974725"/>
                <a:gd name="connsiteX142" fmla="*/ 2825750 w 3044825"/>
                <a:gd name="connsiteY142" fmla="*/ 854075 h 974725"/>
                <a:gd name="connsiteX143" fmla="*/ 2841625 w 3044825"/>
                <a:gd name="connsiteY143" fmla="*/ 838200 h 974725"/>
                <a:gd name="connsiteX144" fmla="*/ 2863850 w 3044825"/>
                <a:gd name="connsiteY144" fmla="*/ 822325 h 974725"/>
                <a:gd name="connsiteX145" fmla="*/ 2882900 w 3044825"/>
                <a:gd name="connsiteY145" fmla="*/ 815975 h 974725"/>
                <a:gd name="connsiteX146" fmla="*/ 2905125 w 3044825"/>
                <a:gd name="connsiteY146" fmla="*/ 809625 h 974725"/>
                <a:gd name="connsiteX147" fmla="*/ 2921000 w 3044825"/>
                <a:gd name="connsiteY147" fmla="*/ 806450 h 974725"/>
                <a:gd name="connsiteX148" fmla="*/ 2930525 w 3044825"/>
                <a:gd name="connsiteY148" fmla="*/ 803275 h 974725"/>
                <a:gd name="connsiteX149" fmla="*/ 2943225 w 3044825"/>
                <a:gd name="connsiteY149" fmla="*/ 800100 h 974725"/>
                <a:gd name="connsiteX150" fmla="*/ 2955925 w 3044825"/>
                <a:gd name="connsiteY150" fmla="*/ 793750 h 974725"/>
                <a:gd name="connsiteX151" fmla="*/ 2965450 w 3044825"/>
                <a:gd name="connsiteY151" fmla="*/ 790575 h 974725"/>
                <a:gd name="connsiteX152" fmla="*/ 2974975 w 3044825"/>
                <a:gd name="connsiteY152" fmla="*/ 781050 h 974725"/>
                <a:gd name="connsiteX153" fmla="*/ 2984500 w 3044825"/>
                <a:gd name="connsiteY153" fmla="*/ 774700 h 974725"/>
                <a:gd name="connsiteX154" fmla="*/ 2987675 w 3044825"/>
                <a:gd name="connsiteY154" fmla="*/ 765175 h 974725"/>
                <a:gd name="connsiteX155" fmla="*/ 2997200 w 3044825"/>
                <a:gd name="connsiteY155" fmla="*/ 755650 h 974725"/>
                <a:gd name="connsiteX156" fmla="*/ 3006725 w 3044825"/>
                <a:gd name="connsiteY156" fmla="*/ 698500 h 974725"/>
                <a:gd name="connsiteX157" fmla="*/ 3013075 w 3044825"/>
                <a:gd name="connsiteY157" fmla="*/ 688975 h 974725"/>
                <a:gd name="connsiteX158" fmla="*/ 3032125 w 3044825"/>
                <a:gd name="connsiteY158" fmla="*/ 676275 h 974725"/>
                <a:gd name="connsiteX159" fmla="*/ 3044825 w 3044825"/>
                <a:gd name="connsiteY159" fmla="*/ 673100 h 974725"/>
                <a:gd name="connsiteX0" fmla="*/ 0 w 3044825"/>
                <a:gd name="connsiteY0" fmla="*/ 0 h 977825"/>
                <a:gd name="connsiteX1" fmla="*/ 0 w 3044825"/>
                <a:gd name="connsiteY1" fmla="*/ 0 h 977825"/>
                <a:gd name="connsiteX2" fmla="*/ 22225 w 3044825"/>
                <a:gd name="connsiteY2" fmla="*/ 19050 h 977825"/>
                <a:gd name="connsiteX3" fmla="*/ 38100 w 3044825"/>
                <a:gd name="connsiteY3" fmla="*/ 38100 h 977825"/>
                <a:gd name="connsiteX4" fmla="*/ 53975 w 3044825"/>
                <a:gd name="connsiteY4" fmla="*/ 53975 h 977825"/>
                <a:gd name="connsiteX5" fmla="*/ 69850 w 3044825"/>
                <a:gd name="connsiteY5" fmla="*/ 66675 h 977825"/>
                <a:gd name="connsiteX6" fmla="*/ 95250 w 3044825"/>
                <a:gd name="connsiteY6" fmla="*/ 79375 h 977825"/>
                <a:gd name="connsiteX7" fmla="*/ 114300 w 3044825"/>
                <a:gd name="connsiteY7" fmla="*/ 92075 h 977825"/>
                <a:gd name="connsiteX8" fmla="*/ 123825 w 3044825"/>
                <a:gd name="connsiteY8" fmla="*/ 95250 h 977825"/>
                <a:gd name="connsiteX9" fmla="*/ 146050 w 3044825"/>
                <a:gd name="connsiteY9" fmla="*/ 111125 h 977825"/>
                <a:gd name="connsiteX10" fmla="*/ 155575 w 3044825"/>
                <a:gd name="connsiteY10" fmla="*/ 114300 h 977825"/>
                <a:gd name="connsiteX11" fmla="*/ 180975 w 3044825"/>
                <a:gd name="connsiteY11" fmla="*/ 123825 h 977825"/>
                <a:gd name="connsiteX12" fmla="*/ 200025 w 3044825"/>
                <a:gd name="connsiteY12" fmla="*/ 130175 h 977825"/>
                <a:gd name="connsiteX13" fmla="*/ 212725 w 3044825"/>
                <a:gd name="connsiteY13" fmla="*/ 133350 h 977825"/>
                <a:gd name="connsiteX14" fmla="*/ 231775 w 3044825"/>
                <a:gd name="connsiteY14" fmla="*/ 139700 h 977825"/>
                <a:gd name="connsiteX15" fmla="*/ 250825 w 3044825"/>
                <a:gd name="connsiteY15" fmla="*/ 142875 h 977825"/>
                <a:gd name="connsiteX16" fmla="*/ 279400 w 3044825"/>
                <a:gd name="connsiteY16" fmla="*/ 152400 h 977825"/>
                <a:gd name="connsiteX17" fmla="*/ 298450 w 3044825"/>
                <a:gd name="connsiteY17" fmla="*/ 155575 h 977825"/>
                <a:gd name="connsiteX18" fmla="*/ 317500 w 3044825"/>
                <a:gd name="connsiteY18" fmla="*/ 161925 h 977825"/>
                <a:gd name="connsiteX19" fmla="*/ 327025 w 3044825"/>
                <a:gd name="connsiteY19" fmla="*/ 165100 h 977825"/>
                <a:gd name="connsiteX20" fmla="*/ 336550 w 3044825"/>
                <a:gd name="connsiteY20" fmla="*/ 171450 h 977825"/>
                <a:gd name="connsiteX21" fmla="*/ 346075 w 3044825"/>
                <a:gd name="connsiteY21" fmla="*/ 180975 h 977825"/>
                <a:gd name="connsiteX22" fmla="*/ 355600 w 3044825"/>
                <a:gd name="connsiteY22" fmla="*/ 184150 h 977825"/>
                <a:gd name="connsiteX23" fmla="*/ 377825 w 3044825"/>
                <a:gd name="connsiteY23" fmla="*/ 196850 h 977825"/>
                <a:gd name="connsiteX24" fmla="*/ 396875 w 3044825"/>
                <a:gd name="connsiteY24" fmla="*/ 212725 h 977825"/>
                <a:gd name="connsiteX25" fmla="*/ 409575 w 3044825"/>
                <a:gd name="connsiteY25" fmla="*/ 219075 h 977825"/>
                <a:gd name="connsiteX26" fmla="*/ 428625 w 3044825"/>
                <a:gd name="connsiteY26" fmla="*/ 231775 h 977825"/>
                <a:gd name="connsiteX27" fmla="*/ 447675 w 3044825"/>
                <a:gd name="connsiteY27" fmla="*/ 244475 h 977825"/>
                <a:gd name="connsiteX28" fmla="*/ 466725 w 3044825"/>
                <a:gd name="connsiteY28" fmla="*/ 257175 h 977825"/>
                <a:gd name="connsiteX29" fmla="*/ 476250 w 3044825"/>
                <a:gd name="connsiteY29" fmla="*/ 263525 h 977825"/>
                <a:gd name="connsiteX30" fmla="*/ 495300 w 3044825"/>
                <a:gd name="connsiteY30" fmla="*/ 279400 h 977825"/>
                <a:gd name="connsiteX31" fmla="*/ 504825 w 3044825"/>
                <a:gd name="connsiteY31" fmla="*/ 282575 h 977825"/>
                <a:gd name="connsiteX32" fmla="*/ 514350 w 3044825"/>
                <a:gd name="connsiteY32" fmla="*/ 288925 h 977825"/>
                <a:gd name="connsiteX33" fmla="*/ 533400 w 3044825"/>
                <a:gd name="connsiteY33" fmla="*/ 298450 h 977825"/>
                <a:gd name="connsiteX34" fmla="*/ 549275 w 3044825"/>
                <a:gd name="connsiteY34" fmla="*/ 282575 h 977825"/>
                <a:gd name="connsiteX35" fmla="*/ 558800 w 3044825"/>
                <a:gd name="connsiteY35" fmla="*/ 279400 h 977825"/>
                <a:gd name="connsiteX36" fmla="*/ 590550 w 3044825"/>
                <a:gd name="connsiteY36" fmla="*/ 276225 h 977825"/>
                <a:gd name="connsiteX37" fmla="*/ 603250 w 3044825"/>
                <a:gd name="connsiteY37" fmla="*/ 234950 h 977825"/>
                <a:gd name="connsiteX38" fmla="*/ 622300 w 3044825"/>
                <a:gd name="connsiteY38" fmla="*/ 225425 h 977825"/>
                <a:gd name="connsiteX39" fmla="*/ 638175 w 3044825"/>
                <a:gd name="connsiteY39" fmla="*/ 209550 h 977825"/>
                <a:gd name="connsiteX40" fmla="*/ 657225 w 3044825"/>
                <a:gd name="connsiteY40" fmla="*/ 203200 h 977825"/>
                <a:gd name="connsiteX41" fmla="*/ 676275 w 3044825"/>
                <a:gd name="connsiteY41" fmla="*/ 190500 h 977825"/>
                <a:gd name="connsiteX42" fmla="*/ 685800 w 3044825"/>
                <a:gd name="connsiteY42" fmla="*/ 180975 h 977825"/>
                <a:gd name="connsiteX43" fmla="*/ 711200 w 3044825"/>
                <a:gd name="connsiteY43" fmla="*/ 174625 h 977825"/>
                <a:gd name="connsiteX44" fmla="*/ 736600 w 3044825"/>
                <a:gd name="connsiteY44" fmla="*/ 177800 h 977825"/>
                <a:gd name="connsiteX45" fmla="*/ 752475 w 3044825"/>
                <a:gd name="connsiteY45" fmla="*/ 193675 h 977825"/>
                <a:gd name="connsiteX46" fmla="*/ 762000 w 3044825"/>
                <a:gd name="connsiteY46" fmla="*/ 196850 h 977825"/>
                <a:gd name="connsiteX47" fmla="*/ 873125 w 3044825"/>
                <a:gd name="connsiteY47" fmla="*/ 193675 h 977825"/>
                <a:gd name="connsiteX48" fmla="*/ 908050 w 3044825"/>
                <a:gd name="connsiteY48" fmla="*/ 196850 h 977825"/>
                <a:gd name="connsiteX49" fmla="*/ 927100 w 3044825"/>
                <a:gd name="connsiteY49" fmla="*/ 215900 h 977825"/>
                <a:gd name="connsiteX50" fmla="*/ 936625 w 3044825"/>
                <a:gd name="connsiteY50" fmla="*/ 225425 h 977825"/>
                <a:gd name="connsiteX51" fmla="*/ 946150 w 3044825"/>
                <a:gd name="connsiteY51" fmla="*/ 234950 h 977825"/>
                <a:gd name="connsiteX52" fmla="*/ 955675 w 3044825"/>
                <a:gd name="connsiteY52" fmla="*/ 241300 h 977825"/>
                <a:gd name="connsiteX53" fmla="*/ 1162050 w 3044825"/>
                <a:gd name="connsiteY53" fmla="*/ 244475 h 977825"/>
                <a:gd name="connsiteX54" fmla="*/ 1184275 w 3044825"/>
                <a:gd name="connsiteY54" fmla="*/ 266700 h 977825"/>
                <a:gd name="connsiteX55" fmla="*/ 1196975 w 3044825"/>
                <a:gd name="connsiteY55" fmla="*/ 285750 h 977825"/>
                <a:gd name="connsiteX56" fmla="*/ 1206500 w 3044825"/>
                <a:gd name="connsiteY56" fmla="*/ 292100 h 977825"/>
                <a:gd name="connsiteX57" fmla="*/ 1225550 w 3044825"/>
                <a:gd name="connsiteY57" fmla="*/ 307975 h 977825"/>
                <a:gd name="connsiteX58" fmla="*/ 1257300 w 3044825"/>
                <a:gd name="connsiteY58" fmla="*/ 301625 h 977825"/>
                <a:gd name="connsiteX59" fmla="*/ 1266825 w 3044825"/>
                <a:gd name="connsiteY59" fmla="*/ 295275 h 977825"/>
                <a:gd name="connsiteX60" fmla="*/ 1295400 w 3044825"/>
                <a:gd name="connsiteY60" fmla="*/ 292100 h 977825"/>
                <a:gd name="connsiteX61" fmla="*/ 1320800 w 3044825"/>
                <a:gd name="connsiteY61" fmla="*/ 276225 h 977825"/>
                <a:gd name="connsiteX62" fmla="*/ 1339850 w 3044825"/>
                <a:gd name="connsiteY62" fmla="*/ 273050 h 977825"/>
                <a:gd name="connsiteX63" fmla="*/ 1346200 w 3044825"/>
                <a:gd name="connsiteY63" fmla="*/ 263525 h 977825"/>
                <a:gd name="connsiteX64" fmla="*/ 1368425 w 3044825"/>
                <a:gd name="connsiteY64" fmla="*/ 254000 h 977825"/>
                <a:gd name="connsiteX65" fmla="*/ 1377950 w 3044825"/>
                <a:gd name="connsiteY65" fmla="*/ 247650 h 977825"/>
                <a:gd name="connsiteX66" fmla="*/ 1387475 w 3044825"/>
                <a:gd name="connsiteY66" fmla="*/ 244475 h 977825"/>
                <a:gd name="connsiteX67" fmla="*/ 1409700 w 3044825"/>
                <a:gd name="connsiteY67" fmla="*/ 228600 h 977825"/>
                <a:gd name="connsiteX68" fmla="*/ 1425575 w 3044825"/>
                <a:gd name="connsiteY68" fmla="*/ 225425 h 977825"/>
                <a:gd name="connsiteX69" fmla="*/ 1435100 w 3044825"/>
                <a:gd name="connsiteY69" fmla="*/ 222250 h 977825"/>
                <a:gd name="connsiteX70" fmla="*/ 1447800 w 3044825"/>
                <a:gd name="connsiteY70" fmla="*/ 219075 h 977825"/>
                <a:gd name="connsiteX71" fmla="*/ 1470025 w 3044825"/>
                <a:gd name="connsiteY71" fmla="*/ 209550 h 977825"/>
                <a:gd name="connsiteX72" fmla="*/ 1479550 w 3044825"/>
                <a:gd name="connsiteY72" fmla="*/ 206375 h 977825"/>
                <a:gd name="connsiteX73" fmla="*/ 1508125 w 3044825"/>
                <a:gd name="connsiteY73" fmla="*/ 190500 h 977825"/>
                <a:gd name="connsiteX74" fmla="*/ 1527175 w 3044825"/>
                <a:gd name="connsiteY74" fmla="*/ 180975 h 977825"/>
                <a:gd name="connsiteX75" fmla="*/ 1539875 w 3044825"/>
                <a:gd name="connsiteY75" fmla="*/ 184150 h 977825"/>
                <a:gd name="connsiteX76" fmla="*/ 1558925 w 3044825"/>
                <a:gd name="connsiteY76" fmla="*/ 190500 h 977825"/>
                <a:gd name="connsiteX77" fmla="*/ 1568450 w 3044825"/>
                <a:gd name="connsiteY77" fmla="*/ 196850 h 977825"/>
                <a:gd name="connsiteX78" fmla="*/ 1600200 w 3044825"/>
                <a:gd name="connsiteY78" fmla="*/ 203200 h 977825"/>
                <a:gd name="connsiteX79" fmla="*/ 1657350 w 3044825"/>
                <a:gd name="connsiteY79" fmla="*/ 212725 h 977825"/>
                <a:gd name="connsiteX80" fmla="*/ 1695450 w 3044825"/>
                <a:gd name="connsiteY80" fmla="*/ 238125 h 977825"/>
                <a:gd name="connsiteX81" fmla="*/ 1708150 w 3044825"/>
                <a:gd name="connsiteY81" fmla="*/ 247650 h 977825"/>
                <a:gd name="connsiteX82" fmla="*/ 1711325 w 3044825"/>
                <a:gd name="connsiteY82" fmla="*/ 266700 h 977825"/>
                <a:gd name="connsiteX83" fmla="*/ 1724025 w 3044825"/>
                <a:gd name="connsiteY83" fmla="*/ 273050 h 977825"/>
                <a:gd name="connsiteX84" fmla="*/ 1743075 w 3044825"/>
                <a:gd name="connsiteY84" fmla="*/ 279400 h 977825"/>
                <a:gd name="connsiteX85" fmla="*/ 1752600 w 3044825"/>
                <a:gd name="connsiteY85" fmla="*/ 282575 h 977825"/>
                <a:gd name="connsiteX86" fmla="*/ 1774825 w 3044825"/>
                <a:gd name="connsiteY86" fmla="*/ 288925 h 977825"/>
                <a:gd name="connsiteX87" fmla="*/ 1793875 w 3044825"/>
                <a:gd name="connsiteY87" fmla="*/ 301625 h 977825"/>
                <a:gd name="connsiteX88" fmla="*/ 1797050 w 3044825"/>
                <a:gd name="connsiteY88" fmla="*/ 317500 h 977825"/>
                <a:gd name="connsiteX89" fmla="*/ 1920875 w 3044825"/>
                <a:gd name="connsiteY89" fmla="*/ 374650 h 977825"/>
                <a:gd name="connsiteX90" fmla="*/ 1968500 w 3044825"/>
                <a:gd name="connsiteY90" fmla="*/ 381000 h 977825"/>
                <a:gd name="connsiteX91" fmla="*/ 1987550 w 3044825"/>
                <a:gd name="connsiteY91" fmla="*/ 393700 h 977825"/>
                <a:gd name="connsiteX92" fmla="*/ 1997075 w 3044825"/>
                <a:gd name="connsiteY92" fmla="*/ 412750 h 977825"/>
                <a:gd name="connsiteX93" fmla="*/ 2003425 w 3044825"/>
                <a:gd name="connsiteY93" fmla="*/ 422275 h 977825"/>
                <a:gd name="connsiteX94" fmla="*/ 2006600 w 3044825"/>
                <a:gd name="connsiteY94" fmla="*/ 431800 h 977825"/>
                <a:gd name="connsiteX95" fmla="*/ 2019300 w 3044825"/>
                <a:gd name="connsiteY95" fmla="*/ 460375 h 977825"/>
                <a:gd name="connsiteX96" fmla="*/ 2032000 w 3044825"/>
                <a:gd name="connsiteY96" fmla="*/ 479425 h 977825"/>
                <a:gd name="connsiteX97" fmla="*/ 2063750 w 3044825"/>
                <a:gd name="connsiteY97" fmla="*/ 511175 h 977825"/>
                <a:gd name="connsiteX98" fmla="*/ 2073275 w 3044825"/>
                <a:gd name="connsiteY98" fmla="*/ 520700 h 977825"/>
                <a:gd name="connsiteX99" fmla="*/ 2095500 w 3044825"/>
                <a:gd name="connsiteY99" fmla="*/ 546100 h 977825"/>
                <a:gd name="connsiteX100" fmla="*/ 2101850 w 3044825"/>
                <a:gd name="connsiteY100" fmla="*/ 555625 h 977825"/>
                <a:gd name="connsiteX101" fmla="*/ 2111375 w 3044825"/>
                <a:gd name="connsiteY101" fmla="*/ 561975 h 977825"/>
                <a:gd name="connsiteX102" fmla="*/ 2114550 w 3044825"/>
                <a:gd name="connsiteY102" fmla="*/ 571500 h 977825"/>
                <a:gd name="connsiteX103" fmla="*/ 2124075 w 3044825"/>
                <a:gd name="connsiteY103" fmla="*/ 581025 h 977825"/>
                <a:gd name="connsiteX104" fmla="*/ 2146300 w 3044825"/>
                <a:gd name="connsiteY104" fmla="*/ 596900 h 977825"/>
                <a:gd name="connsiteX105" fmla="*/ 2155825 w 3044825"/>
                <a:gd name="connsiteY105" fmla="*/ 600075 h 977825"/>
                <a:gd name="connsiteX106" fmla="*/ 2171700 w 3044825"/>
                <a:gd name="connsiteY106" fmla="*/ 619125 h 977825"/>
                <a:gd name="connsiteX107" fmla="*/ 2178050 w 3044825"/>
                <a:gd name="connsiteY107" fmla="*/ 628650 h 977825"/>
                <a:gd name="connsiteX108" fmla="*/ 2197100 w 3044825"/>
                <a:gd name="connsiteY108" fmla="*/ 638175 h 977825"/>
                <a:gd name="connsiteX109" fmla="*/ 2222500 w 3044825"/>
                <a:gd name="connsiteY109" fmla="*/ 644525 h 977825"/>
                <a:gd name="connsiteX110" fmla="*/ 2247900 w 3044825"/>
                <a:gd name="connsiteY110" fmla="*/ 647700 h 977825"/>
                <a:gd name="connsiteX111" fmla="*/ 2266950 w 3044825"/>
                <a:gd name="connsiteY111" fmla="*/ 650875 h 977825"/>
                <a:gd name="connsiteX112" fmla="*/ 2317750 w 3044825"/>
                <a:gd name="connsiteY112" fmla="*/ 654050 h 977825"/>
                <a:gd name="connsiteX113" fmla="*/ 2333625 w 3044825"/>
                <a:gd name="connsiteY113" fmla="*/ 669925 h 977825"/>
                <a:gd name="connsiteX114" fmla="*/ 2346325 w 3044825"/>
                <a:gd name="connsiteY114" fmla="*/ 695325 h 977825"/>
                <a:gd name="connsiteX115" fmla="*/ 2359025 w 3044825"/>
                <a:gd name="connsiteY115" fmla="*/ 714375 h 977825"/>
                <a:gd name="connsiteX116" fmla="*/ 2365375 w 3044825"/>
                <a:gd name="connsiteY116" fmla="*/ 723900 h 977825"/>
                <a:gd name="connsiteX117" fmla="*/ 2374900 w 3044825"/>
                <a:gd name="connsiteY117" fmla="*/ 733425 h 977825"/>
                <a:gd name="connsiteX118" fmla="*/ 2381250 w 3044825"/>
                <a:gd name="connsiteY118" fmla="*/ 742950 h 977825"/>
                <a:gd name="connsiteX119" fmla="*/ 2390775 w 3044825"/>
                <a:gd name="connsiteY119" fmla="*/ 749300 h 977825"/>
                <a:gd name="connsiteX120" fmla="*/ 2413000 w 3044825"/>
                <a:gd name="connsiteY120" fmla="*/ 771525 h 977825"/>
                <a:gd name="connsiteX121" fmla="*/ 2419350 w 3044825"/>
                <a:gd name="connsiteY121" fmla="*/ 781050 h 977825"/>
                <a:gd name="connsiteX122" fmla="*/ 2428875 w 3044825"/>
                <a:gd name="connsiteY122" fmla="*/ 787400 h 977825"/>
                <a:gd name="connsiteX123" fmla="*/ 2444750 w 3044825"/>
                <a:gd name="connsiteY123" fmla="*/ 806450 h 977825"/>
                <a:gd name="connsiteX124" fmla="*/ 2454275 w 3044825"/>
                <a:gd name="connsiteY124" fmla="*/ 812800 h 977825"/>
                <a:gd name="connsiteX125" fmla="*/ 2470150 w 3044825"/>
                <a:gd name="connsiteY125" fmla="*/ 828675 h 977825"/>
                <a:gd name="connsiteX126" fmla="*/ 2486025 w 3044825"/>
                <a:gd name="connsiteY126" fmla="*/ 844550 h 977825"/>
                <a:gd name="connsiteX127" fmla="*/ 2501900 w 3044825"/>
                <a:gd name="connsiteY127" fmla="*/ 863600 h 977825"/>
                <a:gd name="connsiteX128" fmla="*/ 2517775 w 3044825"/>
                <a:gd name="connsiteY128" fmla="*/ 879475 h 977825"/>
                <a:gd name="connsiteX129" fmla="*/ 2520950 w 3044825"/>
                <a:gd name="connsiteY129" fmla="*/ 889000 h 977825"/>
                <a:gd name="connsiteX130" fmla="*/ 2536825 w 3044825"/>
                <a:gd name="connsiteY130" fmla="*/ 908050 h 977825"/>
                <a:gd name="connsiteX131" fmla="*/ 2540000 w 3044825"/>
                <a:gd name="connsiteY131" fmla="*/ 917575 h 977825"/>
                <a:gd name="connsiteX132" fmla="*/ 2559050 w 3044825"/>
                <a:gd name="connsiteY132" fmla="*/ 930275 h 977825"/>
                <a:gd name="connsiteX133" fmla="*/ 2578100 w 3044825"/>
                <a:gd name="connsiteY133" fmla="*/ 939800 h 977825"/>
                <a:gd name="connsiteX134" fmla="*/ 2606675 w 3044825"/>
                <a:gd name="connsiteY134" fmla="*/ 962025 h 977825"/>
                <a:gd name="connsiteX135" fmla="*/ 2616200 w 3044825"/>
                <a:gd name="connsiteY135" fmla="*/ 968375 h 977825"/>
                <a:gd name="connsiteX136" fmla="*/ 2625725 w 3044825"/>
                <a:gd name="connsiteY136" fmla="*/ 974725 h 977825"/>
                <a:gd name="connsiteX137" fmla="*/ 2771775 w 3044825"/>
                <a:gd name="connsiteY137" fmla="*/ 914400 h 977825"/>
                <a:gd name="connsiteX138" fmla="*/ 2784475 w 3044825"/>
                <a:gd name="connsiteY138" fmla="*/ 895350 h 977825"/>
                <a:gd name="connsiteX139" fmla="*/ 2794000 w 3044825"/>
                <a:gd name="connsiteY139" fmla="*/ 885825 h 977825"/>
                <a:gd name="connsiteX140" fmla="*/ 2813050 w 3044825"/>
                <a:gd name="connsiteY140" fmla="*/ 869950 h 977825"/>
                <a:gd name="connsiteX141" fmla="*/ 2825750 w 3044825"/>
                <a:gd name="connsiteY141" fmla="*/ 854075 h 977825"/>
                <a:gd name="connsiteX142" fmla="*/ 2841625 w 3044825"/>
                <a:gd name="connsiteY142" fmla="*/ 838200 h 977825"/>
                <a:gd name="connsiteX143" fmla="*/ 2863850 w 3044825"/>
                <a:gd name="connsiteY143" fmla="*/ 822325 h 977825"/>
                <a:gd name="connsiteX144" fmla="*/ 2882900 w 3044825"/>
                <a:gd name="connsiteY144" fmla="*/ 815975 h 977825"/>
                <a:gd name="connsiteX145" fmla="*/ 2905125 w 3044825"/>
                <a:gd name="connsiteY145" fmla="*/ 809625 h 977825"/>
                <a:gd name="connsiteX146" fmla="*/ 2921000 w 3044825"/>
                <a:gd name="connsiteY146" fmla="*/ 806450 h 977825"/>
                <a:gd name="connsiteX147" fmla="*/ 2930525 w 3044825"/>
                <a:gd name="connsiteY147" fmla="*/ 803275 h 977825"/>
                <a:gd name="connsiteX148" fmla="*/ 2943225 w 3044825"/>
                <a:gd name="connsiteY148" fmla="*/ 800100 h 977825"/>
                <a:gd name="connsiteX149" fmla="*/ 2955925 w 3044825"/>
                <a:gd name="connsiteY149" fmla="*/ 793750 h 977825"/>
                <a:gd name="connsiteX150" fmla="*/ 2965450 w 3044825"/>
                <a:gd name="connsiteY150" fmla="*/ 790575 h 977825"/>
                <a:gd name="connsiteX151" fmla="*/ 2974975 w 3044825"/>
                <a:gd name="connsiteY151" fmla="*/ 781050 h 977825"/>
                <a:gd name="connsiteX152" fmla="*/ 2984500 w 3044825"/>
                <a:gd name="connsiteY152" fmla="*/ 774700 h 977825"/>
                <a:gd name="connsiteX153" fmla="*/ 2987675 w 3044825"/>
                <a:gd name="connsiteY153" fmla="*/ 765175 h 977825"/>
                <a:gd name="connsiteX154" fmla="*/ 2997200 w 3044825"/>
                <a:gd name="connsiteY154" fmla="*/ 755650 h 977825"/>
                <a:gd name="connsiteX155" fmla="*/ 3006725 w 3044825"/>
                <a:gd name="connsiteY155" fmla="*/ 698500 h 977825"/>
                <a:gd name="connsiteX156" fmla="*/ 3013075 w 3044825"/>
                <a:gd name="connsiteY156" fmla="*/ 688975 h 977825"/>
                <a:gd name="connsiteX157" fmla="*/ 3032125 w 3044825"/>
                <a:gd name="connsiteY157" fmla="*/ 676275 h 977825"/>
                <a:gd name="connsiteX158" fmla="*/ 3044825 w 3044825"/>
                <a:gd name="connsiteY158" fmla="*/ 673100 h 977825"/>
                <a:gd name="connsiteX0" fmla="*/ 0 w 3044825"/>
                <a:gd name="connsiteY0" fmla="*/ 0 h 979437"/>
                <a:gd name="connsiteX1" fmla="*/ 0 w 3044825"/>
                <a:gd name="connsiteY1" fmla="*/ 0 h 979437"/>
                <a:gd name="connsiteX2" fmla="*/ 22225 w 3044825"/>
                <a:gd name="connsiteY2" fmla="*/ 19050 h 979437"/>
                <a:gd name="connsiteX3" fmla="*/ 38100 w 3044825"/>
                <a:gd name="connsiteY3" fmla="*/ 38100 h 979437"/>
                <a:gd name="connsiteX4" fmla="*/ 53975 w 3044825"/>
                <a:gd name="connsiteY4" fmla="*/ 53975 h 979437"/>
                <a:gd name="connsiteX5" fmla="*/ 69850 w 3044825"/>
                <a:gd name="connsiteY5" fmla="*/ 66675 h 979437"/>
                <a:gd name="connsiteX6" fmla="*/ 95250 w 3044825"/>
                <a:gd name="connsiteY6" fmla="*/ 79375 h 979437"/>
                <a:gd name="connsiteX7" fmla="*/ 114300 w 3044825"/>
                <a:gd name="connsiteY7" fmla="*/ 92075 h 979437"/>
                <a:gd name="connsiteX8" fmla="*/ 123825 w 3044825"/>
                <a:gd name="connsiteY8" fmla="*/ 95250 h 979437"/>
                <a:gd name="connsiteX9" fmla="*/ 146050 w 3044825"/>
                <a:gd name="connsiteY9" fmla="*/ 111125 h 979437"/>
                <a:gd name="connsiteX10" fmla="*/ 155575 w 3044825"/>
                <a:gd name="connsiteY10" fmla="*/ 114300 h 979437"/>
                <a:gd name="connsiteX11" fmla="*/ 180975 w 3044825"/>
                <a:gd name="connsiteY11" fmla="*/ 123825 h 979437"/>
                <a:gd name="connsiteX12" fmla="*/ 200025 w 3044825"/>
                <a:gd name="connsiteY12" fmla="*/ 130175 h 979437"/>
                <a:gd name="connsiteX13" fmla="*/ 212725 w 3044825"/>
                <a:gd name="connsiteY13" fmla="*/ 133350 h 979437"/>
                <a:gd name="connsiteX14" fmla="*/ 231775 w 3044825"/>
                <a:gd name="connsiteY14" fmla="*/ 139700 h 979437"/>
                <a:gd name="connsiteX15" fmla="*/ 250825 w 3044825"/>
                <a:gd name="connsiteY15" fmla="*/ 142875 h 979437"/>
                <a:gd name="connsiteX16" fmla="*/ 279400 w 3044825"/>
                <a:gd name="connsiteY16" fmla="*/ 152400 h 979437"/>
                <a:gd name="connsiteX17" fmla="*/ 298450 w 3044825"/>
                <a:gd name="connsiteY17" fmla="*/ 155575 h 979437"/>
                <a:gd name="connsiteX18" fmla="*/ 317500 w 3044825"/>
                <a:gd name="connsiteY18" fmla="*/ 161925 h 979437"/>
                <a:gd name="connsiteX19" fmla="*/ 327025 w 3044825"/>
                <a:gd name="connsiteY19" fmla="*/ 165100 h 979437"/>
                <a:gd name="connsiteX20" fmla="*/ 336550 w 3044825"/>
                <a:gd name="connsiteY20" fmla="*/ 171450 h 979437"/>
                <a:gd name="connsiteX21" fmla="*/ 346075 w 3044825"/>
                <a:gd name="connsiteY21" fmla="*/ 180975 h 979437"/>
                <a:gd name="connsiteX22" fmla="*/ 355600 w 3044825"/>
                <a:gd name="connsiteY22" fmla="*/ 184150 h 979437"/>
                <a:gd name="connsiteX23" fmla="*/ 377825 w 3044825"/>
                <a:gd name="connsiteY23" fmla="*/ 196850 h 979437"/>
                <a:gd name="connsiteX24" fmla="*/ 396875 w 3044825"/>
                <a:gd name="connsiteY24" fmla="*/ 212725 h 979437"/>
                <a:gd name="connsiteX25" fmla="*/ 409575 w 3044825"/>
                <a:gd name="connsiteY25" fmla="*/ 219075 h 979437"/>
                <a:gd name="connsiteX26" fmla="*/ 428625 w 3044825"/>
                <a:gd name="connsiteY26" fmla="*/ 231775 h 979437"/>
                <a:gd name="connsiteX27" fmla="*/ 447675 w 3044825"/>
                <a:gd name="connsiteY27" fmla="*/ 244475 h 979437"/>
                <a:gd name="connsiteX28" fmla="*/ 466725 w 3044825"/>
                <a:gd name="connsiteY28" fmla="*/ 257175 h 979437"/>
                <a:gd name="connsiteX29" fmla="*/ 476250 w 3044825"/>
                <a:gd name="connsiteY29" fmla="*/ 263525 h 979437"/>
                <a:gd name="connsiteX30" fmla="*/ 495300 w 3044825"/>
                <a:gd name="connsiteY30" fmla="*/ 279400 h 979437"/>
                <a:gd name="connsiteX31" fmla="*/ 504825 w 3044825"/>
                <a:gd name="connsiteY31" fmla="*/ 282575 h 979437"/>
                <a:gd name="connsiteX32" fmla="*/ 514350 w 3044825"/>
                <a:gd name="connsiteY32" fmla="*/ 288925 h 979437"/>
                <a:gd name="connsiteX33" fmla="*/ 533400 w 3044825"/>
                <a:gd name="connsiteY33" fmla="*/ 298450 h 979437"/>
                <a:gd name="connsiteX34" fmla="*/ 549275 w 3044825"/>
                <a:gd name="connsiteY34" fmla="*/ 282575 h 979437"/>
                <a:gd name="connsiteX35" fmla="*/ 558800 w 3044825"/>
                <a:gd name="connsiteY35" fmla="*/ 279400 h 979437"/>
                <a:gd name="connsiteX36" fmla="*/ 590550 w 3044825"/>
                <a:gd name="connsiteY36" fmla="*/ 276225 h 979437"/>
                <a:gd name="connsiteX37" fmla="*/ 603250 w 3044825"/>
                <a:gd name="connsiteY37" fmla="*/ 234950 h 979437"/>
                <a:gd name="connsiteX38" fmla="*/ 622300 w 3044825"/>
                <a:gd name="connsiteY38" fmla="*/ 225425 h 979437"/>
                <a:gd name="connsiteX39" fmla="*/ 638175 w 3044825"/>
                <a:gd name="connsiteY39" fmla="*/ 209550 h 979437"/>
                <a:gd name="connsiteX40" fmla="*/ 657225 w 3044825"/>
                <a:gd name="connsiteY40" fmla="*/ 203200 h 979437"/>
                <a:gd name="connsiteX41" fmla="*/ 676275 w 3044825"/>
                <a:gd name="connsiteY41" fmla="*/ 190500 h 979437"/>
                <a:gd name="connsiteX42" fmla="*/ 685800 w 3044825"/>
                <a:gd name="connsiteY42" fmla="*/ 180975 h 979437"/>
                <a:gd name="connsiteX43" fmla="*/ 711200 w 3044825"/>
                <a:gd name="connsiteY43" fmla="*/ 174625 h 979437"/>
                <a:gd name="connsiteX44" fmla="*/ 736600 w 3044825"/>
                <a:gd name="connsiteY44" fmla="*/ 177800 h 979437"/>
                <a:gd name="connsiteX45" fmla="*/ 752475 w 3044825"/>
                <a:gd name="connsiteY45" fmla="*/ 193675 h 979437"/>
                <a:gd name="connsiteX46" fmla="*/ 762000 w 3044825"/>
                <a:gd name="connsiteY46" fmla="*/ 196850 h 979437"/>
                <a:gd name="connsiteX47" fmla="*/ 873125 w 3044825"/>
                <a:gd name="connsiteY47" fmla="*/ 193675 h 979437"/>
                <a:gd name="connsiteX48" fmla="*/ 908050 w 3044825"/>
                <a:gd name="connsiteY48" fmla="*/ 196850 h 979437"/>
                <a:gd name="connsiteX49" fmla="*/ 927100 w 3044825"/>
                <a:gd name="connsiteY49" fmla="*/ 215900 h 979437"/>
                <a:gd name="connsiteX50" fmla="*/ 936625 w 3044825"/>
                <a:gd name="connsiteY50" fmla="*/ 225425 h 979437"/>
                <a:gd name="connsiteX51" fmla="*/ 946150 w 3044825"/>
                <a:gd name="connsiteY51" fmla="*/ 234950 h 979437"/>
                <a:gd name="connsiteX52" fmla="*/ 955675 w 3044825"/>
                <a:gd name="connsiteY52" fmla="*/ 241300 h 979437"/>
                <a:gd name="connsiteX53" fmla="*/ 1162050 w 3044825"/>
                <a:gd name="connsiteY53" fmla="*/ 244475 h 979437"/>
                <a:gd name="connsiteX54" fmla="*/ 1184275 w 3044825"/>
                <a:gd name="connsiteY54" fmla="*/ 266700 h 979437"/>
                <a:gd name="connsiteX55" fmla="*/ 1196975 w 3044825"/>
                <a:gd name="connsiteY55" fmla="*/ 285750 h 979437"/>
                <a:gd name="connsiteX56" fmla="*/ 1206500 w 3044825"/>
                <a:gd name="connsiteY56" fmla="*/ 292100 h 979437"/>
                <a:gd name="connsiteX57" fmla="*/ 1225550 w 3044825"/>
                <a:gd name="connsiteY57" fmla="*/ 307975 h 979437"/>
                <a:gd name="connsiteX58" fmla="*/ 1257300 w 3044825"/>
                <a:gd name="connsiteY58" fmla="*/ 301625 h 979437"/>
                <a:gd name="connsiteX59" fmla="*/ 1266825 w 3044825"/>
                <a:gd name="connsiteY59" fmla="*/ 295275 h 979437"/>
                <a:gd name="connsiteX60" fmla="*/ 1295400 w 3044825"/>
                <a:gd name="connsiteY60" fmla="*/ 292100 h 979437"/>
                <a:gd name="connsiteX61" fmla="*/ 1320800 w 3044825"/>
                <a:gd name="connsiteY61" fmla="*/ 276225 h 979437"/>
                <a:gd name="connsiteX62" fmla="*/ 1339850 w 3044825"/>
                <a:gd name="connsiteY62" fmla="*/ 273050 h 979437"/>
                <a:gd name="connsiteX63" fmla="*/ 1346200 w 3044825"/>
                <a:gd name="connsiteY63" fmla="*/ 263525 h 979437"/>
                <a:gd name="connsiteX64" fmla="*/ 1368425 w 3044825"/>
                <a:gd name="connsiteY64" fmla="*/ 254000 h 979437"/>
                <a:gd name="connsiteX65" fmla="*/ 1377950 w 3044825"/>
                <a:gd name="connsiteY65" fmla="*/ 247650 h 979437"/>
                <a:gd name="connsiteX66" fmla="*/ 1387475 w 3044825"/>
                <a:gd name="connsiteY66" fmla="*/ 244475 h 979437"/>
                <a:gd name="connsiteX67" fmla="*/ 1409700 w 3044825"/>
                <a:gd name="connsiteY67" fmla="*/ 228600 h 979437"/>
                <a:gd name="connsiteX68" fmla="*/ 1425575 w 3044825"/>
                <a:gd name="connsiteY68" fmla="*/ 225425 h 979437"/>
                <a:gd name="connsiteX69" fmla="*/ 1435100 w 3044825"/>
                <a:gd name="connsiteY69" fmla="*/ 222250 h 979437"/>
                <a:gd name="connsiteX70" fmla="*/ 1447800 w 3044825"/>
                <a:gd name="connsiteY70" fmla="*/ 219075 h 979437"/>
                <a:gd name="connsiteX71" fmla="*/ 1470025 w 3044825"/>
                <a:gd name="connsiteY71" fmla="*/ 209550 h 979437"/>
                <a:gd name="connsiteX72" fmla="*/ 1479550 w 3044825"/>
                <a:gd name="connsiteY72" fmla="*/ 206375 h 979437"/>
                <a:gd name="connsiteX73" fmla="*/ 1508125 w 3044825"/>
                <a:gd name="connsiteY73" fmla="*/ 190500 h 979437"/>
                <a:gd name="connsiteX74" fmla="*/ 1527175 w 3044825"/>
                <a:gd name="connsiteY74" fmla="*/ 180975 h 979437"/>
                <a:gd name="connsiteX75" fmla="*/ 1539875 w 3044825"/>
                <a:gd name="connsiteY75" fmla="*/ 184150 h 979437"/>
                <a:gd name="connsiteX76" fmla="*/ 1558925 w 3044825"/>
                <a:gd name="connsiteY76" fmla="*/ 190500 h 979437"/>
                <a:gd name="connsiteX77" fmla="*/ 1568450 w 3044825"/>
                <a:gd name="connsiteY77" fmla="*/ 196850 h 979437"/>
                <a:gd name="connsiteX78" fmla="*/ 1600200 w 3044825"/>
                <a:gd name="connsiteY78" fmla="*/ 203200 h 979437"/>
                <a:gd name="connsiteX79" fmla="*/ 1657350 w 3044825"/>
                <a:gd name="connsiteY79" fmla="*/ 212725 h 979437"/>
                <a:gd name="connsiteX80" fmla="*/ 1695450 w 3044825"/>
                <a:gd name="connsiteY80" fmla="*/ 238125 h 979437"/>
                <a:gd name="connsiteX81" fmla="*/ 1708150 w 3044825"/>
                <a:gd name="connsiteY81" fmla="*/ 247650 h 979437"/>
                <a:gd name="connsiteX82" fmla="*/ 1711325 w 3044825"/>
                <a:gd name="connsiteY82" fmla="*/ 266700 h 979437"/>
                <a:gd name="connsiteX83" fmla="*/ 1724025 w 3044825"/>
                <a:gd name="connsiteY83" fmla="*/ 273050 h 979437"/>
                <a:gd name="connsiteX84" fmla="*/ 1743075 w 3044825"/>
                <a:gd name="connsiteY84" fmla="*/ 279400 h 979437"/>
                <a:gd name="connsiteX85" fmla="*/ 1752600 w 3044825"/>
                <a:gd name="connsiteY85" fmla="*/ 282575 h 979437"/>
                <a:gd name="connsiteX86" fmla="*/ 1774825 w 3044825"/>
                <a:gd name="connsiteY86" fmla="*/ 288925 h 979437"/>
                <a:gd name="connsiteX87" fmla="*/ 1793875 w 3044825"/>
                <a:gd name="connsiteY87" fmla="*/ 301625 h 979437"/>
                <a:gd name="connsiteX88" fmla="*/ 1797050 w 3044825"/>
                <a:gd name="connsiteY88" fmla="*/ 317500 h 979437"/>
                <a:gd name="connsiteX89" fmla="*/ 1920875 w 3044825"/>
                <a:gd name="connsiteY89" fmla="*/ 374650 h 979437"/>
                <a:gd name="connsiteX90" fmla="*/ 1968500 w 3044825"/>
                <a:gd name="connsiteY90" fmla="*/ 381000 h 979437"/>
                <a:gd name="connsiteX91" fmla="*/ 1987550 w 3044825"/>
                <a:gd name="connsiteY91" fmla="*/ 393700 h 979437"/>
                <a:gd name="connsiteX92" fmla="*/ 1997075 w 3044825"/>
                <a:gd name="connsiteY92" fmla="*/ 412750 h 979437"/>
                <a:gd name="connsiteX93" fmla="*/ 2003425 w 3044825"/>
                <a:gd name="connsiteY93" fmla="*/ 422275 h 979437"/>
                <a:gd name="connsiteX94" fmla="*/ 2006600 w 3044825"/>
                <a:gd name="connsiteY94" fmla="*/ 431800 h 979437"/>
                <a:gd name="connsiteX95" fmla="*/ 2019300 w 3044825"/>
                <a:gd name="connsiteY95" fmla="*/ 460375 h 979437"/>
                <a:gd name="connsiteX96" fmla="*/ 2032000 w 3044825"/>
                <a:gd name="connsiteY96" fmla="*/ 479425 h 979437"/>
                <a:gd name="connsiteX97" fmla="*/ 2063750 w 3044825"/>
                <a:gd name="connsiteY97" fmla="*/ 511175 h 979437"/>
                <a:gd name="connsiteX98" fmla="*/ 2073275 w 3044825"/>
                <a:gd name="connsiteY98" fmla="*/ 520700 h 979437"/>
                <a:gd name="connsiteX99" fmla="*/ 2095500 w 3044825"/>
                <a:gd name="connsiteY99" fmla="*/ 546100 h 979437"/>
                <a:gd name="connsiteX100" fmla="*/ 2101850 w 3044825"/>
                <a:gd name="connsiteY100" fmla="*/ 555625 h 979437"/>
                <a:gd name="connsiteX101" fmla="*/ 2111375 w 3044825"/>
                <a:gd name="connsiteY101" fmla="*/ 561975 h 979437"/>
                <a:gd name="connsiteX102" fmla="*/ 2114550 w 3044825"/>
                <a:gd name="connsiteY102" fmla="*/ 571500 h 979437"/>
                <a:gd name="connsiteX103" fmla="*/ 2124075 w 3044825"/>
                <a:gd name="connsiteY103" fmla="*/ 581025 h 979437"/>
                <a:gd name="connsiteX104" fmla="*/ 2146300 w 3044825"/>
                <a:gd name="connsiteY104" fmla="*/ 596900 h 979437"/>
                <a:gd name="connsiteX105" fmla="*/ 2155825 w 3044825"/>
                <a:gd name="connsiteY105" fmla="*/ 600075 h 979437"/>
                <a:gd name="connsiteX106" fmla="*/ 2171700 w 3044825"/>
                <a:gd name="connsiteY106" fmla="*/ 619125 h 979437"/>
                <a:gd name="connsiteX107" fmla="*/ 2178050 w 3044825"/>
                <a:gd name="connsiteY107" fmla="*/ 628650 h 979437"/>
                <a:gd name="connsiteX108" fmla="*/ 2197100 w 3044825"/>
                <a:gd name="connsiteY108" fmla="*/ 638175 h 979437"/>
                <a:gd name="connsiteX109" fmla="*/ 2222500 w 3044825"/>
                <a:gd name="connsiteY109" fmla="*/ 644525 h 979437"/>
                <a:gd name="connsiteX110" fmla="*/ 2247900 w 3044825"/>
                <a:gd name="connsiteY110" fmla="*/ 647700 h 979437"/>
                <a:gd name="connsiteX111" fmla="*/ 2266950 w 3044825"/>
                <a:gd name="connsiteY111" fmla="*/ 650875 h 979437"/>
                <a:gd name="connsiteX112" fmla="*/ 2317750 w 3044825"/>
                <a:gd name="connsiteY112" fmla="*/ 654050 h 979437"/>
                <a:gd name="connsiteX113" fmla="*/ 2333625 w 3044825"/>
                <a:gd name="connsiteY113" fmla="*/ 669925 h 979437"/>
                <a:gd name="connsiteX114" fmla="*/ 2346325 w 3044825"/>
                <a:gd name="connsiteY114" fmla="*/ 695325 h 979437"/>
                <a:gd name="connsiteX115" fmla="*/ 2359025 w 3044825"/>
                <a:gd name="connsiteY115" fmla="*/ 714375 h 979437"/>
                <a:gd name="connsiteX116" fmla="*/ 2365375 w 3044825"/>
                <a:gd name="connsiteY116" fmla="*/ 723900 h 979437"/>
                <a:gd name="connsiteX117" fmla="*/ 2374900 w 3044825"/>
                <a:gd name="connsiteY117" fmla="*/ 733425 h 979437"/>
                <a:gd name="connsiteX118" fmla="*/ 2381250 w 3044825"/>
                <a:gd name="connsiteY118" fmla="*/ 742950 h 979437"/>
                <a:gd name="connsiteX119" fmla="*/ 2390775 w 3044825"/>
                <a:gd name="connsiteY119" fmla="*/ 749300 h 979437"/>
                <a:gd name="connsiteX120" fmla="*/ 2413000 w 3044825"/>
                <a:gd name="connsiteY120" fmla="*/ 771525 h 979437"/>
                <a:gd name="connsiteX121" fmla="*/ 2419350 w 3044825"/>
                <a:gd name="connsiteY121" fmla="*/ 781050 h 979437"/>
                <a:gd name="connsiteX122" fmla="*/ 2428875 w 3044825"/>
                <a:gd name="connsiteY122" fmla="*/ 787400 h 979437"/>
                <a:gd name="connsiteX123" fmla="*/ 2444750 w 3044825"/>
                <a:gd name="connsiteY123" fmla="*/ 806450 h 979437"/>
                <a:gd name="connsiteX124" fmla="*/ 2454275 w 3044825"/>
                <a:gd name="connsiteY124" fmla="*/ 812800 h 979437"/>
                <a:gd name="connsiteX125" fmla="*/ 2470150 w 3044825"/>
                <a:gd name="connsiteY125" fmla="*/ 828675 h 979437"/>
                <a:gd name="connsiteX126" fmla="*/ 2486025 w 3044825"/>
                <a:gd name="connsiteY126" fmla="*/ 844550 h 979437"/>
                <a:gd name="connsiteX127" fmla="*/ 2501900 w 3044825"/>
                <a:gd name="connsiteY127" fmla="*/ 863600 h 979437"/>
                <a:gd name="connsiteX128" fmla="*/ 2517775 w 3044825"/>
                <a:gd name="connsiteY128" fmla="*/ 879475 h 979437"/>
                <a:gd name="connsiteX129" fmla="*/ 2520950 w 3044825"/>
                <a:gd name="connsiteY129" fmla="*/ 889000 h 979437"/>
                <a:gd name="connsiteX130" fmla="*/ 2536825 w 3044825"/>
                <a:gd name="connsiteY130" fmla="*/ 908050 h 979437"/>
                <a:gd name="connsiteX131" fmla="*/ 2540000 w 3044825"/>
                <a:gd name="connsiteY131" fmla="*/ 917575 h 979437"/>
                <a:gd name="connsiteX132" fmla="*/ 2559050 w 3044825"/>
                <a:gd name="connsiteY132" fmla="*/ 930275 h 979437"/>
                <a:gd name="connsiteX133" fmla="*/ 2578100 w 3044825"/>
                <a:gd name="connsiteY133" fmla="*/ 939800 h 979437"/>
                <a:gd name="connsiteX134" fmla="*/ 2606675 w 3044825"/>
                <a:gd name="connsiteY134" fmla="*/ 962025 h 979437"/>
                <a:gd name="connsiteX135" fmla="*/ 2616200 w 3044825"/>
                <a:gd name="connsiteY135" fmla="*/ 968375 h 979437"/>
                <a:gd name="connsiteX136" fmla="*/ 2625725 w 3044825"/>
                <a:gd name="connsiteY136" fmla="*/ 974725 h 979437"/>
                <a:gd name="connsiteX137" fmla="*/ 2663825 w 3044825"/>
                <a:gd name="connsiteY137" fmla="*/ 974725 h 979437"/>
                <a:gd name="connsiteX138" fmla="*/ 2771775 w 3044825"/>
                <a:gd name="connsiteY138" fmla="*/ 914400 h 979437"/>
                <a:gd name="connsiteX139" fmla="*/ 2784475 w 3044825"/>
                <a:gd name="connsiteY139" fmla="*/ 895350 h 979437"/>
                <a:gd name="connsiteX140" fmla="*/ 2794000 w 3044825"/>
                <a:gd name="connsiteY140" fmla="*/ 885825 h 979437"/>
                <a:gd name="connsiteX141" fmla="*/ 2813050 w 3044825"/>
                <a:gd name="connsiteY141" fmla="*/ 869950 h 979437"/>
                <a:gd name="connsiteX142" fmla="*/ 2825750 w 3044825"/>
                <a:gd name="connsiteY142" fmla="*/ 854075 h 979437"/>
                <a:gd name="connsiteX143" fmla="*/ 2841625 w 3044825"/>
                <a:gd name="connsiteY143" fmla="*/ 838200 h 979437"/>
                <a:gd name="connsiteX144" fmla="*/ 2863850 w 3044825"/>
                <a:gd name="connsiteY144" fmla="*/ 822325 h 979437"/>
                <a:gd name="connsiteX145" fmla="*/ 2882900 w 3044825"/>
                <a:gd name="connsiteY145" fmla="*/ 815975 h 979437"/>
                <a:gd name="connsiteX146" fmla="*/ 2905125 w 3044825"/>
                <a:gd name="connsiteY146" fmla="*/ 809625 h 979437"/>
                <a:gd name="connsiteX147" fmla="*/ 2921000 w 3044825"/>
                <a:gd name="connsiteY147" fmla="*/ 806450 h 979437"/>
                <a:gd name="connsiteX148" fmla="*/ 2930525 w 3044825"/>
                <a:gd name="connsiteY148" fmla="*/ 803275 h 979437"/>
                <a:gd name="connsiteX149" fmla="*/ 2943225 w 3044825"/>
                <a:gd name="connsiteY149" fmla="*/ 800100 h 979437"/>
                <a:gd name="connsiteX150" fmla="*/ 2955925 w 3044825"/>
                <a:gd name="connsiteY150" fmla="*/ 793750 h 979437"/>
                <a:gd name="connsiteX151" fmla="*/ 2965450 w 3044825"/>
                <a:gd name="connsiteY151" fmla="*/ 790575 h 979437"/>
                <a:gd name="connsiteX152" fmla="*/ 2974975 w 3044825"/>
                <a:gd name="connsiteY152" fmla="*/ 781050 h 979437"/>
                <a:gd name="connsiteX153" fmla="*/ 2984500 w 3044825"/>
                <a:gd name="connsiteY153" fmla="*/ 774700 h 979437"/>
                <a:gd name="connsiteX154" fmla="*/ 2987675 w 3044825"/>
                <a:gd name="connsiteY154" fmla="*/ 765175 h 979437"/>
                <a:gd name="connsiteX155" fmla="*/ 2997200 w 3044825"/>
                <a:gd name="connsiteY155" fmla="*/ 755650 h 979437"/>
                <a:gd name="connsiteX156" fmla="*/ 3006725 w 3044825"/>
                <a:gd name="connsiteY156" fmla="*/ 698500 h 979437"/>
                <a:gd name="connsiteX157" fmla="*/ 3013075 w 3044825"/>
                <a:gd name="connsiteY157" fmla="*/ 688975 h 979437"/>
                <a:gd name="connsiteX158" fmla="*/ 3032125 w 3044825"/>
                <a:gd name="connsiteY158" fmla="*/ 676275 h 979437"/>
                <a:gd name="connsiteX159" fmla="*/ 3044825 w 3044825"/>
                <a:gd name="connsiteY159" fmla="*/ 673100 h 97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3044825" h="979437">
                  <a:moveTo>
                    <a:pt x="0" y="0"/>
                  </a:moveTo>
                  <a:lnTo>
                    <a:pt x="0" y="0"/>
                  </a:lnTo>
                  <a:cubicBezTo>
                    <a:pt x="7408" y="6350"/>
                    <a:pt x="15698" y="11797"/>
                    <a:pt x="22225" y="19050"/>
                  </a:cubicBezTo>
                  <a:cubicBezTo>
                    <a:pt x="46395" y="45905"/>
                    <a:pt x="11646" y="20464"/>
                    <a:pt x="38100" y="38100"/>
                  </a:cubicBezTo>
                  <a:cubicBezTo>
                    <a:pt x="55033" y="63500"/>
                    <a:pt x="32808" y="32808"/>
                    <a:pt x="53975" y="53975"/>
                  </a:cubicBezTo>
                  <a:cubicBezTo>
                    <a:pt x="68336" y="68336"/>
                    <a:pt x="51307" y="60494"/>
                    <a:pt x="69850" y="66675"/>
                  </a:cubicBezTo>
                  <a:cubicBezTo>
                    <a:pt x="91065" y="87890"/>
                    <a:pt x="65509" y="65856"/>
                    <a:pt x="95250" y="79375"/>
                  </a:cubicBezTo>
                  <a:cubicBezTo>
                    <a:pt x="102198" y="82533"/>
                    <a:pt x="107060" y="89662"/>
                    <a:pt x="114300" y="92075"/>
                  </a:cubicBezTo>
                  <a:lnTo>
                    <a:pt x="123825" y="95250"/>
                  </a:lnTo>
                  <a:cubicBezTo>
                    <a:pt x="126701" y="97407"/>
                    <a:pt x="141407" y="108804"/>
                    <a:pt x="146050" y="111125"/>
                  </a:cubicBezTo>
                  <a:cubicBezTo>
                    <a:pt x="149043" y="112622"/>
                    <a:pt x="152400" y="113242"/>
                    <a:pt x="155575" y="114300"/>
                  </a:cubicBezTo>
                  <a:cubicBezTo>
                    <a:pt x="172151" y="125351"/>
                    <a:pt x="157737" y="117487"/>
                    <a:pt x="180975" y="123825"/>
                  </a:cubicBezTo>
                  <a:cubicBezTo>
                    <a:pt x="187433" y="125586"/>
                    <a:pt x="193531" y="128552"/>
                    <a:pt x="200025" y="130175"/>
                  </a:cubicBezTo>
                  <a:cubicBezTo>
                    <a:pt x="204258" y="131233"/>
                    <a:pt x="208545" y="132096"/>
                    <a:pt x="212725" y="133350"/>
                  </a:cubicBezTo>
                  <a:cubicBezTo>
                    <a:pt x="219136" y="135273"/>
                    <a:pt x="225281" y="138077"/>
                    <a:pt x="231775" y="139700"/>
                  </a:cubicBezTo>
                  <a:cubicBezTo>
                    <a:pt x="238020" y="141261"/>
                    <a:pt x="244475" y="141817"/>
                    <a:pt x="250825" y="142875"/>
                  </a:cubicBezTo>
                  <a:lnTo>
                    <a:pt x="279400" y="152400"/>
                  </a:lnTo>
                  <a:cubicBezTo>
                    <a:pt x="285507" y="154436"/>
                    <a:pt x="292100" y="154517"/>
                    <a:pt x="298450" y="155575"/>
                  </a:cubicBezTo>
                  <a:lnTo>
                    <a:pt x="317500" y="161925"/>
                  </a:lnTo>
                  <a:lnTo>
                    <a:pt x="327025" y="165100"/>
                  </a:lnTo>
                  <a:cubicBezTo>
                    <a:pt x="330200" y="167217"/>
                    <a:pt x="333619" y="169007"/>
                    <a:pt x="336550" y="171450"/>
                  </a:cubicBezTo>
                  <a:cubicBezTo>
                    <a:pt x="339999" y="174325"/>
                    <a:pt x="342339" y="178484"/>
                    <a:pt x="346075" y="180975"/>
                  </a:cubicBezTo>
                  <a:cubicBezTo>
                    <a:pt x="348860" y="182831"/>
                    <a:pt x="352425" y="183092"/>
                    <a:pt x="355600" y="184150"/>
                  </a:cubicBezTo>
                  <a:cubicBezTo>
                    <a:pt x="386309" y="207182"/>
                    <a:pt x="353583" y="184729"/>
                    <a:pt x="377825" y="196850"/>
                  </a:cubicBezTo>
                  <a:cubicBezTo>
                    <a:pt x="394622" y="205249"/>
                    <a:pt x="380491" y="201022"/>
                    <a:pt x="396875" y="212725"/>
                  </a:cubicBezTo>
                  <a:cubicBezTo>
                    <a:pt x="400726" y="215476"/>
                    <a:pt x="405516" y="216640"/>
                    <a:pt x="409575" y="219075"/>
                  </a:cubicBezTo>
                  <a:cubicBezTo>
                    <a:pt x="416119" y="223002"/>
                    <a:pt x="422275" y="227542"/>
                    <a:pt x="428625" y="231775"/>
                  </a:cubicBezTo>
                  <a:lnTo>
                    <a:pt x="447675" y="244475"/>
                  </a:lnTo>
                  <a:cubicBezTo>
                    <a:pt x="471458" y="260330"/>
                    <a:pt x="444077" y="249626"/>
                    <a:pt x="466725" y="257175"/>
                  </a:cubicBezTo>
                  <a:cubicBezTo>
                    <a:pt x="469900" y="259292"/>
                    <a:pt x="473319" y="261082"/>
                    <a:pt x="476250" y="263525"/>
                  </a:cubicBezTo>
                  <a:cubicBezTo>
                    <a:pt x="486783" y="272302"/>
                    <a:pt x="483476" y="273488"/>
                    <a:pt x="495300" y="279400"/>
                  </a:cubicBezTo>
                  <a:cubicBezTo>
                    <a:pt x="498293" y="280897"/>
                    <a:pt x="501650" y="281517"/>
                    <a:pt x="504825" y="282575"/>
                  </a:cubicBezTo>
                  <a:cubicBezTo>
                    <a:pt x="508000" y="284692"/>
                    <a:pt x="510937" y="287218"/>
                    <a:pt x="514350" y="288925"/>
                  </a:cubicBezTo>
                  <a:cubicBezTo>
                    <a:pt x="540640" y="302070"/>
                    <a:pt x="506103" y="280252"/>
                    <a:pt x="533400" y="298450"/>
                  </a:cubicBezTo>
                  <a:cubicBezTo>
                    <a:pt x="561975" y="291306"/>
                    <a:pt x="533400" y="302419"/>
                    <a:pt x="549275" y="282575"/>
                  </a:cubicBezTo>
                  <a:cubicBezTo>
                    <a:pt x="551366" y="279962"/>
                    <a:pt x="555492" y="279909"/>
                    <a:pt x="558800" y="279400"/>
                  </a:cubicBezTo>
                  <a:cubicBezTo>
                    <a:pt x="569312" y="277783"/>
                    <a:pt x="579967" y="277283"/>
                    <a:pt x="590550" y="276225"/>
                  </a:cubicBezTo>
                  <a:cubicBezTo>
                    <a:pt x="613249" y="261092"/>
                    <a:pt x="589168" y="280716"/>
                    <a:pt x="603250" y="234950"/>
                  </a:cubicBezTo>
                  <a:cubicBezTo>
                    <a:pt x="604657" y="230378"/>
                    <a:pt x="618717" y="226619"/>
                    <a:pt x="622300" y="225425"/>
                  </a:cubicBezTo>
                  <a:cubicBezTo>
                    <a:pt x="628093" y="216736"/>
                    <a:pt x="628149" y="214006"/>
                    <a:pt x="638175" y="209550"/>
                  </a:cubicBezTo>
                  <a:cubicBezTo>
                    <a:pt x="644292" y="206832"/>
                    <a:pt x="657225" y="203200"/>
                    <a:pt x="657225" y="203200"/>
                  </a:cubicBezTo>
                  <a:cubicBezTo>
                    <a:pt x="687611" y="172814"/>
                    <a:pt x="648706" y="208880"/>
                    <a:pt x="676275" y="190500"/>
                  </a:cubicBezTo>
                  <a:cubicBezTo>
                    <a:pt x="680011" y="188009"/>
                    <a:pt x="682064" y="183466"/>
                    <a:pt x="685800" y="180975"/>
                  </a:cubicBezTo>
                  <a:cubicBezTo>
                    <a:pt x="689984" y="178186"/>
                    <a:pt x="708910" y="175083"/>
                    <a:pt x="711200" y="174625"/>
                  </a:cubicBezTo>
                  <a:cubicBezTo>
                    <a:pt x="719667" y="175683"/>
                    <a:pt x="728368" y="175555"/>
                    <a:pt x="736600" y="177800"/>
                  </a:cubicBezTo>
                  <a:cubicBezTo>
                    <a:pt x="751052" y="181741"/>
                    <a:pt x="742257" y="185500"/>
                    <a:pt x="752475" y="193675"/>
                  </a:cubicBezTo>
                  <a:cubicBezTo>
                    <a:pt x="755088" y="195766"/>
                    <a:pt x="758825" y="195792"/>
                    <a:pt x="762000" y="196850"/>
                  </a:cubicBezTo>
                  <a:cubicBezTo>
                    <a:pt x="799042" y="195792"/>
                    <a:pt x="836068" y="193675"/>
                    <a:pt x="873125" y="193675"/>
                  </a:cubicBezTo>
                  <a:cubicBezTo>
                    <a:pt x="884815" y="193675"/>
                    <a:pt x="897241" y="192399"/>
                    <a:pt x="908050" y="196850"/>
                  </a:cubicBezTo>
                  <a:cubicBezTo>
                    <a:pt x="916354" y="200269"/>
                    <a:pt x="920750" y="209550"/>
                    <a:pt x="927100" y="215900"/>
                  </a:cubicBezTo>
                  <a:lnTo>
                    <a:pt x="936625" y="225425"/>
                  </a:lnTo>
                  <a:cubicBezTo>
                    <a:pt x="939800" y="228600"/>
                    <a:pt x="942414" y="232459"/>
                    <a:pt x="946150" y="234950"/>
                  </a:cubicBezTo>
                  <a:lnTo>
                    <a:pt x="955675" y="241300"/>
                  </a:lnTo>
                  <a:lnTo>
                    <a:pt x="1162050" y="244475"/>
                  </a:lnTo>
                  <a:cubicBezTo>
                    <a:pt x="1169458" y="251883"/>
                    <a:pt x="1177507" y="258702"/>
                    <a:pt x="1184275" y="266700"/>
                  </a:cubicBezTo>
                  <a:cubicBezTo>
                    <a:pt x="1189205" y="272526"/>
                    <a:pt x="1190625" y="281517"/>
                    <a:pt x="1196975" y="285750"/>
                  </a:cubicBezTo>
                  <a:cubicBezTo>
                    <a:pt x="1200150" y="287867"/>
                    <a:pt x="1203569" y="289657"/>
                    <a:pt x="1206500" y="292100"/>
                  </a:cubicBezTo>
                  <a:cubicBezTo>
                    <a:pt x="1230946" y="312472"/>
                    <a:pt x="1201901" y="292209"/>
                    <a:pt x="1225550" y="307975"/>
                  </a:cubicBezTo>
                  <a:cubicBezTo>
                    <a:pt x="1233740" y="306805"/>
                    <a:pt x="1248434" y="306058"/>
                    <a:pt x="1257300" y="301625"/>
                  </a:cubicBezTo>
                  <a:cubicBezTo>
                    <a:pt x="1260713" y="299918"/>
                    <a:pt x="1263123" y="296200"/>
                    <a:pt x="1266825" y="295275"/>
                  </a:cubicBezTo>
                  <a:cubicBezTo>
                    <a:pt x="1276122" y="292951"/>
                    <a:pt x="1285875" y="293158"/>
                    <a:pt x="1295400" y="292100"/>
                  </a:cubicBezTo>
                  <a:cubicBezTo>
                    <a:pt x="1303224" y="286232"/>
                    <a:pt x="1311115" y="279131"/>
                    <a:pt x="1320800" y="276225"/>
                  </a:cubicBezTo>
                  <a:cubicBezTo>
                    <a:pt x="1326966" y="274375"/>
                    <a:pt x="1333500" y="274108"/>
                    <a:pt x="1339850" y="273050"/>
                  </a:cubicBezTo>
                  <a:cubicBezTo>
                    <a:pt x="1341967" y="269875"/>
                    <a:pt x="1343502" y="266223"/>
                    <a:pt x="1346200" y="263525"/>
                  </a:cubicBezTo>
                  <a:cubicBezTo>
                    <a:pt x="1353509" y="256216"/>
                    <a:pt x="1358709" y="256429"/>
                    <a:pt x="1368425" y="254000"/>
                  </a:cubicBezTo>
                  <a:cubicBezTo>
                    <a:pt x="1371600" y="251883"/>
                    <a:pt x="1374537" y="249357"/>
                    <a:pt x="1377950" y="247650"/>
                  </a:cubicBezTo>
                  <a:cubicBezTo>
                    <a:pt x="1380943" y="246153"/>
                    <a:pt x="1384690" y="246331"/>
                    <a:pt x="1387475" y="244475"/>
                  </a:cubicBezTo>
                  <a:cubicBezTo>
                    <a:pt x="1405289" y="232599"/>
                    <a:pt x="1387774" y="235909"/>
                    <a:pt x="1409700" y="228600"/>
                  </a:cubicBezTo>
                  <a:cubicBezTo>
                    <a:pt x="1414820" y="226893"/>
                    <a:pt x="1420340" y="226734"/>
                    <a:pt x="1425575" y="225425"/>
                  </a:cubicBezTo>
                  <a:cubicBezTo>
                    <a:pt x="1428822" y="224613"/>
                    <a:pt x="1431882" y="223169"/>
                    <a:pt x="1435100" y="222250"/>
                  </a:cubicBezTo>
                  <a:cubicBezTo>
                    <a:pt x="1439296" y="221051"/>
                    <a:pt x="1443604" y="220274"/>
                    <a:pt x="1447800" y="219075"/>
                  </a:cubicBezTo>
                  <a:cubicBezTo>
                    <a:pt x="1462692" y="214820"/>
                    <a:pt x="1453092" y="216807"/>
                    <a:pt x="1470025" y="209550"/>
                  </a:cubicBezTo>
                  <a:cubicBezTo>
                    <a:pt x="1473101" y="208232"/>
                    <a:pt x="1476375" y="207433"/>
                    <a:pt x="1479550" y="206375"/>
                  </a:cubicBezTo>
                  <a:cubicBezTo>
                    <a:pt x="1501385" y="191819"/>
                    <a:pt x="1491360" y="196088"/>
                    <a:pt x="1508125" y="190500"/>
                  </a:cubicBezTo>
                  <a:cubicBezTo>
                    <a:pt x="1512941" y="187289"/>
                    <a:pt x="1520602" y="180975"/>
                    <a:pt x="1527175" y="180975"/>
                  </a:cubicBezTo>
                  <a:cubicBezTo>
                    <a:pt x="1531539" y="180975"/>
                    <a:pt x="1535695" y="182896"/>
                    <a:pt x="1539875" y="184150"/>
                  </a:cubicBezTo>
                  <a:cubicBezTo>
                    <a:pt x="1546286" y="186073"/>
                    <a:pt x="1558925" y="190500"/>
                    <a:pt x="1558925" y="190500"/>
                  </a:cubicBezTo>
                  <a:cubicBezTo>
                    <a:pt x="1562100" y="192617"/>
                    <a:pt x="1565037" y="195143"/>
                    <a:pt x="1568450" y="196850"/>
                  </a:cubicBezTo>
                  <a:cubicBezTo>
                    <a:pt x="1578014" y="201632"/>
                    <a:pt x="1590449" y="201250"/>
                    <a:pt x="1600200" y="203200"/>
                  </a:cubicBezTo>
                  <a:cubicBezTo>
                    <a:pt x="1653778" y="213916"/>
                    <a:pt x="1595151" y="206505"/>
                    <a:pt x="1657350" y="212725"/>
                  </a:cubicBezTo>
                  <a:lnTo>
                    <a:pt x="1695450" y="238125"/>
                  </a:lnTo>
                  <a:cubicBezTo>
                    <a:pt x="1699853" y="241060"/>
                    <a:pt x="1703917" y="244475"/>
                    <a:pt x="1708150" y="247650"/>
                  </a:cubicBezTo>
                  <a:cubicBezTo>
                    <a:pt x="1709208" y="254000"/>
                    <a:pt x="1707913" y="261241"/>
                    <a:pt x="1711325" y="266700"/>
                  </a:cubicBezTo>
                  <a:cubicBezTo>
                    <a:pt x="1713833" y="270714"/>
                    <a:pt x="1719631" y="271292"/>
                    <a:pt x="1724025" y="273050"/>
                  </a:cubicBezTo>
                  <a:cubicBezTo>
                    <a:pt x="1730240" y="275536"/>
                    <a:pt x="1736725" y="277283"/>
                    <a:pt x="1743075" y="279400"/>
                  </a:cubicBezTo>
                  <a:cubicBezTo>
                    <a:pt x="1746250" y="280458"/>
                    <a:pt x="1749353" y="281763"/>
                    <a:pt x="1752600" y="282575"/>
                  </a:cubicBezTo>
                  <a:cubicBezTo>
                    <a:pt x="1768547" y="286562"/>
                    <a:pt x="1761160" y="284370"/>
                    <a:pt x="1774825" y="288925"/>
                  </a:cubicBezTo>
                  <a:cubicBezTo>
                    <a:pt x="1781175" y="293158"/>
                    <a:pt x="1792378" y="294141"/>
                    <a:pt x="1793875" y="301625"/>
                  </a:cubicBezTo>
                  <a:lnTo>
                    <a:pt x="1797050" y="317500"/>
                  </a:lnTo>
                  <a:lnTo>
                    <a:pt x="1920875" y="374650"/>
                  </a:lnTo>
                  <a:cubicBezTo>
                    <a:pt x="1921131" y="374678"/>
                    <a:pt x="1963318" y="378841"/>
                    <a:pt x="1968500" y="381000"/>
                  </a:cubicBezTo>
                  <a:cubicBezTo>
                    <a:pt x="1975545" y="383935"/>
                    <a:pt x="1987550" y="393700"/>
                    <a:pt x="1987550" y="393700"/>
                  </a:cubicBezTo>
                  <a:cubicBezTo>
                    <a:pt x="2005748" y="420997"/>
                    <a:pt x="1983930" y="386460"/>
                    <a:pt x="1997075" y="412750"/>
                  </a:cubicBezTo>
                  <a:cubicBezTo>
                    <a:pt x="1998782" y="416163"/>
                    <a:pt x="2001718" y="418862"/>
                    <a:pt x="2003425" y="422275"/>
                  </a:cubicBezTo>
                  <a:cubicBezTo>
                    <a:pt x="2004922" y="425268"/>
                    <a:pt x="2005103" y="428807"/>
                    <a:pt x="2006600" y="431800"/>
                  </a:cubicBezTo>
                  <a:cubicBezTo>
                    <a:pt x="2021694" y="461989"/>
                    <a:pt x="2002918" y="411228"/>
                    <a:pt x="2019300" y="460375"/>
                  </a:cubicBezTo>
                  <a:cubicBezTo>
                    <a:pt x="2021713" y="467615"/>
                    <a:pt x="2027767" y="473075"/>
                    <a:pt x="2032000" y="479425"/>
                  </a:cubicBezTo>
                  <a:lnTo>
                    <a:pt x="2063750" y="511175"/>
                  </a:lnTo>
                  <a:cubicBezTo>
                    <a:pt x="2066925" y="514350"/>
                    <a:pt x="2070784" y="516964"/>
                    <a:pt x="2073275" y="520700"/>
                  </a:cubicBezTo>
                  <a:cubicBezTo>
                    <a:pt x="2088092" y="542925"/>
                    <a:pt x="2079625" y="535517"/>
                    <a:pt x="2095500" y="546100"/>
                  </a:cubicBezTo>
                  <a:cubicBezTo>
                    <a:pt x="2097617" y="549275"/>
                    <a:pt x="2099152" y="552927"/>
                    <a:pt x="2101850" y="555625"/>
                  </a:cubicBezTo>
                  <a:cubicBezTo>
                    <a:pt x="2104548" y="558323"/>
                    <a:pt x="2108991" y="558995"/>
                    <a:pt x="2111375" y="561975"/>
                  </a:cubicBezTo>
                  <a:cubicBezTo>
                    <a:pt x="2113466" y="564588"/>
                    <a:pt x="2112694" y="568715"/>
                    <a:pt x="2114550" y="571500"/>
                  </a:cubicBezTo>
                  <a:cubicBezTo>
                    <a:pt x="2117041" y="575236"/>
                    <a:pt x="2120666" y="578103"/>
                    <a:pt x="2124075" y="581025"/>
                  </a:cubicBezTo>
                  <a:cubicBezTo>
                    <a:pt x="2126088" y="582751"/>
                    <a:pt x="2142280" y="594890"/>
                    <a:pt x="2146300" y="596900"/>
                  </a:cubicBezTo>
                  <a:cubicBezTo>
                    <a:pt x="2149293" y="598397"/>
                    <a:pt x="2152650" y="599017"/>
                    <a:pt x="2155825" y="600075"/>
                  </a:cubicBezTo>
                  <a:cubicBezTo>
                    <a:pt x="2171591" y="623724"/>
                    <a:pt x="2151328" y="594679"/>
                    <a:pt x="2171700" y="619125"/>
                  </a:cubicBezTo>
                  <a:cubicBezTo>
                    <a:pt x="2174143" y="622056"/>
                    <a:pt x="2175352" y="625952"/>
                    <a:pt x="2178050" y="628650"/>
                  </a:cubicBezTo>
                  <a:cubicBezTo>
                    <a:pt x="2183469" y="634069"/>
                    <a:pt x="2189999" y="636238"/>
                    <a:pt x="2197100" y="638175"/>
                  </a:cubicBezTo>
                  <a:cubicBezTo>
                    <a:pt x="2205520" y="640471"/>
                    <a:pt x="2213922" y="642917"/>
                    <a:pt x="2222500" y="644525"/>
                  </a:cubicBezTo>
                  <a:cubicBezTo>
                    <a:pt x="2230886" y="646097"/>
                    <a:pt x="2239453" y="646493"/>
                    <a:pt x="2247900" y="647700"/>
                  </a:cubicBezTo>
                  <a:cubicBezTo>
                    <a:pt x="2254273" y="648610"/>
                    <a:pt x="2260600" y="649817"/>
                    <a:pt x="2266950" y="650875"/>
                  </a:cubicBezTo>
                  <a:cubicBezTo>
                    <a:pt x="2289527" y="658401"/>
                    <a:pt x="2273128" y="654050"/>
                    <a:pt x="2317750" y="654050"/>
                  </a:cubicBezTo>
                  <a:lnTo>
                    <a:pt x="2333625" y="669925"/>
                  </a:lnTo>
                  <a:cubicBezTo>
                    <a:pt x="2337858" y="678392"/>
                    <a:pt x="2341629" y="687106"/>
                    <a:pt x="2346325" y="695325"/>
                  </a:cubicBezTo>
                  <a:cubicBezTo>
                    <a:pt x="2350111" y="701951"/>
                    <a:pt x="2354792" y="708025"/>
                    <a:pt x="2359025" y="714375"/>
                  </a:cubicBezTo>
                  <a:lnTo>
                    <a:pt x="2365375" y="723900"/>
                  </a:lnTo>
                  <a:cubicBezTo>
                    <a:pt x="2367866" y="727636"/>
                    <a:pt x="2372025" y="729976"/>
                    <a:pt x="2374900" y="733425"/>
                  </a:cubicBezTo>
                  <a:cubicBezTo>
                    <a:pt x="2377343" y="736356"/>
                    <a:pt x="2378552" y="740252"/>
                    <a:pt x="2381250" y="742950"/>
                  </a:cubicBezTo>
                  <a:cubicBezTo>
                    <a:pt x="2383948" y="745648"/>
                    <a:pt x="2387939" y="746747"/>
                    <a:pt x="2390775" y="749300"/>
                  </a:cubicBezTo>
                  <a:cubicBezTo>
                    <a:pt x="2398562" y="756309"/>
                    <a:pt x="2405592" y="764117"/>
                    <a:pt x="2413000" y="771525"/>
                  </a:cubicBezTo>
                  <a:cubicBezTo>
                    <a:pt x="2415698" y="774223"/>
                    <a:pt x="2416652" y="778352"/>
                    <a:pt x="2419350" y="781050"/>
                  </a:cubicBezTo>
                  <a:cubicBezTo>
                    <a:pt x="2422048" y="783748"/>
                    <a:pt x="2425944" y="784957"/>
                    <a:pt x="2428875" y="787400"/>
                  </a:cubicBezTo>
                  <a:cubicBezTo>
                    <a:pt x="2460083" y="813407"/>
                    <a:pt x="2419775" y="781475"/>
                    <a:pt x="2444750" y="806450"/>
                  </a:cubicBezTo>
                  <a:cubicBezTo>
                    <a:pt x="2447448" y="809148"/>
                    <a:pt x="2451100" y="810683"/>
                    <a:pt x="2454275" y="812800"/>
                  </a:cubicBezTo>
                  <a:cubicBezTo>
                    <a:pt x="2471208" y="838200"/>
                    <a:pt x="2448983" y="807508"/>
                    <a:pt x="2470150" y="828675"/>
                  </a:cubicBezTo>
                  <a:cubicBezTo>
                    <a:pt x="2491317" y="849842"/>
                    <a:pt x="2460625" y="827617"/>
                    <a:pt x="2486025" y="844550"/>
                  </a:cubicBezTo>
                  <a:cubicBezTo>
                    <a:pt x="2501791" y="868199"/>
                    <a:pt x="2481528" y="839154"/>
                    <a:pt x="2501900" y="863600"/>
                  </a:cubicBezTo>
                  <a:cubicBezTo>
                    <a:pt x="2515129" y="879475"/>
                    <a:pt x="2500312" y="867833"/>
                    <a:pt x="2517775" y="879475"/>
                  </a:cubicBezTo>
                  <a:cubicBezTo>
                    <a:pt x="2518833" y="882650"/>
                    <a:pt x="2519453" y="886007"/>
                    <a:pt x="2520950" y="889000"/>
                  </a:cubicBezTo>
                  <a:cubicBezTo>
                    <a:pt x="2525370" y="897841"/>
                    <a:pt x="2529803" y="901028"/>
                    <a:pt x="2536825" y="908050"/>
                  </a:cubicBezTo>
                  <a:cubicBezTo>
                    <a:pt x="2537883" y="911225"/>
                    <a:pt x="2537633" y="915208"/>
                    <a:pt x="2540000" y="917575"/>
                  </a:cubicBezTo>
                  <a:cubicBezTo>
                    <a:pt x="2545396" y="922971"/>
                    <a:pt x="2552700" y="926042"/>
                    <a:pt x="2559050" y="930275"/>
                  </a:cubicBezTo>
                  <a:cubicBezTo>
                    <a:pt x="2571360" y="938481"/>
                    <a:pt x="2564955" y="935418"/>
                    <a:pt x="2578100" y="939800"/>
                  </a:cubicBezTo>
                  <a:cubicBezTo>
                    <a:pt x="2593021" y="954721"/>
                    <a:pt x="2583889" y="946834"/>
                    <a:pt x="2606675" y="962025"/>
                  </a:cubicBezTo>
                  <a:lnTo>
                    <a:pt x="2616200" y="968375"/>
                  </a:lnTo>
                  <a:cubicBezTo>
                    <a:pt x="2619375" y="970492"/>
                    <a:pt x="2617788" y="973667"/>
                    <a:pt x="2625725" y="974725"/>
                  </a:cubicBezTo>
                  <a:cubicBezTo>
                    <a:pt x="2633662" y="975783"/>
                    <a:pt x="2639483" y="984779"/>
                    <a:pt x="2663825" y="974725"/>
                  </a:cubicBezTo>
                  <a:cubicBezTo>
                    <a:pt x="2688167" y="964671"/>
                    <a:pt x="2751667" y="927629"/>
                    <a:pt x="2771775" y="914400"/>
                  </a:cubicBezTo>
                  <a:cubicBezTo>
                    <a:pt x="2791883" y="901171"/>
                    <a:pt x="2779079" y="900746"/>
                    <a:pt x="2784475" y="895350"/>
                  </a:cubicBezTo>
                  <a:cubicBezTo>
                    <a:pt x="2787650" y="892175"/>
                    <a:pt x="2790551" y="888700"/>
                    <a:pt x="2794000" y="885825"/>
                  </a:cubicBezTo>
                  <a:cubicBezTo>
                    <a:pt x="2820522" y="863723"/>
                    <a:pt x="2785223" y="897777"/>
                    <a:pt x="2813050" y="869950"/>
                  </a:cubicBezTo>
                  <a:cubicBezTo>
                    <a:pt x="2819231" y="851407"/>
                    <a:pt x="2811389" y="868436"/>
                    <a:pt x="2825750" y="854075"/>
                  </a:cubicBezTo>
                  <a:cubicBezTo>
                    <a:pt x="2851150" y="828675"/>
                    <a:pt x="2811992" y="859367"/>
                    <a:pt x="2841625" y="838200"/>
                  </a:cubicBezTo>
                  <a:cubicBezTo>
                    <a:pt x="2843557" y="836820"/>
                    <a:pt x="2859889" y="824086"/>
                    <a:pt x="2863850" y="822325"/>
                  </a:cubicBezTo>
                  <a:cubicBezTo>
                    <a:pt x="2869967" y="819607"/>
                    <a:pt x="2876550" y="818092"/>
                    <a:pt x="2882900" y="815975"/>
                  </a:cubicBezTo>
                  <a:cubicBezTo>
                    <a:pt x="2893507" y="812439"/>
                    <a:pt x="2893165" y="812283"/>
                    <a:pt x="2905125" y="809625"/>
                  </a:cubicBezTo>
                  <a:cubicBezTo>
                    <a:pt x="2910393" y="808454"/>
                    <a:pt x="2915765" y="807759"/>
                    <a:pt x="2921000" y="806450"/>
                  </a:cubicBezTo>
                  <a:cubicBezTo>
                    <a:pt x="2924247" y="805638"/>
                    <a:pt x="2927307" y="804194"/>
                    <a:pt x="2930525" y="803275"/>
                  </a:cubicBezTo>
                  <a:cubicBezTo>
                    <a:pt x="2934721" y="802076"/>
                    <a:pt x="2939139" y="801632"/>
                    <a:pt x="2943225" y="800100"/>
                  </a:cubicBezTo>
                  <a:cubicBezTo>
                    <a:pt x="2947657" y="798438"/>
                    <a:pt x="2951575" y="795614"/>
                    <a:pt x="2955925" y="793750"/>
                  </a:cubicBezTo>
                  <a:cubicBezTo>
                    <a:pt x="2959001" y="792432"/>
                    <a:pt x="2962275" y="791633"/>
                    <a:pt x="2965450" y="790575"/>
                  </a:cubicBezTo>
                  <a:cubicBezTo>
                    <a:pt x="2968625" y="787400"/>
                    <a:pt x="2971526" y="783925"/>
                    <a:pt x="2974975" y="781050"/>
                  </a:cubicBezTo>
                  <a:cubicBezTo>
                    <a:pt x="2977906" y="778607"/>
                    <a:pt x="2982116" y="777680"/>
                    <a:pt x="2984500" y="774700"/>
                  </a:cubicBezTo>
                  <a:cubicBezTo>
                    <a:pt x="2986591" y="772087"/>
                    <a:pt x="2985819" y="767960"/>
                    <a:pt x="2987675" y="765175"/>
                  </a:cubicBezTo>
                  <a:cubicBezTo>
                    <a:pt x="2990166" y="761439"/>
                    <a:pt x="2994025" y="758825"/>
                    <a:pt x="2997200" y="755650"/>
                  </a:cubicBezTo>
                  <a:cubicBezTo>
                    <a:pt x="3000931" y="710880"/>
                    <a:pt x="2996345" y="729640"/>
                    <a:pt x="3006725" y="698500"/>
                  </a:cubicBezTo>
                  <a:cubicBezTo>
                    <a:pt x="3007932" y="694880"/>
                    <a:pt x="3010203" y="691488"/>
                    <a:pt x="3013075" y="688975"/>
                  </a:cubicBezTo>
                  <a:cubicBezTo>
                    <a:pt x="3018818" y="683949"/>
                    <a:pt x="3024885" y="678688"/>
                    <a:pt x="3032125" y="676275"/>
                  </a:cubicBezTo>
                  <a:cubicBezTo>
                    <a:pt x="3042654" y="672765"/>
                    <a:pt x="3038303" y="673100"/>
                    <a:pt x="3044825" y="673100"/>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48" name="Freeform 23"/>
            <p:cNvSpPr/>
            <p:nvPr>
              <p:custDataLst>
                <p:tags r:id="rId8"/>
              </p:custDataLst>
            </p:nvPr>
          </p:nvSpPr>
          <p:spPr bwMode="gray">
            <a:xfrm>
              <a:off x="3997523" y="2788001"/>
              <a:ext cx="1957509" cy="786853"/>
            </a:xfrm>
            <a:custGeom>
              <a:avLst/>
              <a:gdLst>
                <a:gd name="connsiteX0" fmla="*/ 0 w 2130425"/>
                <a:gd name="connsiteY0" fmla="*/ 0 h 882650"/>
                <a:gd name="connsiteX1" fmla="*/ 0 w 2130425"/>
                <a:gd name="connsiteY1" fmla="*/ 0 h 882650"/>
                <a:gd name="connsiteX2" fmla="*/ 25400 w 2130425"/>
                <a:gd name="connsiteY2" fmla="*/ 15875 h 882650"/>
                <a:gd name="connsiteX3" fmla="*/ 31750 w 2130425"/>
                <a:gd name="connsiteY3" fmla="*/ 25400 h 882650"/>
                <a:gd name="connsiteX4" fmla="*/ 50800 w 2130425"/>
                <a:gd name="connsiteY4" fmla="*/ 31750 h 882650"/>
                <a:gd name="connsiteX5" fmla="*/ 63500 w 2130425"/>
                <a:gd name="connsiteY5" fmla="*/ 38100 h 882650"/>
                <a:gd name="connsiteX6" fmla="*/ 82550 w 2130425"/>
                <a:gd name="connsiteY6" fmla="*/ 44450 h 882650"/>
                <a:gd name="connsiteX7" fmla="*/ 111125 w 2130425"/>
                <a:gd name="connsiteY7" fmla="*/ 69850 h 882650"/>
                <a:gd name="connsiteX8" fmla="*/ 123825 w 2130425"/>
                <a:gd name="connsiteY8" fmla="*/ 88900 h 882650"/>
                <a:gd name="connsiteX9" fmla="*/ 127000 w 2130425"/>
                <a:gd name="connsiteY9" fmla="*/ 101600 h 882650"/>
                <a:gd name="connsiteX10" fmla="*/ 130175 w 2130425"/>
                <a:gd name="connsiteY10" fmla="*/ 111125 h 882650"/>
                <a:gd name="connsiteX11" fmla="*/ 133350 w 2130425"/>
                <a:gd name="connsiteY11" fmla="*/ 161925 h 882650"/>
                <a:gd name="connsiteX12" fmla="*/ 130175 w 2130425"/>
                <a:gd name="connsiteY12" fmla="*/ 196850 h 882650"/>
                <a:gd name="connsiteX13" fmla="*/ 123825 w 2130425"/>
                <a:gd name="connsiteY13" fmla="*/ 215900 h 882650"/>
                <a:gd name="connsiteX14" fmla="*/ 127000 w 2130425"/>
                <a:gd name="connsiteY14" fmla="*/ 234950 h 882650"/>
                <a:gd name="connsiteX15" fmla="*/ 136525 w 2130425"/>
                <a:gd name="connsiteY15" fmla="*/ 257175 h 882650"/>
                <a:gd name="connsiteX16" fmla="*/ 142875 w 2130425"/>
                <a:gd name="connsiteY16" fmla="*/ 285750 h 882650"/>
                <a:gd name="connsiteX17" fmla="*/ 149225 w 2130425"/>
                <a:gd name="connsiteY17" fmla="*/ 295275 h 882650"/>
                <a:gd name="connsiteX18" fmla="*/ 165100 w 2130425"/>
                <a:gd name="connsiteY18" fmla="*/ 323850 h 882650"/>
                <a:gd name="connsiteX19" fmla="*/ 171450 w 2130425"/>
                <a:gd name="connsiteY19" fmla="*/ 342900 h 882650"/>
                <a:gd name="connsiteX20" fmla="*/ 190500 w 2130425"/>
                <a:gd name="connsiteY20" fmla="*/ 361950 h 882650"/>
                <a:gd name="connsiteX21" fmla="*/ 209550 w 2130425"/>
                <a:gd name="connsiteY21" fmla="*/ 374650 h 882650"/>
                <a:gd name="connsiteX22" fmla="*/ 219075 w 2130425"/>
                <a:gd name="connsiteY22" fmla="*/ 381000 h 882650"/>
                <a:gd name="connsiteX23" fmla="*/ 228600 w 2130425"/>
                <a:gd name="connsiteY23" fmla="*/ 384175 h 882650"/>
                <a:gd name="connsiteX24" fmla="*/ 260350 w 2130425"/>
                <a:gd name="connsiteY24" fmla="*/ 393700 h 882650"/>
                <a:gd name="connsiteX25" fmla="*/ 266700 w 2130425"/>
                <a:gd name="connsiteY25" fmla="*/ 403225 h 882650"/>
                <a:gd name="connsiteX26" fmla="*/ 295275 w 2130425"/>
                <a:gd name="connsiteY26" fmla="*/ 425450 h 882650"/>
                <a:gd name="connsiteX27" fmla="*/ 311150 w 2130425"/>
                <a:gd name="connsiteY27" fmla="*/ 447675 h 882650"/>
                <a:gd name="connsiteX28" fmla="*/ 314325 w 2130425"/>
                <a:gd name="connsiteY28" fmla="*/ 457200 h 882650"/>
                <a:gd name="connsiteX29" fmla="*/ 323850 w 2130425"/>
                <a:gd name="connsiteY29" fmla="*/ 463550 h 882650"/>
                <a:gd name="connsiteX30" fmla="*/ 339725 w 2130425"/>
                <a:gd name="connsiteY30" fmla="*/ 482600 h 882650"/>
                <a:gd name="connsiteX31" fmla="*/ 342900 w 2130425"/>
                <a:gd name="connsiteY31" fmla="*/ 492125 h 882650"/>
                <a:gd name="connsiteX32" fmla="*/ 361950 w 2130425"/>
                <a:gd name="connsiteY32" fmla="*/ 498475 h 882650"/>
                <a:gd name="connsiteX33" fmla="*/ 438150 w 2130425"/>
                <a:gd name="connsiteY33" fmla="*/ 508000 h 882650"/>
                <a:gd name="connsiteX34" fmla="*/ 447675 w 2130425"/>
                <a:gd name="connsiteY34" fmla="*/ 511175 h 882650"/>
                <a:gd name="connsiteX35" fmla="*/ 466725 w 2130425"/>
                <a:gd name="connsiteY35" fmla="*/ 523875 h 882650"/>
                <a:gd name="connsiteX36" fmla="*/ 479425 w 2130425"/>
                <a:gd name="connsiteY36" fmla="*/ 533400 h 882650"/>
                <a:gd name="connsiteX37" fmla="*/ 488950 w 2130425"/>
                <a:gd name="connsiteY37" fmla="*/ 536575 h 882650"/>
                <a:gd name="connsiteX38" fmla="*/ 498475 w 2130425"/>
                <a:gd name="connsiteY38" fmla="*/ 542925 h 882650"/>
                <a:gd name="connsiteX39" fmla="*/ 514350 w 2130425"/>
                <a:gd name="connsiteY39" fmla="*/ 558800 h 882650"/>
                <a:gd name="connsiteX40" fmla="*/ 539750 w 2130425"/>
                <a:gd name="connsiteY40" fmla="*/ 587375 h 882650"/>
                <a:gd name="connsiteX41" fmla="*/ 558800 w 2130425"/>
                <a:gd name="connsiteY41" fmla="*/ 600075 h 882650"/>
                <a:gd name="connsiteX42" fmla="*/ 568325 w 2130425"/>
                <a:gd name="connsiteY42" fmla="*/ 603250 h 882650"/>
                <a:gd name="connsiteX43" fmla="*/ 577850 w 2130425"/>
                <a:gd name="connsiteY43" fmla="*/ 609600 h 882650"/>
                <a:gd name="connsiteX44" fmla="*/ 587375 w 2130425"/>
                <a:gd name="connsiteY44" fmla="*/ 612775 h 882650"/>
                <a:gd name="connsiteX45" fmla="*/ 647700 w 2130425"/>
                <a:gd name="connsiteY45" fmla="*/ 619125 h 882650"/>
                <a:gd name="connsiteX46" fmla="*/ 676275 w 2130425"/>
                <a:gd name="connsiteY46" fmla="*/ 635000 h 882650"/>
                <a:gd name="connsiteX47" fmla="*/ 685800 w 2130425"/>
                <a:gd name="connsiteY47" fmla="*/ 641350 h 882650"/>
                <a:gd name="connsiteX48" fmla="*/ 701675 w 2130425"/>
                <a:gd name="connsiteY48" fmla="*/ 654050 h 882650"/>
                <a:gd name="connsiteX49" fmla="*/ 711200 w 2130425"/>
                <a:gd name="connsiteY49" fmla="*/ 663575 h 882650"/>
                <a:gd name="connsiteX50" fmla="*/ 733425 w 2130425"/>
                <a:gd name="connsiteY50" fmla="*/ 679450 h 882650"/>
                <a:gd name="connsiteX51" fmla="*/ 742950 w 2130425"/>
                <a:gd name="connsiteY51" fmla="*/ 682625 h 882650"/>
                <a:gd name="connsiteX52" fmla="*/ 762000 w 2130425"/>
                <a:gd name="connsiteY52" fmla="*/ 695325 h 882650"/>
                <a:gd name="connsiteX53" fmla="*/ 781050 w 2130425"/>
                <a:gd name="connsiteY53" fmla="*/ 701675 h 882650"/>
                <a:gd name="connsiteX54" fmla="*/ 787400 w 2130425"/>
                <a:gd name="connsiteY54" fmla="*/ 711200 h 882650"/>
                <a:gd name="connsiteX55" fmla="*/ 815975 w 2130425"/>
                <a:gd name="connsiteY55" fmla="*/ 723900 h 882650"/>
                <a:gd name="connsiteX56" fmla="*/ 825500 w 2130425"/>
                <a:gd name="connsiteY56" fmla="*/ 727075 h 882650"/>
                <a:gd name="connsiteX57" fmla="*/ 835025 w 2130425"/>
                <a:gd name="connsiteY57" fmla="*/ 730250 h 882650"/>
                <a:gd name="connsiteX58" fmla="*/ 844550 w 2130425"/>
                <a:gd name="connsiteY58" fmla="*/ 736600 h 882650"/>
                <a:gd name="connsiteX59" fmla="*/ 854075 w 2130425"/>
                <a:gd name="connsiteY59" fmla="*/ 739775 h 882650"/>
                <a:gd name="connsiteX60" fmla="*/ 863600 w 2130425"/>
                <a:gd name="connsiteY60" fmla="*/ 749300 h 882650"/>
                <a:gd name="connsiteX61" fmla="*/ 882650 w 2130425"/>
                <a:gd name="connsiteY61" fmla="*/ 755650 h 882650"/>
                <a:gd name="connsiteX62" fmla="*/ 901700 w 2130425"/>
                <a:gd name="connsiteY62" fmla="*/ 762000 h 882650"/>
                <a:gd name="connsiteX63" fmla="*/ 927100 w 2130425"/>
                <a:gd name="connsiteY63" fmla="*/ 765175 h 882650"/>
                <a:gd name="connsiteX64" fmla="*/ 977900 w 2130425"/>
                <a:gd name="connsiteY64" fmla="*/ 774700 h 882650"/>
                <a:gd name="connsiteX65" fmla="*/ 1171575 w 2130425"/>
                <a:gd name="connsiteY65" fmla="*/ 777875 h 882650"/>
                <a:gd name="connsiteX66" fmla="*/ 1190625 w 2130425"/>
                <a:gd name="connsiteY66" fmla="*/ 784225 h 882650"/>
                <a:gd name="connsiteX67" fmla="*/ 1203325 w 2130425"/>
                <a:gd name="connsiteY67" fmla="*/ 787400 h 882650"/>
                <a:gd name="connsiteX68" fmla="*/ 1222375 w 2130425"/>
                <a:gd name="connsiteY68" fmla="*/ 793750 h 882650"/>
                <a:gd name="connsiteX69" fmla="*/ 1273175 w 2130425"/>
                <a:gd name="connsiteY69" fmla="*/ 790575 h 882650"/>
                <a:gd name="connsiteX70" fmla="*/ 1285875 w 2130425"/>
                <a:gd name="connsiteY70" fmla="*/ 787400 h 882650"/>
                <a:gd name="connsiteX71" fmla="*/ 1304925 w 2130425"/>
                <a:gd name="connsiteY71" fmla="*/ 774700 h 882650"/>
                <a:gd name="connsiteX72" fmla="*/ 1311275 w 2130425"/>
                <a:gd name="connsiteY72" fmla="*/ 765175 h 882650"/>
                <a:gd name="connsiteX73" fmla="*/ 1314450 w 2130425"/>
                <a:gd name="connsiteY73" fmla="*/ 755650 h 882650"/>
                <a:gd name="connsiteX74" fmla="*/ 1323975 w 2130425"/>
                <a:gd name="connsiteY74" fmla="*/ 752475 h 882650"/>
                <a:gd name="connsiteX75" fmla="*/ 1330325 w 2130425"/>
                <a:gd name="connsiteY75" fmla="*/ 742950 h 882650"/>
                <a:gd name="connsiteX76" fmla="*/ 1339850 w 2130425"/>
                <a:gd name="connsiteY76" fmla="*/ 736600 h 882650"/>
                <a:gd name="connsiteX77" fmla="*/ 1343025 w 2130425"/>
                <a:gd name="connsiteY77" fmla="*/ 723900 h 882650"/>
                <a:gd name="connsiteX78" fmla="*/ 1362075 w 2130425"/>
                <a:gd name="connsiteY78" fmla="*/ 711200 h 882650"/>
                <a:gd name="connsiteX79" fmla="*/ 1381125 w 2130425"/>
                <a:gd name="connsiteY79" fmla="*/ 682625 h 882650"/>
                <a:gd name="connsiteX80" fmla="*/ 1397000 w 2130425"/>
                <a:gd name="connsiteY80" fmla="*/ 663575 h 882650"/>
                <a:gd name="connsiteX81" fmla="*/ 1416050 w 2130425"/>
                <a:gd name="connsiteY81" fmla="*/ 657225 h 882650"/>
                <a:gd name="connsiteX82" fmla="*/ 1476375 w 2130425"/>
                <a:gd name="connsiteY82" fmla="*/ 660400 h 882650"/>
                <a:gd name="connsiteX83" fmla="*/ 1524000 w 2130425"/>
                <a:gd name="connsiteY83" fmla="*/ 663575 h 882650"/>
                <a:gd name="connsiteX84" fmla="*/ 1543050 w 2130425"/>
                <a:gd name="connsiteY84" fmla="*/ 669925 h 882650"/>
                <a:gd name="connsiteX85" fmla="*/ 1552575 w 2130425"/>
                <a:gd name="connsiteY85" fmla="*/ 676275 h 882650"/>
                <a:gd name="connsiteX86" fmla="*/ 1562100 w 2130425"/>
                <a:gd name="connsiteY86" fmla="*/ 679450 h 882650"/>
                <a:gd name="connsiteX87" fmla="*/ 1597025 w 2130425"/>
                <a:gd name="connsiteY87" fmla="*/ 688975 h 882650"/>
                <a:gd name="connsiteX88" fmla="*/ 1606550 w 2130425"/>
                <a:gd name="connsiteY88" fmla="*/ 695325 h 882650"/>
                <a:gd name="connsiteX89" fmla="*/ 1625600 w 2130425"/>
                <a:gd name="connsiteY89" fmla="*/ 701675 h 882650"/>
                <a:gd name="connsiteX90" fmla="*/ 1631950 w 2130425"/>
                <a:gd name="connsiteY90" fmla="*/ 711200 h 882650"/>
                <a:gd name="connsiteX91" fmla="*/ 1654175 w 2130425"/>
                <a:gd name="connsiteY91" fmla="*/ 720725 h 882650"/>
                <a:gd name="connsiteX92" fmla="*/ 1682750 w 2130425"/>
                <a:gd name="connsiteY92" fmla="*/ 717550 h 882650"/>
                <a:gd name="connsiteX93" fmla="*/ 1692275 w 2130425"/>
                <a:gd name="connsiteY93" fmla="*/ 708025 h 882650"/>
                <a:gd name="connsiteX94" fmla="*/ 1701800 w 2130425"/>
                <a:gd name="connsiteY94" fmla="*/ 704850 h 882650"/>
                <a:gd name="connsiteX95" fmla="*/ 1711325 w 2130425"/>
                <a:gd name="connsiteY95" fmla="*/ 698500 h 882650"/>
                <a:gd name="connsiteX96" fmla="*/ 1787525 w 2130425"/>
                <a:gd name="connsiteY96" fmla="*/ 698500 h 882650"/>
                <a:gd name="connsiteX97" fmla="*/ 1819275 w 2130425"/>
                <a:gd name="connsiteY97" fmla="*/ 717550 h 882650"/>
                <a:gd name="connsiteX98" fmla="*/ 1847850 w 2130425"/>
                <a:gd name="connsiteY98" fmla="*/ 739775 h 882650"/>
                <a:gd name="connsiteX99" fmla="*/ 1879600 w 2130425"/>
                <a:gd name="connsiteY99" fmla="*/ 746125 h 882650"/>
                <a:gd name="connsiteX100" fmla="*/ 1898650 w 2130425"/>
                <a:gd name="connsiteY100" fmla="*/ 752475 h 882650"/>
                <a:gd name="connsiteX101" fmla="*/ 1908175 w 2130425"/>
                <a:gd name="connsiteY101" fmla="*/ 758825 h 882650"/>
                <a:gd name="connsiteX102" fmla="*/ 1943100 w 2130425"/>
                <a:gd name="connsiteY102" fmla="*/ 768350 h 882650"/>
                <a:gd name="connsiteX103" fmla="*/ 1974850 w 2130425"/>
                <a:gd name="connsiteY103" fmla="*/ 774700 h 882650"/>
                <a:gd name="connsiteX104" fmla="*/ 1984375 w 2130425"/>
                <a:gd name="connsiteY104" fmla="*/ 777875 h 882650"/>
                <a:gd name="connsiteX105" fmla="*/ 1990725 w 2130425"/>
                <a:gd name="connsiteY105" fmla="*/ 787400 h 882650"/>
                <a:gd name="connsiteX106" fmla="*/ 2009775 w 2130425"/>
                <a:gd name="connsiteY106" fmla="*/ 800100 h 882650"/>
                <a:gd name="connsiteX107" fmla="*/ 2028825 w 2130425"/>
                <a:gd name="connsiteY107" fmla="*/ 819150 h 882650"/>
                <a:gd name="connsiteX108" fmla="*/ 2044700 w 2130425"/>
                <a:gd name="connsiteY108" fmla="*/ 835025 h 882650"/>
                <a:gd name="connsiteX109" fmla="*/ 2060575 w 2130425"/>
                <a:gd name="connsiteY109" fmla="*/ 860425 h 882650"/>
                <a:gd name="connsiteX110" fmla="*/ 2063750 w 2130425"/>
                <a:gd name="connsiteY110" fmla="*/ 869950 h 882650"/>
                <a:gd name="connsiteX111" fmla="*/ 2098675 w 2130425"/>
                <a:gd name="connsiteY111" fmla="*/ 879475 h 882650"/>
                <a:gd name="connsiteX112" fmla="*/ 2108200 w 2130425"/>
                <a:gd name="connsiteY112" fmla="*/ 882650 h 882650"/>
                <a:gd name="connsiteX113" fmla="*/ 2130425 w 2130425"/>
                <a:gd name="connsiteY113" fmla="*/ 879475 h 88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2130425" h="882650">
                  <a:moveTo>
                    <a:pt x="0" y="0"/>
                  </a:moveTo>
                  <a:lnTo>
                    <a:pt x="0" y="0"/>
                  </a:lnTo>
                  <a:cubicBezTo>
                    <a:pt x="8467" y="5292"/>
                    <a:pt x="17604" y="9638"/>
                    <a:pt x="25400" y="15875"/>
                  </a:cubicBezTo>
                  <a:cubicBezTo>
                    <a:pt x="28380" y="18259"/>
                    <a:pt x="28514" y="23378"/>
                    <a:pt x="31750" y="25400"/>
                  </a:cubicBezTo>
                  <a:cubicBezTo>
                    <a:pt x="37426" y="28948"/>
                    <a:pt x="44450" y="29633"/>
                    <a:pt x="50800" y="31750"/>
                  </a:cubicBezTo>
                  <a:cubicBezTo>
                    <a:pt x="55290" y="33247"/>
                    <a:pt x="59106" y="36342"/>
                    <a:pt x="63500" y="38100"/>
                  </a:cubicBezTo>
                  <a:cubicBezTo>
                    <a:pt x="69715" y="40586"/>
                    <a:pt x="82550" y="44450"/>
                    <a:pt x="82550" y="44450"/>
                  </a:cubicBezTo>
                  <a:cubicBezTo>
                    <a:pt x="99547" y="55781"/>
                    <a:pt x="89377" y="48102"/>
                    <a:pt x="111125" y="69850"/>
                  </a:cubicBezTo>
                  <a:cubicBezTo>
                    <a:pt x="116521" y="75246"/>
                    <a:pt x="123825" y="88900"/>
                    <a:pt x="123825" y="88900"/>
                  </a:cubicBezTo>
                  <a:cubicBezTo>
                    <a:pt x="124883" y="93133"/>
                    <a:pt x="125801" y="97404"/>
                    <a:pt x="127000" y="101600"/>
                  </a:cubicBezTo>
                  <a:cubicBezTo>
                    <a:pt x="127919" y="104818"/>
                    <a:pt x="129825" y="107797"/>
                    <a:pt x="130175" y="111125"/>
                  </a:cubicBezTo>
                  <a:cubicBezTo>
                    <a:pt x="131951" y="127998"/>
                    <a:pt x="132292" y="144992"/>
                    <a:pt x="133350" y="161925"/>
                  </a:cubicBezTo>
                  <a:cubicBezTo>
                    <a:pt x="132292" y="173567"/>
                    <a:pt x="132206" y="185338"/>
                    <a:pt x="130175" y="196850"/>
                  </a:cubicBezTo>
                  <a:cubicBezTo>
                    <a:pt x="129012" y="203442"/>
                    <a:pt x="123825" y="215900"/>
                    <a:pt x="123825" y="215900"/>
                  </a:cubicBezTo>
                  <a:cubicBezTo>
                    <a:pt x="124883" y="222250"/>
                    <a:pt x="125150" y="228784"/>
                    <a:pt x="127000" y="234950"/>
                  </a:cubicBezTo>
                  <a:cubicBezTo>
                    <a:pt x="135320" y="262683"/>
                    <a:pt x="131519" y="234647"/>
                    <a:pt x="136525" y="257175"/>
                  </a:cubicBezTo>
                  <a:cubicBezTo>
                    <a:pt x="138476" y="265955"/>
                    <a:pt x="138587" y="277173"/>
                    <a:pt x="142875" y="285750"/>
                  </a:cubicBezTo>
                  <a:cubicBezTo>
                    <a:pt x="144582" y="289163"/>
                    <a:pt x="147675" y="291788"/>
                    <a:pt x="149225" y="295275"/>
                  </a:cubicBezTo>
                  <a:cubicBezTo>
                    <a:pt x="161657" y="323247"/>
                    <a:pt x="147715" y="306465"/>
                    <a:pt x="165100" y="323850"/>
                  </a:cubicBezTo>
                  <a:lnTo>
                    <a:pt x="171450" y="342900"/>
                  </a:lnTo>
                  <a:cubicBezTo>
                    <a:pt x="174290" y="351419"/>
                    <a:pt x="184150" y="355600"/>
                    <a:pt x="190500" y="361950"/>
                  </a:cubicBezTo>
                  <a:cubicBezTo>
                    <a:pt x="202392" y="373842"/>
                    <a:pt x="195765" y="370055"/>
                    <a:pt x="209550" y="374650"/>
                  </a:cubicBezTo>
                  <a:cubicBezTo>
                    <a:pt x="212725" y="376767"/>
                    <a:pt x="215662" y="379293"/>
                    <a:pt x="219075" y="381000"/>
                  </a:cubicBezTo>
                  <a:cubicBezTo>
                    <a:pt x="222068" y="382497"/>
                    <a:pt x="225394" y="383213"/>
                    <a:pt x="228600" y="384175"/>
                  </a:cubicBezTo>
                  <a:cubicBezTo>
                    <a:pt x="264947" y="395079"/>
                    <a:pt x="238779" y="386510"/>
                    <a:pt x="260350" y="393700"/>
                  </a:cubicBezTo>
                  <a:cubicBezTo>
                    <a:pt x="262467" y="396875"/>
                    <a:pt x="263828" y="400712"/>
                    <a:pt x="266700" y="403225"/>
                  </a:cubicBezTo>
                  <a:cubicBezTo>
                    <a:pt x="291269" y="424723"/>
                    <a:pt x="279304" y="406818"/>
                    <a:pt x="295275" y="425450"/>
                  </a:cubicBezTo>
                  <a:cubicBezTo>
                    <a:pt x="297001" y="427463"/>
                    <a:pt x="309140" y="443655"/>
                    <a:pt x="311150" y="447675"/>
                  </a:cubicBezTo>
                  <a:cubicBezTo>
                    <a:pt x="312647" y="450668"/>
                    <a:pt x="312234" y="454587"/>
                    <a:pt x="314325" y="457200"/>
                  </a:cubicBezTo>
                  <a:cubicBezTo>
                    <a:pt x="316709" y="460180"/>
                    <a:pt x="320675" y="461433"/>
                    <a:pt x="323850" y="463550"/>
                  </a:cubicBezTo>
                  <a:cubicBezTo>
                    <a:pt x="344895" y="505639"/>
                    <a:pt x="315791" y="452682"/>
                    <a:pt x="339725" y="482600"/>
                  </a:cubicBezTo>
                  <a:cubicBezTo>
                    <a:pt x="341816" y="485213"/>
                    <a:pt x="340177" y="490180"/>
                    <a:pt x="342900" y="492125"/>
                  </a:cubicBezTo>
                  <a:cubicBezTo>
                    <a:pt x="348347" y="496016"/>
                    <a:pt x="355386" y="497162"/>
                    <a:pt x="361950" y="498475"/>
                  </a:cubicBezTo>
                  <a:cubicBezTo>
                    <a:pt x="408266" y="507738"/>
                    <a:pt x="382935" y="504056"/>
                    <a:pt x="438150" y="508000"/>
                  </a:cubicBezTo>
                  <a:cubicBezTo>
                    <a:pt x="441325" y="509058"/>
                    <a:pt x="444749" y="509550"/>
                    <a:pt x="447675" y="511175"/>
                  </a:cubicBezTo>
                  <a:cubicBezTo>
                    <a:pt x="454346" y="514881"/>
                    <a:pt x="460620" y="519296"/>
                    <a:pt x="466725" y="523875"/>
                  </a:cubicBezTo>
                  <a:cubicBezTo>
                    <a:pt x="470958" y="527050"/>
                    <a:pt x="474831" y="530775"/>
                    <a:pt x="479425" y="533400"/>
                  </a:cubicBezTo>
                  <a:cubicBezTo>
                    <a:pt x="482331" y="535060"/>
                    <a:pt x="485775" y="535517"/>
                    <a:pt x="488950" y="536575"/>
                  </a:cubicBezTo>
                  <a:cubicBezTo>
                    <a:pt x="492125" y="538692"/>
                    <a:pt x="495777" y="540227"/>
                    <a:pt x="498475" y="542925"/>
                  </a:cubicBezTo>
                  <a:cubicBezTo>
                    <a:pt x="519642" y="564092"/>
                    <a:pt x="488950" y="541867"/>
                    <a:pt x="514350" y="558800"/>
                  </a:cubicBezTo>
                  <a:cubicBezTo>
                    <a:pt x="521985" y="570252"/>
                    <a:pt x="526701" y="578676"/>
                    <a:pt x="539750" y="587375"/>
                  </a:cubicBezTo>
                  <a:lnTo>
                    <a:pt x="558800" y="600075"/>
                  </a:lnTo>
                  <a:cubicBezTo>
                    <a:pt x="561585" y="601931"/>
                    <a:pt x="565150" y="602192"/>
                    <a:pt x="568325" y="603250"/>
                  </a:cubicBezTo>
                  <a:cubicBezTo>
                    <a:pt x="571500" y="605367"/>
                    <a:pt x="574437" y="607893"/>
                    <a:pt x="577850" y="609600"/>
                  </a:cubicBezTo>
                  <a:cubicBezTo>
                    <a:pt x="580843" y="611097"/>
                    <a:pt x="584128" y="611963"/>
                    <a:pt x="587375" y="612775"/>
                  </a:cubicBezTo>
                  <a:cubicBezTo>
                    <a:pt x="609292" y="618254"/>
                    <a:pt x="621329" y="617241"/>
                    <a:pt x="647700" y="619125"/>
                  </a:cubicBezTo>
                  <a:cubicBezTo>
                    <a:pt x="664465" y="624713"/>
                    <a:pt x="654440" y="620444"/>
                    <a:pt x="676275" y="635000"/>
                  </a:cubicBezTo>
                  <a:lnTo>
                    <a:pt x="685800" y="641350"/>
                  </a:lnTo>
                  <a:cubicBezTo>
                    <a:pt x="700002" y="662652"/>
                    <a:pt x="683272" y="641781"/>
                    <a:pt x="701675" y="654050"/>
                  </a:cubicBezTo>
                  <a:cubicBezTo>
                    <a:pt x="705411" y="656541"/>
                    <a:pt x="707791" y="660653"/>
                    <a:pt x="711200" y="663575"/>
                  </a:cubicBezTo>
                  <a:cubicBezTo>
                    <a:pt x="713213" y="665301"/>
                    <a:pt x="729405" y="677440"/>
                    <a:pt x="733425" y="679450"/>
                  </a:cubicBezTo>
                  <a:cubicBezTo>
                    <a:pt x="736418" y="680947"/>
                    <a:pt x="739775" y="681567"/>
                    <a:pt x="742950" y="682625"/>
                  </a:cubicBezTo>
                  <a:lnTo>
                    <a:pt x="762000" y="695325"/>
                  </a:lnTo>
                  <a:cubicBezTo>
                    <a:pt x="767569" y="699038"/>
                    <a:pt x="781050" y="701675"/>
                    <a:pt x="781050" y="701675"/>
                  </a:cubicBezTo>
                  <a:cubicBezTo>
                    <a:pt x="783167" y="704850"/>
                    <a:pt x="784702" y="708502"/>
                    <a:pt x="787400" y="711200"/>
                  </a:cubicBezTo>
                  <a:cubicBezTo>
                    <a:pt x="794947" y="718747"/>
                    <a:pt x="806544" y="720756"/>
                    <a:pt x="815975" y="723900"/>
                  </a:cubicBezTo>
                  <a:lnTo>
                    <a:pt x="825500" y="727075"/>
                  </a:lnTo>
                  <a:lnTo>
                    <a:pt x="835025" y="730250"/>
                  </a:lnTo>
                  <a:cubicBezTo>
                    <a:pt x="838200" y="732367"/>
                    <a:pt x="841137" y="734893"/>
                    <a:pt x="844550" y="736600"/>
                  </a:cubicBezTo>
                  <a:cubicBezTo>
                    <a:pt x="847543" y="738097"/>
                    <a:pt x="851290" y="737919"/>
                    <a:pt x="854075" y="739775"/>
                  </a:cubicBezTo>
                  <a:cubicBezTo>
                    <a:pt x="857811" y="742266"/>
                    <a:pt x="859675" y="747119"/>
                    <a:pt x="863600" y="749300"/>
                  </a:cubicBezTo>
                  <a:cubicBezTo>
                    <a:pt x="869451" y="752551"/>
                    <a:pt x="876300" y="753533"/>
                    <a:pt x="882650" y="755650"/>
                  </a:cubicBezTo>
                  <a:lnTo>
                    <a:pt x="901700" y="762000"/>
                  </a:lnTo>
                  <a:cubicBezTo>
                    <a:pt x="909795" y="764698"/>
                    <a:pt x="918633" y="764117"/>
                    <a:pt x="927100" y="765175"/>
                  </a:cubicBezTo>
                  <a:cubicBezTo>
                    <a:pt x="944408" y="770944"/>
                    <a:pt x="958877" y="774156"/>
                    <a:pt x="977900" y="774700"/>
                  </a:cubicBezTo>
                  <a:cubicBezTo>
                    <a:pt x="1042441" y="776544"/>
                    <a:pt x="1107017" y="776817"/>
                    <a:pt x="1171575" y="777875"/>
                  </a:cubicBezTo>
                  <a:cubicBezTo>
                    <a:pt x="1177925" y="779992"/>
                    <a:pt x="1184131" y="782602"/>
                    <a:pt x="1190625" y="784225"/>
                  </a:cubicBezTo>
                  <a:cubicBezTo>
                    <a:pt x="1194858" y="785283"/>
                    <a:pt x="1199145" y="786146"/>
                    <a:pt x="1203325" y="787400"/>
                  </a:cubicBezTo>
                  <a:cubicBezTo>
                    <a:pt x="1209736" y="789323"/>
                    <a:pt x="1222375" y="793750"/>
                    <a:pt x="1222375" y="793750"/>
                  </a:cubicBezTo>
                  <a:cubicBezTo>
                    <a:pt x="1239308" y="792692"/>
                    <a:pt x="1256293" y="792263"/>
                    <a:pt x="1273175" y="790575"/>
                  </a:cubicBezTo>
                  <a:cubicBezTo>
                    <a:pt x="1277517" y="790141"/>
                    <a:pt x="1281972" y="789351"/>
                    <a:pt x="1285875" y="787400"/>
                  </a:cubicBezTo>
                  <a:cubicBezTo>
                    <a:pt x="1292701" y="783987"/>
                    <a:pt x="1304925" y="774700"/>
                    <a:pt x="1304925" y="774700"/>
                  </a:cubicBezTo>
                  <a:cubicBezTo>
                    <a:pt x="1307042" y="771525"/>
                    <a:pt x="1309568" y="768588"/>
                    <a:pt x="1311275" y="765175"/>
                  </a:cubicBezTo>
                  <a:cubicBezTo>
                    <a:pt x="1312772" y="762182"/>
                    <a:pt x="1312083" y="758017"/>
                    <a:pt x="1314450" y="755650"/>
                  </a:cubicBezTo>
                  <a:cubicBezTo>
                    <a:pt x="1316817" y="753283"/>
                    <a:pt x="1320800" y="753533"/>
                    <a:pt x="1323975" y="752475"/>
                  </a:cubicBezTo>
                  <a:cubicBezTo>
                    <a:pt x="1326092" y="749300"/>
                    <a:pt x="1327627" y="745648"/>
                    <a:pt x="1330325" y="742950"/>
                  </a:cubicBezTo>
                  <a:cubicBezTo>
                    <a:pt x="1333023" y="740252"/>
                    <a:pt x="1337733" y="739775"/>
                    <a:pt x="1339850" y="736600"/>
                  </a:cubicBezTo>
                  <a:cubicBezTo>
                    <a:pt x="1342271" y="732969"/>
                    <a:pt x="1340152" y="727184"/>
                    <a:pt x="1343025" y="723900"/>
                  </a:cubicBezTo>
                  <a:cubicBezTo>
                    <a:pt x="1348051" y="718157"/>
                    <a:pt x="1362075" y="711200"/>
                    <a:pt x="1362075" y="711200"/>
                  </a:cubicBezTo>
                  <a:lnTo>
                    <a:pt x="1381125" y="682625"/>
                  </a:lnTo>
                  <a:cubicBezTo>
                    <a:pt x="1385077" y="676697"/>
                    <a:pt x="1390529" y="667170"/>
                    <a:pt x="1397000" y="663575"/>
                  </a:cubicBezTo>
                  <a:cubicBezTo>
                    <a:pt x="1402851" y="660324"/>
                    <a:pt x="1416050" y="657225"/>
                    <a:pt x="1416050" y="657225"/>
                  </a:cubicBezTo>
                  <a:lnTo>
                    <a:pt x="1476375" y="660400"/>
                  </a:lnTo>
                  <a:cubicBezTo>
                    <a:pt x="1492258" y="661334"/>
                    <a:pt x="1508250" y="661325"/>
                    <a:pt x="1524000" y="663575"/>
                  </a:cubicBezTo>
                  <a:cubicBezTo>
                    <a:pt x="1530626" y="664522"/>
                    <a:pt x="1543050" y="669925"/>
                    <a:pt x="1543050" y="669925"/>
                  </a:cubicBezTo>
                  <a:cubicBezTo>
                    <a:pt x="1546225" y="672042"/>
                    <a:pt x="1549162" y="674568"/>
                    <a:pt x="1552575" y="676275"/>
                  </a:cubicBezTo>
                  <a:cubicBezTo>
                    <a:pt x="1555568" y="677772"/>
                    <a:pt x="1558871" y="678569"/>
                    <a:pt x="1562100" y="679450"/>
                  </a:cubicBezTo>
                  <a:cubicBezTo>
                    <a:pt x="1601489" y="690193"/>
                    <a:pt x="1575101" y="681667"/>
                    <a:pt x="1597025" y="688975"/>
                  </a:cubicBezTo>
                  <a:cubicBezTo>
                    <a:pt x="1600200" y="691092"/>
                    <a:pt x="1603063" y="693775"/>
                    <a:pt x="1606550" y="695325"/>
                  </a:cubicBezTo>
                  <a:cubicBezTo>
                    <a:pt x="1612667" y="698043"/>
                    <a:pt x="1625600" y="701675"/>
                    <a:pt x="1625600" y="701675"/>
                  </a:cubicBezTo>
                  <a:cubicBezTo>
                    <a:pt x="1627717" y="704850"/>
                    <a:pt x="1629019" y="708757"/>
                    <a:pt x="1631950" y="711200"/>
                  </a:cubicBezTo>
                  <a:cubicBezTo>
                    <a:pt x="1637181" y="715559"/>
                    <a:pt x="1647558" y="718519"/>
                    <a:pt x="1654175" y="720725"/>
                  </a:cubicBezTo>
                  <a:cubicBezTo>
                    <a:pt x="1663700" y="719667"/>
                    <a:pt x="1673658" y="720581"/>
                    <a:pt x="1682750" y="717550"/>
                  </a:cubicBezTo>
                  <a:cubicBezTo>
                    <a:pt x="1687010" y="716130"/>
                    <a:pt x="1688539" y="710516"/>
                    <a:pt x="1692275" y="708025"/>
                  </a:cubicBezTo>
                  <a:cubicBezTo>
                    <a:pt x="1695060" y="706169"/>
                    <a:pt x="1698625" y="705908"/>
                    <a:pt x="1701800" y="704850"/>
                  </a:cubicBezTo>
                  <a:cubicBezTo>
                    <a:pt x="1704975" y="702733"/>
                    <a:pt x="1707752" y="699840"/>
                    <a:pt x="1711325" y="698500"/>
                  </a:cubicBezTo>
                  <a:cubicBezTo>
                    <a:pt x="1732368" y="690609"/>
                    <a:pt x="1776203" y="697904"/>
                    <a:pt x="1787525" y="698500"/>
                  </a:cubicBezTo>
                  <a:cubicBezTo>
                    <a:pt x="1797547" y="703511"/>
                    <a:pt x="1811612" y="709887"/>
                    <a:pt x="1819275" y="717550"/>
                  </a:cubicBezTo>
                  <a:cubicBezTo>
                    <a:pt x="1834196" y="732471"/>
                    <a:pt x="1825064" y="724584"/>
                    <a:pt x="1847850" y="739775"/>
                  </a:cubicBezTo>
                  <a:cubicBezTo>
                    <a:pt x="1853895" y="743805"/>
                    <a:pt x="1877718" y="745856"/>
                    <a:pt x="1879600" y="746125"/>
                  </a:cubicBezTo>
                  <a:cubicBezTo>
                    <a:pt x="1885950" y="748242"/>
                    <a:pt x="1893081" y="748762"/>
                    <a:pt x="1898650" y="752475"/>
                  </a:cubicBezTo>
                  <a:cubicBezTo>
                    <a:pt x="1901825" y="754592"/>
                    <a:pt x="1904688" y="757275"/>
                    <a:pt x="1908175" y="758825"/>
                  </a:cubicBezTo>
                  <a:cubicBezTo>
                    <a:pt x="1923043" y="765433"/>
                    <a:pt x="1928161" y="765030"/>
                    <a:pt x="1943100" y="768350"/>
                  </a:cubicBezTo>
                  <a:cubicBezTo>
                    <a:pt x="1971518" y="774665"/>
                    <a:pt x="1937521" y="768478"/>
                    <a:pt x="1974850" y="774700"/>
                  </a:cubicBezTo>
                  <a:cubicBezTo>
                    <a:pt x="1978025" y="775758"/>
                    <a:pt x="1981762" y="775784"/>
                    <a:pt x="1984375" y="777875"/>
                  </a:cubicBezTo>
                  <a:cubicBezTo>
                    <a:pt x="1987355" y="780259"/>
                    <a:pt x="1988282" y="784469"/>
                    <a:pt x="1990725" y="787400"/>
                  </a:cubicBezTo>
                  <a:cubicBezTo>
                    <a:pt x="1999872" y="798377"/>
                    <a:pt x="1998036" y="796187"/>
                    <a:pt x="2009775" y="800100"/>
                  </a:cubicBezTo>
                  <a:cubicBezTo>
                    <a:pt x="2016125" y="806450"/>
                    <a:pt x="2023844" y="811678"/>
                    <a:pt x="2028825" y="819150"/>
                  </a:cubicBezTo>
                  <a:cubicBezTo>
                    <a:pt x="2037292" y="831850"/>
                    <a:pt x="2032000" y="826558"/>
                    <a:pt x="2044700" y="835025"/>
                  </a:cubicBezTo>
                  <a:cubicBezTo>
                    <a:pt x="2052257" y="857695"/>
                    <a:pt x="2045481" y="850362"/>
                    <a:pt x="2060575" y="860425"/>
                  </a:cubicBezTo>
                  <a:cubicBezTo>
                    <a:pt x="2061633" y="863600"/>
                    <a:pt x="2061659" y="867337"/>
                    <a:pt x="2063750" y="869950"/>
                  </a:cubicBezTo>
                  <a:cubicBezTo>
                    <a:pt x="2071754" y="879955"/>
                    <a:pt x="2088764" y="878236"/>
                    <a:pt x="2098675" y="879475"/>
                  </a:cubicBezTo>
                  <a:cubicBezTo>
                    <a:pt x="2101850" y="880533"/>
                    <a:pt x="2104853" y="882650"/>
                    <a:pt x="2108200" y="882650"/>
                  </a:cubicBezTo>
                  <a:cubicBezTo>
                    <a:pt x="2115684" y="882650"/>
                    <a:pt x="2130425" y="879475"/>
                    <a:pt x="2130425" y="879475"/>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49" name="Freeform 24"/>
            <p:cNvSpPr/>
            <p:nvPr>
              <p:custDataLst>
                <p:tags r:id="rId9"/>
              </p:custDataLst>
            </p:nvPr>
          </p:nvSpPr>
          <p:spPr bwMode="gray">
            <a:xfrm>
              <a:off x="7054851" y="3792795"/>
              <a:ext cx="212968" cy="801005"/>
            </a:xfrm>
            <a:custGeom>
              <a:avLst/>
              <a:gdLst>
                <a:gd name="connsiteX0" fmla="*/ 47630 w 231780"/>
                <a:gd name="connsiteY0" fmla="*/ 0 h 898525"/>
                <a:gd name="connsiteX1" fmla="*/ 47630 w 231780"/>
                <a:gd name="connsiteY1" fmla="*/ 0 h 898525"/>
                <a:gd name="connsiteX2" fmla="*/ 6355 w 231780"/>
                <a:gd name="connsiteY2" fmla="*/ 38100 h 898525"/>
                <a:gd name="connsiteX3" fmla="*/ 5 w 231780"/>
                <a:gd name="connsiteY3" fmla="*/ 47625 h 898525"/>
                <a:gd name="connsiteX4" fmla="*/ 6355 w 231780"/>
                <a:gd name="connsiteY4" fmla="*/ 76200 h 898525"/>
                <a:gd name="connsiteX5" fmla="*/ 15880 w 231780"/>
                <a:gd name="connsiteY5" fmla="*/ 85725 h 898525"/>
                <a:gd name="connsiteX6" fmla="*/ 19055 w 231780"/>
                <a:gd name="connsiteY6" fmla="*/ 95250 h 898525"/>
                <a:gd name="connsiteX7" fmla="*/ 28580 w 231780"/>
                <a:gd name="connsiteY7" fmla="*/ 114300 h 898525"/>
                <a:gd name="connsiteX8" fmla="*/ 31755 w 231780"/>
                <a:gd name="connsiteY8" fmla="*/ 146050 h 898525"/>
                <a:gd name="connsiteX9" fmla="*/ 34930 w 231780"/>
                <a:gd name="connsiteY9" fmla="*/ 215900 h 898525"/>
                <a:gd name="connsiteX10" fmla="*/ 38105 w 231780"/>
                <a:gd name="connsiteY10" fmla="*/ 225425 h 898525"/>
                <a:gd name="connsiteX11" fmla="*/ 47630 w 231780"/>
                <a:gd name="connsiteY11" fmla="*/ 234950 h 898525"/>
                <a:gd name="connsiteX12" fmla="*/ 44455 w 231780"/>
                <a:gd name="connsiteY12" fmla="*/ 269875 h 898525"/>
                <a:gd name="connsiteX13" fmla="*/ 38105 w 231780"/>
                <a:gd name="connsiteY13" fmla="*/ 288925 h 898525"/>
                <a:gd name="connsiteX14" fmla="*/ 41280 w 231780"/>
                <a:gd name="connsiteY14" fmla="*/ 333375 h 898525"/>
                <a:gd name="connsiteX15" fmla="*/ 57155 w 231780"/>
                <a:gd name="connsiteY15" fmla="*/ 361950 h 898525"/>
                <a:gd name="connsiteX16" fmla="*/ 60330 w 231780"/>
                <a:gd name="connsiteY16" fmla="*/ 371475 h 898525"/>
                <a:gd name="connsiteX17" fmla="*/ 66680 w 231780"/>
                <a:gd name="connsiteY17" fmla="*/ 381000 h 898525"/>
                <a:gd name="connsiteX18" fmla="*/ 79380 w 231780"/>
                <a:gd name="connsiteY18" fmla="*/ 463550 h 898525"/>
                <a:gd name="connsiteX19" fmla="*/ 88905 w 231780"/>
                <a:gd name="connsiteY19" fmla="*/ 469900 h 898525"/>
                <a:gd name="connsiteX20" fmla="*/ 82555 w 231780"/>
                <a:gd name="connsiteY20" fmla="*/ 498475 h 898525"/>
                <a:gd name="connsiteX21" fmla="*/ 73030 w 231780"/>
                <a:gd name="connsiteY21" fmla="*/ 517525 h 898525"/>
                <a:gd name="connsiteX22" fmla="*/ 63505 w 231780"/>
                <a:gd name="connsiteY22" fmla="*/ 523875 h 898525"/>
                <a:gd name="connsiteX23" fmla="*/ 57155 w 231780"/>
                <a:gd name="connsiteY23" fmla="*/ 561975 h 898525"/>
                <a:gd name="connsiteX24" fmla="*/ 53980 w 231780"/>
                <a:gd name="connsiteY24" fmla="*/ 581025 h 898525"/>
                <a:gd name="connsiteX25" fmla="*/ 63505 w 231780"/>
                <a:gd name="connsiteY25" fmla="*/ 650875 h 898525"/>
                <a:gd name="connsiteX26" fmla="*/ 73030 w 231780"/>
                <a:gd name="connsiteY26" fmla="*/ 660400 h 898525"/>
                <a:gd name="connsiteX27" fmla="*/ 82555 w 231780"/>
                <a:gd name="connsiteY27" fmla="*/ 666750 h 898525"/>
                <a:gd name="connsiteX28" fmla="*/ 85730 w 231780"/>
                <a:gd name="connsiteY28" fmla="*/ 676275 h 898525"/>
                <a:gd name="connsiteX29" fmla="*/ 92080 w 231780"/>
                <a:gd name="connsiteY29" fmla="*/ 685800 h 898525"/>
                <a:gd name="connsiteX30" fmla="*/ 98430 w 231780"/>
                <a:gd name="connsiteY30" fmla="*/ 704850 h 898525"/>
                <a:gd name="connsiteX31" fmla="*/ 101605 w 231780"/>
                <a:gd name="connsiteY31" fmla="*/ 714375 h 898525"/>
                <a:gd name="connsiteX32" fmla="*/ 104780 w 231780"/>
                <a:gd name="connsiteY32" fmla="*/ 787400 h 898525"/>
                <a:gd name="connsiteX33" fmla="*/ 114305 w 231780"/>
                <a:gd name="connsiteY33" fmla="*/ 806450 h 898525"/>
                <a:gd name="connsiteX34" fmla="*/ 123830 w 231780"/>
                <a:gd name="connsiteY34" fmla="*/ 815975 h 898525"/>
                <a:gd name="connsiteX35" fmla="*/ 130180 w 231780"/>
                <a:gd name="connsiteY35" fmla="*/ 825500 h 898525"/>
                <a:gd name="connsiteX36" fmla="*/ 139705 w 231780"/>
                <a:gd name="connsiteY36" fmla="*/ 838200 h 898525"/>
                <a:gd name="connsiteX37" fmla="*/ 149230 w 231780"/>
                <a:gd name="connsiteY37" fmla="*/ 847725 h 898525"/>
                <a:gd name="connsiteX38" fmla="*/ 165105 w 231780"/>
                <a:gd name="connsiteY38" fmla="*/ 863600 h 898525"/>
                <a:gd name="connsiteX39" fmla="*/ 184155 w 231780"/>
                <a:gd name="connsiteY39" fmla="*/ 876300 h 898525"/>
                <a:gd name="connsiteX40" fmla="*/ 193680 w 231780"/>
                <a:gd name="connsiteY40" fmla="*/ 885825 h 898525"/>
                <a:gd name="connsiteX41" fmla="*/ 225430 w 231780"/>
                <a:gd name="connsiteY41" fmla="*/ 895350 h 898525"/>
                <a:gd name="connsiteX42" fmla="*/ 231780 w 231780"/>
                <a:gd name="connsiteY42" fmla="*/ 898525 h 89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31780" h="898525">
                  <a:moveTo>
                    <a:pt x="47630" y="0"/>
                  </a:moveTo>
                  <a:lnTo>
                    <a:pt x="47630" y="0"/>
                  </a:lnTo>
                  <a:cubicBezTo>
                    <a:pt x="13182" y="34448"/>
                    <a:pt x="28333" y="23448"/>
                    <a:pt x="6355" y="38100"/>
                  </a:cubicBezTo>
                  <a:cubicBezTo>
                    <a:pt x="4238" y="41275"/>
                    <a:pt x="426" y="43832"/>
                    <a:pt x="5" y="47625"/>
                  </a:cubicBezTo>
                  <a:cubicBezTo>
                    <a:pt x="-160" y="49107"/>
                    <a:pt x="3166" y="71417"/>
                    <a:pt x="6355" y="76200"/>
                  </a:cubicBezTo>
                  <a:cubicBezTo>
                    <a:pt x="8846" y="79936"/>
                    <a:pt x="12705" y="82550"/>
                    <a:pt x="15880" y="85725"/>
                  </a:cubicBezTo>
                  <a:cubicBezTo>
                    <a:pt x="16938" y="88900"/>
                    <a:pt x="17558" y="92257"/>
                    <a:pt x="19055" y="95250"/>
                  </a:cubicBezTo>
                  <a:cubicBezTo>
                    <a:pt x="31365" y="119869"/>
                    <a:pt x="20600" y="90359"/>
                    <a:pt x="28580" y="114300"/>
                  </a:cubicBezTo>
                  <a:cubicBezTo>
                    <a:pt x="29638" y="124883"/>
                    <a:pt x="31092" y="135435"/>
                    <a:pt x="31755" y="146050"/>
                  </a:cubicBezTo>
                  <a:cubicBezTo>
                    <a:pt x="33209" y="169312"/>
                    <a:pt x="33071" y="192667"/>
                    <a:pt x="34930" y="215900"/>
                  </a:cubicBezTo>
                  <a:cubicBezTo>
                    <a:pt x="35197" y="219236"/>
                    <a:pt x="36249" y="222640"/>
                    <a:pt x="38105" y="225425"/>
                  </a:cubicBezTo>
                  <a:cubicBezTo>
                    <a:pt x="40596" y="229161"/>
                    <a:pt x="44455" y="231775"/>
                    <a:pt x="47630" y="234950"/>
                  </a:cubicBezTo>
                  <a:cubicBezTo>
                    <a:pt x="46572" y="246592"/>
                    <a:pt x="46486" y="258363"/>
                    <a:pt x="44455" y="269875"/>
                  </a:cubicBezTo>
                  <a:cubicBezTo>
                    <a:pt x="43292" y="276467"/>
                    <a:pt x="38105" y="288925"/>
                    <a:pt x="38105" y="288925"/>
                  </a:cubicBezTo>
                  <a:cubicBezTo>
                    <a:pt x="39163" y="303742"/>
                    <a:pt x="39544" y="318622"/>
                    <a:pt x="41280" y="333375"/>
                  </a:cubicBezTo>
                  <a:cubicBezTo>
                    <a:pt x="42478" y="343554"/>
                    <a:pt x="52611" y="355134"/>
                    <a:pt x="57155" y="361950"/>
                  </a:cubicBezTo>
                  <a:cubicBezTo>
                    <a:pt x="59011" y="364735"/>
                    <a:pt x="58833" y="368482"/>
                    <a:pt x="60330" y="371475"/>
                  </a:cubicBezTo>
                  <a:cubicBezTo>
                    <a:pt x="62037" y="374888"/>
                    <a:pt x="64563" y="377825"/>
                    <a:pt x="66680" y="381000"/>
                  </a:cubicBezTo>
                  <a:cubicBezTo>
                    <a:pt x="68959" y="433406"/>
                    <a:pt x="52828" y="441423"/>
                    <a:pt x="79380" y="463550"/>
                  </a:cubicBezTo>
                  <a:cubicBezTo>
                    <a:pt x="82311" y="465993"/>
                    <a:pt x="85730" y="467783"/>
                    <a:pt x="88905" y="469900"/>
                  </a:cubicBezTo>
                  <a:cubicBezTo>
                    <a:pt x="86788" y="479425"/>
                    <a:pt x="84922" y="489009"/>
                    <a:pt x="82555" y="498475"/>
                  </a:cubicBezTo>
                  <a:cubicBezTo>
                    <a:pt x="80833" y="505361"/>
                    <a:pt x="78203" y="512352"/>
                    <a:pt x="73030" y="517525"/>
                  </a:cubicBezTo>
                  <a:cubicBezTo>
                    <a:pt x="70332" y="520223"/>
                    <a:pt x="66680" y="521758"/>
                    <a:pt x="63505" y="523875"/>
                  </a:cubicBezTo>
                  <a:lnTo>
                    <a:pt x="57155" y="561975"/>
                  </a:lnTo>
                  <a:lnTo>
                    <a:pt x="53980" y="581025"/>
                  </a:lnTo>
                  <a:cubicBezTo>
                    <a:pt x="55797" y="615556"/>
                    <a:pt x="46281" y="630206"/>
                    <a:pt x="63505" y="650875"/>
                  </a:cubicBezTo>
                  <a:cubicBezTo>
                    <a:pt x="66380" y="654324"/>
                    <a:pt x="69581" y="657525"/>
                    <a:pt x="73030" y="660400"/>
                  </a:cubicBezTo>
                  <a:cubicBezTo>
                    <a:pt x="75961" y="662843"/>
                    <a:pt x="79380" y="664633"/>
                    <a:pt x="82555" y="666750"/>
                  </a:cubicBezTo>
                  <a:cubicBezTo>
                    <a:pt x="83613" y="669925"/>
                    <a:pt x="84233" y="673282"/>
                    <a:pt x="85730" y="676275"/>
                  </a:cubicBezTo>
                  <a:cubicBezTo>
                    <a:pt x="87437" y="679688"/>
                    <a:pt x="90530" y="682313"/>
                    <a:pt x="92080" y="685800"/>
                  </a:cubicBezTo>
                  <a:cubicBezTo>
                    <a:pt x="94798" y="691917"/>
                    <a:pt x="96313" y="698500"/>
                    <a:pt x="98430" y="704850"/>
                  </a:cubicBezTo>
                  <a:lnTo>
                    <a:pt x="101605" y="714375"/>
                  </a:lnTo>
                  <a:cubicBezTo>
                    <a:pt x="102663" y="738717"/>
                    <a:pt x="102911" y="763107"/>
                    <a:pt x="104780" y="787400"/>
                  </a:cubicBezTo>
                  <a:cubicBezTo>
                    <a:pt x="105265" y="793710"/>
                    <a:pt x="110541" y="801933"/>
                    <a:pt x="114305" y="806450"/>
                  </a:cubicBezTo>
                  <a:cubicBezTo>
                    <a:pt x="117180" y="809899"/>
                    <a:pt x="120955" y="812526"/>
                    <a:pt x="123830" y="815975"/>
                  </a:cubicBezTo>
                  <a:cubicBezTo>
                    <a:pt x="126273" y="818906"/>
                    <a:pt x="127962" y="822395"/>
                    <a:pt x="130180" y="825500"/>
                  </a:cubicBezTo>
                  <a:cubicBezTo>
                    <a:pt x="133256" y="829806"/>
                    <a:pt x="136261" y="834182"/>
                    <a:pt x="139705" y="838200"/>
                  </a:cubicBezTo>
                  <a:cubicBezTo>
                    <a:pt x="142627" y="841609"/>
                    <a:pt x="146620" y="844071"/>
                    <a:pt x="149230" y="847725"/>
                  </a:cubicBezTo>
                  <a:cubicBezTo>
                    <a:pt x="161490" y="864890"/>
                    <a:pt x="147969" y="857888"/>
                    <a:pt x="165105" y="863600"/>
                  </a:cubicBezTo>
                  <a:lnTo>
                    <a:pt x="184155" y="876300"/>
                  </a:lnTo>
                  <a:cubicBezTo>
                    <a:pt x="187891" y="878791"/>
                    <a:pt x="189755" y="883644"/>
                    <a:pt x="193680" y="885825"/>
                  </a:cubicBezTo>
                  <a:cubicBezTo>
                    <a:pt x="204721" y="891959"/>
                    <a:pt x="214157" y="891592"/>
                    <a:pt x="225430" y="895350"/>
                  </a:cubicBezTo>
                  <a:cubicBezTo>
                    <a:pt x="227675" y="896098"/>
                    <a:pt x="229663" y="897467"/>
                    <a:pt x="231780" y="898525"/>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0" name="Freeform 25"/>
            <p:cNvSpPr/>
            <p:nvPr>
              <p:custDataLst>
                <p:tags r:id="rId10"/>
              </p:custDataLst>
            </p:nvPr>
          </p:nvSpPr>
          <p:spPr bwMode="gray">
            <a:xfrm>
              <a:off x="4391360" y="4197543"/>
              <a:ext cx="1108575" cy="645333"/>
            </a:xfrm>
            <a:custGeom>
              <a:avLst/>
              <a:gdLst>
                <a:gd name="connsiteX0" fmla="*/ 0 w 1206500"/>
                <a:gd name="connsiteY0" fmla="*/ 723900 h 723900"/>
                <a:gd name="connsiteX1" fmla="*/ 0 w 1206500"/>
                <a:gd name="connsiteY1" fmla="*/ 723900 h 723900"/>
                <a:gd name="connsiteX2" fmla="*/ 25400 w 1206500"/>
                <a:gd name="connsiteY2" fmla="*/ 714375 h 723900"/>
                <a:gd name="connsiteX3" fmla="*/ 53975 w 1206500"/>
                <a:gd name="connsiteY3" fmla="*/ 698500 h 723900"/>
                <a:gd name="connsiteX4" fmla="*/ 63500 w 1206500"/>
                <a:gd name="connsiteY4" fmla="*/ 688975 h 723900"/>
                <a:gd name="connsiteX5" fmla="*/ 82550 w 1206500"/>
                <a:gd name="connsiteY5" fmla="*/ 679450 h 723900"/>
                <a:gd name="connsiteX6" fmla="*/ 92075 w 1206500"/>
                <a:gd name="connsiteY6" fmla="*/ 669925 h 723900"/>
                <a:gd name="connsiteX7" fmla="*/ 104775 w 1206500"/>
                <a:gd name="connsiteY7" fmla="*/ 666750 h 723900"/>
                <a:gd name="connsiteX8" fmla="*/ 114300 w 1206500"/>
                <a:gd name="connsiteY8" fmla="*/ 663575 h 723900"/>
                <a:gd name="connsiteX9" fmla="*/ 123825 w 1206500"/>
                <a:gd name="connsiteY9" fmla="*/ 657225 h 723900"/>
                <a:gd name="connsiteX10" fmla="*/ 146050 w 1206500"/>
                <a:gd name="connsiteY10" fmla="*/ 628650 h 723900"/>
                <a:gd name="connsiteX11" fmla="*/ 158750 w 1206500"/>
                <a:gd name="connsiteY11" fmla="*/ 600075 h 723900"/>
                <a:gd name="connsiteX12" fmla="*/ 168275 w 1206500"/>
                <a:gd name="connsiteY12" fmla="*/ 596900 h 723900"/>
                <a:gd name="connsiteX13" fmla="*/ 184150 w 1206500"/>
                <a:gd name="connsiteY13" fmla="*/ 581025 h 723900"/>
                <a:gd name="connsiteX14" fmla="*/ 200025 w 1206500"/>
                <a:gd name="connsiteY14" fmla="*/ 568325 h 723900"/>
                <a:gd name="connsiteX15" fmla="*/ 209550 w 1206500"/>
                <a:gd name="connsiteY15" fmla="*/ 561975 h 723900"/>
                <a:gd name="connsiteX16" fmla="*/ 247650 w 1206500"/>
                <a:gd name="connsiteY16" fmla="*/ 561975 h 723900"/>
                <a:gd name="connsiteX17" fmla="*/ 266700 w 1206500"/>
                <a:gd name="connsiteY17" fmla="*/ 574675 h 723900"/>
                <a:gd name="connsiteX18" fmla="*/ 282575 w 1206500"/>
                <a:gd name="connsiteY18" fmla="*/ 590550 h 723900"/>
                <a:gd name="connsiteX19" fmla="*/ 314325 w 1206500"/>
                <a:gd name="connsiteY19" fmla="*/ 584200 h 723900"/>
                <a:gd name="connsiteX20" fmla="*/ 323850 w 1206500"/>
                <a:gd name="connsiteY20" fmla="*/ 577850 h 723900"/>
                <a:gd name="connsiteX21" fmla="*/ 327025 w 1206500"/>
                <a:gd name="connsiteY21" fmla="*/ 568325 h 723900"/>
                <a:gd name="connsiteX22" fmla="*/ 336550 w 1206500"/>
                <a:gd name="connsiteY22" fmla="*/ 558800 h 723900"/>
                <a:gd name="connsiteX23" fmla="*/ 342900 w 1206500"/>
                <a:gd name="connsiteY23" fmla="*/ 549275 h 723900"/>
                <a:gd name="connsiteX24" fmla="*/ 358775 w 1206500"/>
                <a:gd name="connsiteY24" fmla="*/ 498475 h 723900"/>
                <a:gd name="connsiteX25" fmla="*/ 368300 w 1206500"/>
                <a:gd name="connsiteY25" fmla="*/ 495300 h 723900"/>
                <a:gd name="connsiteX26" fmla="*/ 390525 w 1206500"/>
                <a:gd name="connsiteY26" fmla="*/ 498475 h 723900"/>
                <a:gd name="connsiteX27" fmla="*/ 400050 w 1206500"/>
                <a:gd name="connsiteY27" fmla="*/ 504825 h 723900"/>
                <a:gd name="connsiteX28" fmla="*/ 409575 w 1206500"/>
                <a:gd name="connsiteY28" fmla="*/ 508000 h 723900"/>
                <a:gd name="connsiteX29" fmla="*/ 447675 w 1206500"/>
                <a:gd name="connsiteY29" fmla="*/ 504825 h 723900"/>
                <a:gd name="connsiteX30" fmla="*/ 469900 w 1206500"/>
                <a:gd name="connsiteY30" fmla="*/ 492125 h 723900"/>
                <a:gd name="connsiteX31" fmla="*/ 511175 w 1206500"/>
                <a:gd name="connsiteY31" fmla="*/ 495300 h 723900"/>
                <a:gd name="connsiteX32" fmla="*/ 530225 w 1206500"/>
                <a:gd name="connsiteY32" fmla="*/ 504825 h 723900"/>
                <a:gd name="connsiteX33" fmla="*/ 539750 w 1206500"/>
                <a:gd name="connsiteY33" fmla="*/ 508000 h 723900"/>
                <a:gd name="connsiteX34" fmla="*/ 555625 w 1206500"/>
                <a:gd name="connsiteY34" fmla="*/ 504825 h 723900"/>
                <a:gd name="connsiteX35" fmla="*/ 561975 w 1206500"/>
                <a:gd name="connsiteY35" fmla="*/ 485775 h 723900"/>
                <a:gd name="connsiteX36" fmla="*/ 568325 w 1206500"/>
                <a:gd name="connsiteY36" fmla="*/ 476250 h 723900"/>
                <a:gd name="connsiteX37" fmla="*/ 571500 w 1206500"/>
                <a:gd name="connsiteY37" fmla="*/ 454025 h 723900"/>
                <a:gd name="connsiteX38" fmla="*/ 593725 w 1206500"/>
                <a:gd name="connsiteY38" fmla="*/ 444500 h 723900"/>
                <a:gd name="connsiteX39" fmla="*/ 609600 w 1206500"/>
                <a:gd name="connsiteY39" fmla="*/ 428625 h 723900"/>
                <a:gd name="connsiteX40" fmla="*/ 625475 w 1206500"/>
                <a:gd name="connsiteY40" fmla="*/ 409575 h 723900"/>
                <a:gd name="connsiteX41" fmla="*/ 631825 w 1206500"/>
                <a:gd name="connsiteY41" fmla="*/ 387350 h 723900"/>
                <a:gd name="connsiteX42" fmla="*/ 638175 w 1206500"/>
                <a:gd name="connsiteY42" fmla="*/ 374650 h 723900"/>
                <a:gd name="connsiteX43" fmla="*/ 644525 w 1206500"/>
                <a:gd name="connsiteY43" fmla="*/ 355600 h 723900"/>
                <a:gd name="connsiteX44" fmla="*/ 654050 w 1206500"/>
                <a:gd name="connsiteY44" fmla="*/ 346075 h 723900"/>
                <a:gd name="connsiteX45" fmla="*/ 682625 w 1206500"/>
                <a:gd name="connsiteY45" fmla="*/ 333375 h 723900"/>
                <a:gd name="connsiteX46" fmla="*/ 720725 w 1206500"/>
                <a:gd name="connsiteY46" fmla="*/ 330200 h 723900"/>
                <a:gd name="connsiteX47" fmla="*/ 739775 w 1206500"/>
                <a:gd name="connsiteY47" fmla="*/ 314325 h 723900"/>
                <a:gd name="connsiteX48" fmla="*/ 758825 w 1206500"/>
                <a:gd name="connsiteY48" fmla="*/ 307975 h 723900"/>
                <a:gd name="connsiteX49" fmla="*/ 768350 w 1206500"/>
                <a:gd name="connsiteY49" fmla="*/ 304800 h 723900"/>
                <a:gd name="connsiteX50" fmla="*/ 777875 w 1206500"/>
                <a:gd name="connsiteY50" fmla="*/ 307975 h 723900"/>
                <a:gd name="connsiteX51" fmla="*/ 781050 w 1206500"/>
                <a:gd name="connsiteY51" fmla="*/ 317500 h 723900"/>
                <a:gd name="connsiteX52" fmla="*/ 787400 w 1206500"/>
                <a:gd name="connsiteY52" fmla="*/ 327025 h 723900"/>
                <a:gd name="connsiteX53" fmla="*/ 796925 w 1206500"/>
                <a:gd name="connsiteY53" fmla="*/ 333375 h 723900"/>
                <a:gd name="connsiteX54" fmla="*/ 815975 w 1206500"/>
                <a:gd name="connsiteY54" fmla="*/ 339725 h 723900"/>
                <a:gd name="connsiteX55" fmla="*/ 923925 w 1206500"/>
                <a:gd name="connsiteY55" fmla="*/ 336550 h 723900"/>
                <a:gd name="connsiteX56" fmla="*/ 936625 w 1206500"/>
                <a:gd name="connsiteY56" fmla="*/ 317500 h 723900"/>
                <a:gd name="connsiteX57" fmla="*/ 942975 w 1206500"/>
                <a:gd name="connsiteY57" fmla="*/ 307975 h 723900"/>
                <a:gd name="connsiteX58" fmla="*/ 949325 w 1206500"/>
                <a:gd name="connsiteY58" fmla="*/ 298450 h 723900"/>
                <a:gd name="connsiteX59" fmla="*/ 955675 w 1206500"/>
                <a:gd name="connsiteY59" fmla="*/ 282575 h 723900"/>
                <a:gd name="connsiteX60" fmla="*/ 984250 w 1206500"/>
                <a:gd name="connsiteY60" fmla="*/ 260350 h 723900"/>
                <a:gd name="connsiteX61" fmla="*/ 993775 w 1206500"/>
                <a:gd name="connsiteY61" fmla="*/ 254000 h 723900"/>
                <a:gd name="connsiteX62" fmla="*/ 1038225 w 1206500"/>
                <a:gd name="connsiteY62" fmla="*/ 247650 h 723900"/>
                <a:gd name="connsiteX63" fmla="*/ 1066800 w 1206500"/>
                <a:gd name="connsiteY63" fmla="*/ 238125 h 723900"/>
                <a:gd name="connsiteX64" fmla="*/ 1092200 w 1206500"/>
                <a:gd name="connsiteY64" fmla="*/ 231775 h 723900"/>
                <a:gd name="connsiteX65" fmla="*/ 1101725 w 1206500"/>
                <a:gd name="connsiteY65" fmla="*/ 225425 h 723900"/>
                <a:gd name="connsiteX66" fmla="*/ 1111250 w 1206500"/>
                <a:gd name="connsiteY66" fmla="*/ 206375 h 723900"/>
                <a:gd name="connsiteX67" fmla="*/ 1117600 w 1206500"/>
                <a:gd name="connsiteY67" fmla="*/ 196850 h 723900"/>
                <a:gd name="connsiteX68" fmla="*/ 1127125 w 1206500"/>
                <a:gd name="connsiteY68" fmla="*/ 187325 h 723900"/>
                <a:gd name="connsiteX69" fmla="*/ 1146175 w 1206500"/>
                <a:gd name="connsiteY69" fmla="*/ 158750 h 723900"/>
                <a:gd name="connsiteX70" fmla="*/ 1155700 w 1206500"/>
                <a:gd name="connsiteY70" fmla="*/ 149225 h 723900"/>
                <a:gd name="connsiteX71" fmla="*/ 1174750 w 1206500"/>
                <a:gd name="connsiteY71" fmla="*/ 136525 h 723900"/>
                <a:gd name="connsiteX72" fmla="*/ 1174750 w 1206500"/>
                <a:gd name="connsiteY72" fmla="*/ 104775 h 723900"/>
                <a:gd name="connsiteX73" fmla="*/ 1177925 w 1206500"/>
                <a:gd name="connsiteY73" fmla="*/ 50800 h 723900"/>
                <a:gd name="connsiteX74" fmla="*/ 1187450 w 1206500"/>
                <a:gd name="connsiteY74" fmla="*/ 15875 h 723900"/>
                <a:gd name="connsiteX75" fmla="*/ 1196975 w 1206500"/>
                <a:gd name="connsiteY75" fmla="*/ 9525 h 723900"/>
                <a:gd name="connsiteX76" fmla="*/ 1206500 w 1206500"/>
                <a:gd name="connsiteY76" fmla="*/ 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06500" h="723900">
                  <a:moveTo>
                    <a:pt x="0" y="723900"/>
                  </a:moveTo>
                  <a:lnTo>
                    <a:pt x="0" y="723900"/>
                  </a:lnTo>
                  <a:cubicBezTo>
                    <a:pt x="8467" y="720725"/>
                    <a:pt x="17312" y="718419"/>
                    <a:pt x="25400" y="714375"/>
                  </a:cubicBezTo>
                  <a:cubicBezTo>
                    <a:pt x="69069" y="692540"/>
                    <a:pt x="27635" y="707280"/>
                    <a:pt x="53975" y="698500"/>
                  </a:cubicBezTo>
                  <a:cubicBezTo>
                    <a:pt x="57150" y="695325"/>
                    <a:pt x="59764" y="691466"/>
                    <a:pt x="63500" y="688975"/>
                  </a:cubicBezTo>
                  <a:cubicBezTo>
                    <a:pt x="92139" y="669882"/>
                    <a:pt x="52575" y="704429"/>
                    <a:pt x="82550" y="679450"/>
                  </a:cubicBezTo>
                  <a:cubicBezTo>
                    <a:pt x="85999" y="676575"/>
                    <a:pt x="88176" y="672153"/>
                    <a:pt x="92075" y="669925"/>
                  </a:cubicBezTo>
                  <a:cubicBezTo>
                    <a:pt x="95864" y="667760"/>
                    <a:pt x="100579" y="667949"/>
                    <a:pt x="104775" y="666750"/>
                  </a:cubicBezTo>
                  <a:cubicBezTo>
                    <a:pt x="107993" y="665831"/>
                    <a:pt x="111125" y="664633"/>
                    <a:pt x="114300" y="663575"/>
                  </a:cubicBezTo>
                  <a:cubicBezTo>
                    <a:pt x="117475" y="661458"/>
                    <a:pt x="120894" y="659668"/>
                    <a:pt x="123825" y="657225"/>
                  </a:cubicBezTo>
                  <a:cubicBezTo>
                    <a:pt x="135016" y="647899"/>
                    <a:pt x="137200" y="641925"/>
                    <a:pt x="146050" y="628650"/>
                  </a:cubicBezTo>
                  <a:cubicBezTo>
                    <a:pt x="152148" y="619503"/>
                    <a:pt x="149519" y="607460"/>
                    <a:pt x="158750" y="600075"/>
                  </a:cubicBezTo>
                  <a:cubicBezTo>
                    <a:pt x="161363" y="597984"/>
                    <a:pt x="165100" y="597958"/>
                    <a:pt x="168275" y="596900"/>
                  </a:cubicBezTo>
                  <a:cubicBezTo>
                    <a:pt x="185208" y="571500"/>
                    <a:pt x="162983" y="602192"/>
                    <a:pt x="184150" y="581025"/>
                  </a:cubicBezTo>
                  <a:cubicBezTo>
                    <a:pt x="198511" y="566664"/>
                    <a:pt x="181482" y="574506"/>
                    <a:pt x="200025" y="568325"/>
                  </a:cubicBezTo>
                  <a:cubicBezTo>
                    <a:pt x="203200" y="566208"/>
                    <a:pt x="205977" y="563315"/>
                    <a:pt x="209550" y="561975"/>
                  </a:cubicBezTo>
                  <a:cubicBezTo>
                    <a:pt x="224919" y="556212"/>
                    <a:pt x="230961" y="559591"/>
                    <a:pt x="247650" y="561975"/>
                  </a:cubicBezTo>
                  <a:cubicBezTo>
                    <a:pt x="254000" y="566208"/>
                    <a:pt x="262467" y="568325"/>
                    <a:pt x="266700" y="574675"/>
                  </a:cubicBezTo>
                  <a:cubicBezTo>
                    <a:pt x="275167" y="587375"/>
                    <a:pt x="269875" y="582083"/>
                    <a:pt x="282575" y="590550"/>
                  </a:cubicBezTo>
                  <a:cubicBezTo>
                    <a:pt x="290765" y="589380"/>
                    <a:pt x="305459" y="588633"/>
                    <a:pt x="314325" y="584200"/>
                  </a:cubicBezTo>
                  <a:cubicBezTo>
                    <a:pt x="317738" y="582493"/>
                    <a:pt x="320675" y="579967"/>
                    <a:pt x="323850" y="577850"/>
                  </a:cubicBezTo>
                  <a:cubicBezTo>
                    <a:pt x="324908" y="574675"/>
                    <a:pt x="325169" y="571110"/>
                    <a:pt x="327025" y="568325"/>
                  </a:cubicBezTo>
                  <a:cubicBezTo>
                    <a:pt x="329516" y="564589"/>
                    <a:pt x="333675" y="562249"/>
                    <a:pt x="336550" y="558800"/>
                  </a:cubicBezTo>
                  <a:cubicBezTo>
                    <a:pt x="338993" y="555869"/>
                    <a:pt x="340783" y="552450"/>
                    <a:pt x="342900" y="549275"/>
                  </a:cubicBezTo>
                  <a:cubicBezTo>
                    <a:pt x="343706" y="541216"/>
                    <a:pt x="342420" y="503927"/>
                    <a:pt x="358775" y="498475"/>
                  </a:cubicBezTo>
                  <a:lnTo>
                    <a:pt x="368300" y="495300"/>
                  </a:lnTo>
                  <a:cubicBezTo>
                    <a:pt x="375708" y="496358"/>
                    <a:pt x="383357" y="496325"/>
                    <a:pt x="390525" y="498475"/>
                  </a:cubicBezTo>
                  <a:cubicBezTo>
                    <a:pt x="394180" y="499571"/>
                    <a:pt x="396637" y="503118"/>
                    <a:pt x="400050" y="504825"/>
                  </a:cubicBezTo>
                  <a:cubicBezTo>
                    <a:pt x="403043" y="506322"/>
                    <a:pt x="406400" y="506942"/>
                    <a:pt x="409575" y="508000"/>
                  </a:cubicBezTo>
                  <a:cubicBezTo>
                    <a:pt x="422275" y="506942"/>
                    <a:pt x="435149" y="507174"/>
                    <a:pt x="447675" y="504825"/>
                  </a:cubicBezTo>
                  <a:cubicBezTo>
                    <a:pt x="453280" y="503774"/>
                    <a:pt x="464909" y="495452"/>
                    <a:pt x="469900" y="492125"/>
                  </a:cubicBezTo>
                  <a:cubicBezTo>
                    <a:pt x="483658" y="493183"/>
                    <a:pt x="497483" y="493588"/>
                    <a:pt x="511175" y="495300"/>
                  </a:cubicBezTo>
                  <a:cubicBezTo>
                    <a:pt x="521816" y="496630"/>
                    <a:pt x="520771" y="500098"/>
                    <a:pt x="530225" y="504825"/>
                  </a:cubicBezTo>
                  <a:cubicBezTo>
                    <a:pt x="533218" y="506322"/>
                    <a:pt x="536575" y="506942"/>
                    <a:pt x="539750" y="508000"/>
                  </a:cubicBezTo>
                  <a:cubicBezTo>
                    <a:pt x="545042" y="506942"/>
                    <a:pt x="551809" y="508641"/>
                    <a:pt x="555625" y="504825"/>
                  </a:cubicBezTo>
                  <a:cubicBezTo>
                    <a:pt x="560358" y="500092"/>
                    <a:pt x="558262" y="491344"/>
                    <a:pt x="561975" y="485775"/>
                  </a:cubicBezTo>
                  <a:lnTo>
                    <a:pt x="568325" y="476250"/>
                  </a:lnTo>
                  <a:cubicBezTo>
                    <a:pt x="569383" y="468842"/>
                    <a:pt x="567866" y="460567"/>
                    <a:pt x="571500" y="454025"/>
                  </a:cubicBezTo>
                  <a:cubicBezTo>
                    <a:pt x="573283" y="450815"/>
                    <a:pt x="589546" y="445893"/>
                    <a:pt x="593725" y="444500"/>
                  </a:cubicBezTo>
                  <a:cubicBezTo>
                    <a:pt x="611188" y="432858"/>
                    <a:pt x="596371" y="444500"/>
                    <a:pt x="609600" y="428625"/>
                  </a:cubicBezTo>
                  <a:cubicBezTo>
                    <a:pt x="629972" y="404179"/>
                    <a:pt x="609709" y="433224"/>
                    <a:pt x="625475" y="409575"/>
                  </a:cubicBezTo>
                  <a:cubicBezTo>
                    <a:pt x="627086" y="403130"/>
                    <a:pt x="629092" y="393727"/>
                    <a:pt x="631825" y="387350"/>
                  </a:cubicBezTo>
                  <a:cubicBezTo>
                    <a:pt x="633689" y="383000"/>
                    <a:pt x="636417" y="379044"/>
                    <a:pt x="638175" y="374650"/>
                  </a:cubicBezTo>
                  <a:cubicBezTo>
                    <a:pt x="640661" y="368435"/>
                    <a:pt x="639792" y="360333"/>
                    <a:pt x="644525" y="355600"/>
                  </a:cubicBezTo>
                  <a:cubicBezTo>
                    <a:pt x="647700" y="352425"/>
                    <a:pt x="650601" y="348950"/>
                    <a:pt x="654050" y="346075"/>
                  </a:cubicBezTo>
                  <a:cubicBezTo>
                    <a:pt x="661482" y="339882"/>
                    <a:pt x="673395" y="334144"/>
                    <a:pt x="682625" y="333375"/>
                  </a:cubicBezTo>
                  <a:lnTo>
                    <a:pt x="720725" y="330200"/>
                  </a:lnTo>
                  <a:cubicBezTo>
                    <a:pt x="726707" y="324218"/>
                    <a:pt x="731818" y="317861"/>
                    <a:pt x="739775" y="314325"/>
                  </a:cubicBezTo>
                  <a:cubicBezTo>
                    <a:pt x="745892" y="311607"/>
                    <a:pt x="752475" y="310092"/>
                    <a:pt x="758825" y="307975"/>
                  </a:cubicBezTo>
                  <a:lnTo>
                    <a:pt x="768350" y="304800"/>
                  </a:lnTo>
                  <a:cubicBezTo>
                    <a:pt x="771525" y="305858"/>
                    <a:pt x="775508" y="305608"/>
                    <a:pt x="777875" y="307975"/>
                  </a:cubicBezTo>
                  <a:cubicBezTo>
                    <a:pt x="780242" y="310342"/>
                    <a:pt x="779553" y="314507"/>
                    <a:pt x="781050" y="317500"/>
                  </a:cubicBezTo>
                  <a:cubicBezTo>
                    <a:pt x="782757" y="320913"/>
                    <a:pt x="784702" y="324327"/>
                    <a:pt x="787400" y="327025"/>
                  </a:cubicBezTo>
                  <a:cubicBezTo>
                    <a:pt x="790098" y="329723"/>
                    <a:pt x="793438" y="331825"/>
                    <a:pt x="796925" y="333375"/>
                  </a:cubicBezTo>
                  <a:cubicBezTo>
                    <a:pt x="803042" y="336093"/>
                    <a:pt x="815975" y="339725"/>
                    <a:pt x="815975" y="339725"/>
                  </a:cubicBezTo>
                  <a:cubicBezTo>
                    <a:pt x="851958" y="338667"/>
                    <a:pt x="888522" y="343072"/>
                    <a:pt x="923925" y="336550"/>
                  </a:cubicBezTo>
                  <a:cubicBezTo>
                    <a:pt x="931430" y="335167"/>
                    <a:pt x="932392" y="323850"/>
                    <a:pt x="936625" y="317500"/>
                  </a:cubicBezTo>
                  <a:lnTo>
                    <a:pt x="942975" y="307975"/>
                  </a:lnTo>
                  <a:cubicBezTo>
                    <a:pt x="945092" y="304800"/>
                    <a:pt x="947908" y="301993"/>
                    <a:pt x="949325" y="298450"/>
                  </a:cubicBezTo>
                  <a:cubicBezTo>
                    <a:pt x="951442" y="293158"/>
                    <a:pt x="952323" y="287184"/>
                    <a:pt x="955675" y="282575"/>
                  </a:cubicBezTo>
                  <a:cubicBezTo>
                    <a:pt x="969382" y="263728"/>
                    <a:pt x="969079" y="265407"/>
                    <a:pt x="984250" y="260350"/>
                  </a:cubicBezTo>
                  <a:cubicBezTo>
                    <a:pt x="987425" y="258233"/>
                    <a:pt x="990362" y="255707"/>
                    <a:pt x="993775" y="254000"/>
                  </a:cubicBezTo>
                  <a:cubicBezTo>
                    <a:pt x="1005991" y="247892"/>
                    <a:pt x="1029302" y="248461"/>
                    <a:pt x="1038225" y="247650"/>
                  </a:cubicBezTo>
                  <a:lnTo>
                    <a:pt x="1066800" y="238125"/>
                  </a:lnTo>
                  <a:cubicBezTo>
                    <a:pt x="1075079" y="235365"/>
                    <a:pt x="1092200" y="231775"/>
                    <a:pt x="1092200" y="231775"/>
                  </a:cubicBezTo>
                  <a:cubicBezTo>
                    <a:pt x="1095375" y="229658"/>
                    <a:pt x="1099027" y="228123"/>
                    <a:pt x="1101725" y="225425"/>
                  </a:cubicBezTo>
                  <a:cubicBezTo>
                    <a:pt x="1110824" y="216326"/>
                    <a:pt x="1106085" y="216704"/>
                    <a:pt x="1111250" y="206375"/>
                  </a:cubicBezTo>
                  <a:cubicBezTo>
                    <a:pt x="1112957" y="202962"/>
                    <a:pt x="1115157" y="199781"/>
                    <a:pt x="1117600" y="196850"/>
                  </a:cubicBezTo>
                  <a:cubicBezTo>
                    <a:pt x="1120475" y="193401"/>
                    <a:pt x="1124368" y="190869"/>
                    <a:pt x="1127125" y="187325"/>
                  </a:cubicBezTo>
                  <a:lnTo>
                    <a:pt x="1146175" y="158750"/>
                  </a:lnTo>
                  <a:cubicBezTo>
                    <a:pt x="1148666" y="155014"/>
                    <a:pt x="1152156" y="151982"/>
                    <a:pt x="1155700" y="149225"/>
                  </a:cubicBezTo>
                  <a:cubicBezTo>
                    <a:pt x="1161724" y="144540"/>
                    <a:pt x="1174750" y="136525"/>
                    <a:pt x="1174750" y="136525"/>
                  </a:cubicBezTo>
                  <a:cubicBezTo>
                    <a:pt x="1181923" y="115006"/>
                    <a:pt x="1174750" y="141258"/>
                    <a:pt x="1174750" y="104775"/>
                  </a:cubicBezTo>
                  <a:cubicBezTo>
                    <a:pt x="1174750" y="86752"/>
                    <a:pt x="1176293" y="68749"/>
                    <a:pt x="1177925" y="50800"/>
                  </a:cubicBezTo>
                  <a:cubicBezTo>
                    <a:pt x="1179047" y="38459"/>
                    <a:pt x="1183568" y="27520"/>
                    <a:pt x="1187450" y="15875"/>
                  </a:cubicBezTo>
                  <a:cubicBezTo>
                    <a:pt x="1188657" y="12255"/>
                    <a:pt x="1194044" y="11968"/>
                    <a:pt x="1196975" y="9525"/>
                  </a:cubicBezTo>
                  <a:cubicBezTo>
                    <a:pt x="1200424" y="6650"/>
                    <a:pt x="1206500" y="0"/>
                    <a:pt x="1206500" y="0"/>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1" name="Freeform 26"/>
            <p:cNvSpPr/>
            <p:nvPr>
              <p:custDataLst>
                <p:tags r:id="rId11"/>
              </p:custDataLst>
            </p:nvPr>
          </p:nvSpPr>
          <p:spPr bwMode="gray">
            <a:xfrm>
              <a:off x="2307677" y="3720620"/>
              <a:ext cx="2693399" cy="440005"/>
            </a:xfrm>
            <a:custGeom>
              <a:avLst/>
              <a:gdLst>
                <a:gd name="connsiteX0" fmla="*/ 0 w 2931319"/>
                <a:gd name="connsiteY0" fmla="*/ 373856 h 493574"/>
                <a:gd name="connsiteX1" fmla="*/ 0 w 2931319"/>
                <a:gd name="connsiteY1" fmla="*/ 373856 h 493574"/>
                <a:gd name="connsiteX2" fmla="*/ 19050 w 2931319"/>
                <a:gd name="connsiteY2" fmla="*/ 383381 h 493574"/>
                <a:gd name="connsiteX3" fmla="*/ 28575 w 2931319"/>
                <a:gd name="connsiteY3" fmla="*/ 397668 h 493574"/>
                <a:gd name="connsiteX4" fmla="*/ 47625 w 2931319"/>
                <a:gd name="connsiteY4" fmla="*/ 414337 h 493574"/>
                <a:gd name="connsiteX5" fmla="*/ 83344 w 2931319"/>
                <a:gd name="connsiteY5" fmla="*/ 419100 h 493574"/>
                <a:gd name="connsiteX6" fmla="*/ 100013 w 2931319"/>
                <a:gd name="connsiteY6" fmla="*/ 438150 h 493574"/>
                <a:gd name="connsiteX7" fmla="*/ 107157 w 2931319"/>
                <a:gd name="connsiteY7" fmla="*/ 440531 h 493574"/>
                <a:gd name="connsiteX8" fmla="*/ 123825 w 2931319"/>
                <a:gd name="connsiteY8" fmla="*/ 452437 h 493574"/>
                <a:gd name="connsiteX9" fmla="*/ 138113 w 2931319"/>
                <a:gd name="connsiteY9" fmla="*/ 457200 h 493574"/>
                <a:gd name="connsiteX10" fmla="*/ 159544 w 2931319"/>
                <a:gd name="connsiteY10" fmla="*/ 464343 h 493574"/>
                <a:gd name="connsiteX11" fmla="*/ 173832 w 2931319"/>
                <a:gd name="connsiteY11" fmla="*/ 473868 h 493574"/>
                <a:gd name="connsiteX12" fmla="*/ 180975 w 2931319"/>
                <a:gd name="connsiteY12" fmla="*/ 476250 h 493574"/>
                <a:gd name="connsiteX13" fmla="*/ 190500 w 2931319"/>
                <a:gd name="connsiteY13" fmla="*/ 481012 h 493574"/>
                <a:gd name="connsiteX14" fmla="*/ 197644 w 2931319"/>
                <a:gd name="connsiteY14" fmla="*/ 485775 h 493574"/>
                <a:gd name="connsiteX15" fmla="*/ 214313 w 2931319"/>
                <a:gd name="connsiteY15" fmla="*/ 488156 h 493574"/>
                <a:gd name="connsiteX16" fmla="*/ 264319 w 2931319"/>
                <a:gd name="connsiteY16" fmla="*/ 490537 h 493574"/>
                <a:gd name="connsiteX17" fmla="*/ 278607 w 2931319"/>
                <a:gd name="connsiteY17" fmla="*/ 485775 h 493574"/>
                <a:gd name="connsiteX18" fmla="*/ 288132 w 2931319"/>
                <a:gd name="connsiteY18" fmla="*/ 481012 h 493574"/>
                <a:gd name="connsiteX19" fmla="*/ 295275 w 2931319"/>
                <a:gd name="connsiteY19" fmla="*/ 478631 h 493574"/>
                <a:gd name="connsiteX20" fmla="*/ 316707 w 2931319"/>
                <a:gd name="connsiteY20" fmla="*/ 466725 h 493574"/>
                <a:gd name="connsiteX21" fmla="*/ 330994 w 2931319"/>
                <a:gd name="connsiteY21" fmla="*/ 457200 h 493574"/>
                <a:gd name="connsiteX22" fmla="*/ 345282 w 2931319"/>
                <a:gd name="connsiteY22" fmla="*/ 452437 h 493574"/>
                <a:gd name="connsiteX23" fmla="*/ 411957 w 2931319"/>
                <a:gd name="connsiteY23" fmla="*/ 452437 h 493574"/>
                <a:gd name="connsiteX24" fmla="*/ 419100 w 2931319"/>
                <a:gd name="connsiteY24" fmla="*/ 450056 h 493574"/>
                <a:gd name="connsiteX25" fmla="*/ 431007 w 2931319"/>
                <a:gd name="connsiteY25" fmla="*/ 435768 h 493574"/>
                <a:gd name="connsiteX26" fmla="*/ 440532 w 2931319"/>
                <a:gd name="connsiteY26" fmla="*/ 433387 h 493574"/>
                <a:gd name="connsiteX27" fmla="*/ 538163 w 2931319"/>
                <a:gd name="connsiteY27" fmla="*/ 431006 h 493574"/>
                <a:gd name="connsiteX28" fmla="*/ 583407 w 2931319"/>
                <a:gd name="connsiteY28" fmla="*/ 428625 h 493574"/>
                <a:gd name="connsiteX29" fmla="*/ 595313 w 2931319"/>
                <a:gd name="connsiteY29" fmla="*/ 426243 h 493574"/>
                <a:gd name="connsiteX30" fmla="*/ 619125 w 2931319"/>
                <a:gd name="connsiteY30" fmla="*/ 414337 h 493574"/>
                <a:gd name="connsiteX31" fmla="*/ 640557 w 2931319"/>
                <a:gd name="connsiteY31" fmla="*/ 416718 h 493574"/>
                <a:gd name="connsiteX32" fmla="*/ 664369 w 2931319"/>
                <a:gd name="connsiteY32" fmla="*/ 426243 h 493574"/>
                <a:gd name="connsiteX33" fmla="*/ 681038 w 2931319"/>
                <a:gd name="connsiteY33" fmla="*/ 428625 h 493574"/>
                <a:gd name="connsiteX34" fmla="*/ 731044 w 2931319"/>
                <a:gd name="connsiteY34" fmla="*/ 431006 h 493574"/>
                <a:gd name="connsiteX35" fmla="*/ 752475 w 2931319"/>
                <a:gd name="connsiteY35" fmla="*/ 438150 h 493574"/>
                <a:gd name="connsiteX36" fmla="*/ 764382 w 2931319"/>
                <a:gd name="connsiteY36" fmla="*/ 440531 h 493574"/>
                <a:gd name="connsiteX37" fmla="*/ 771525 w 2931319"/>
                <a:gd name="connsiteY37" fmla="*/ 442912 h 493574"/>
                <a:gd name="connsiteX38" fmla="*/ 778669 w 2931319"/>
                <a:gd name="connsiteY38" fmla="*/ 447675 h 493574"/>
                <a:gd name="connsiteX39" fmla="*/ 802482 w 2931319"/>
                <a:gd name="connsiteY39" fmla="*/ 452437 h 493574"/>
                <a:gd name="connsiteX40" fmla="*/ 816769 w 2931319"/>
                <a:gd name="connsiteY40" fmla="*/ 450056 h 493574"/>
                <a:gd name="connsiteX41" fmla="*/ 819150 w 2931319"/>
                <a:gd name="connsiteY41" fmla="*/ 438150 h 493574"/>
                <a:gd name="connsiteX42" fmla="*/ 823913 w 2931319"/>
                <a:gd name="connsiteY42" fmla="*/ 400050 h 493574"/>
                <a:gd name="connsiteX43" fmla="*/ 826294 w 2931319"/>
                <a:gd name="connsiteY43" fmla="*/ 392906 h 493574"/>
                <a:gd name="connsiteX44" fmla="*/ 833438 w 2931319"/>
                <a:gd name="connsiteY44" fmla="*/ 385762 h 493574"/>
                <a:gd name="connsiteX45" fmla="*/ 850107 w 2931319"/>
                <a:gd name="connsiteY45" fmla="*/ 378618 h 493574"/>
                <a:gd name="connsiteX46" fmla="*/ 892969 w 2931319"/>
                <a:gd name="connsiteY46" fmla="*/ 373856 h 493574"/>
                <a:gd name="connsiteX47" fmla="*/ 919163 w 2931319"/>
                <a:gd name="connsiteY47" fmla="*/ 369093 h 493574"/>
                <a:gd name="connsiteX48" fmla="*/ 933450 w 2931319"/>
                <a:gd name="connsiteY48" fmla="*/ 364331 h 493574"/>
                <a:gd name="connsiteX49" fmla="*/ 966788 w 2931319"/>
                <a:gd name="connsiteY49" fmla="*/ 361950 h 493574"/>
                <a:gd name="connsiteX50" fmla="*/ 983457 w 2931319"/>
                <a:gd name="connsiteY50" fmla="*/ 357187 h 493574"/>
                <a:gd name="connsiteX51" fmla="*/ 992982 w 2931319"/>
                <a:gd name="connsiteY51" fmla="*/ 352425 h 493574"/>
                <a:gd name="connsiteX52" fmla="*/ 1000125 w 2931319"/>
                <a:gd name="connsiteY52" fmla="*/ 345281 h 493574"/>
                <a:gd name="connsiteX53" fmla="*/ 1002507 w 2931319"/>
                <a:gd name="connsiteY53" fmla="*/ 338137 h 493574"/>
                <a:gd name="connsiteX54" fmla="*/ 1019175 w 2931319"/>
                <a:gd name="connsiteY54" fmla="*/ 328612 h 493574"/>
                <a:gd name="connsiteX55" fmla="*/ 1033463 w 2931319"/>
                <a:gd name="connsiteY55" fmla="*/ 316706 h 493574"/>
                <a:gd name="connsiteX56" fmla="*/ 1040607 w 2931319"/>
                <a:gd name="connsiteY56" fmla="*/ 314325 h 493574"/>
                <a:gd name="connsiteX57" fmla="*/ 1047750 w 2931319"/>
                <a:gd name="connsiteY57" fmla="*/ 309562 h 493574"/>
                <a:gd name="connsiteX58" fmla="*/ 1076325 w 2931319"/>
                <a:gd name="connsiteY58" fmla="*/ 302418 h 493574"/>
                <a:gd name="connsiteX59" fmla="*/ 1090613 w 2931319"/>
                <a:gd name="connsiteY59" fmla="*/ 297656 h 493574"/>
                <a:gd name="connsiteX60" fmla="*/ 1104900 w 2931319"/>
                <a:gd name="connsiteY60" fmla="*/ 285750 h 493574"/>
                <a:gd name="connsiteX61" fmla="*/ 1119188 w 2931319"/>
                <a:gd name="connsiteY61" fmla="*/ 278606 h 493574"/>
                <a:gd name="connsiteX62" fmla="*/ 1126332 w 2931319"/>
                <a:gd name="connsiteY62" fmla="*/ 264318 h 493574"/>
                <a:gd name="connsiteX63" fmla="*/ 1131094 w 2931319"/>
                <a:gd name="connsiteY63" fmla="*/ 247650 h 493574"/>
                <a:gd name="connsiteX64" fmla="*/ 1133475 w 2931319"/>
                <a:gd name="connsiteY64" fmla="*/ 240506 h 493574"/>
                <a:gd name="connsiteX65" fmla="*/ 1147763 w 2931319"/>
                <a:gd name="connsiteY65" fmla="*/ 219075 h 493574"/>
                <a:gd name="connsiteX66" fmla="*/ 1162050 w 2931319"/>
                <a:gd name="connsiteY66" fmla="*/ 204787 h 493574"/>
                <a:gd name="connsiteX67" fmla="*/ 1178719 w 2931319"/>
                <a:gd name="connsiteY67" fmla="*/ 183356 h 493574"/>
                <a:gd name="connsiteX68" fmla="*/ 1193007 w 2931319"/>
                <a:gd name="connsiteY68" fmla="*/ 173831 h 493574"/>
                <a:gd name="connsiteX69" fmla="*/ 1204913 w 2931319"/>
                <a:gd name="connsiteY69" fmla="*/ 164306 h 493574"/>
                <a:gd name="connsiteX70" fmla="*/ 1207294 w 2931319"/>
                <a:gd name="connsiteY70" fmla="*/ 171450 h 493574"/>
                <a:gd name="connsiteX71" fmla="*/ 1212057 w 2931319"/>
                <a:gd name="connsiteY71" fmla="*/ 178593 h 493574"/>
                <a:gd name="connsiteX72" fmla="*/ 1226344 w 2931319"/>
                <a:gd name="connsiteY72" fmla="*/ 185737 h 493574"/>
                <a:gd name="connsiteX73" fmla="*/ 1233488 w 2931319"/>
                <a:gd name="connsiteY73" fmla="*/ 190500 h 493574"/>
                <a:gd name="connsiteX74" fmla="*/ 1247775 w 2931319"/>
                <a:gd name="connsiteY74" fmla="*/ 195262 h 493574"/>
                <a:gd name="connsiteX75" fmla="*/ 1254919 w 2931319"/>
                <a:gd name="connsiteY75" fmla="*/ 200025 h 493574"/>
                <a:gd name="connsiteX76" fmla="*/ 1262063 w 2931319"/>
                <a:gd name="connsiteY76" fmla="*/ 202406 h 493574"/>
                <a:gd name="connsiteX77" fmla="*/ 1276350 w 2931319"/>
                <a:gd name="connsiteY77" fmla="*/ 216693 h 493574"/>
                <a:gd name="connsiteX78" fmla="*/ 1297782 w 2931319"/>
                <a:gd name="connsiteY78" fmla="*/ 238125 h 493574"/>
                <a:gd name="connsiteX79" fmla="*/ 1304925 w 2931319"/>
                <a:gd name="connsiteY79" fmla="*/ 242887 h 493574"/>
                <a:gd name="connsiteX80" fmla="*/ 1314450 w 2931319"/>
                <a:gd name="connsiteY80" fmla="*/ 264318 h 493574"/>
                <a:gd name="connsiteX81" fmla="*/ 1328738 w 2931319"/>
                <a:gd name="connsiteY81" fmla="*/ 276225 h 493574"/>
                <a:gd name="connsiteX82" fmla="*/ 1343025 w 2931319"/>
                <a:gd name="connsiteY82" fmla="*/ 280987 h 493574"/>
                <a:gd name="connsiteX83" fmla="*/ 1350169 w 2931319"/>
                <a:gd name="connsiteY83" fmla="*/ 283368 h 493574"/>
                <a:gd name="connsiteX84" fmla="*/ 1373982 w 2931319"/>
                <a:gd name="connsiteY84" fmla="*/ 288131 h 493574"/>
                <a:gd name="connsiteX85" fmla="*/ 1447800 w 2931319"/>
                <a:gd name="connsiteY85" fmla="*/ 285750 h 493574"/>
                <a:gd name="connsiteX86" fmla="*/ 1457325 w 2931319"/>
                <a:gd name="connsiteY86" fmla="*/ 271462 h 493574"/>
                <a:gd name="connsiteX87" fmla="*/ 1471613 w 2931319"/>
                <a:gd name="connsiteY87" fmla="*/ 261937 h 493574"/>
                <a:gd name="connsiteX88" fmla="*/ 1478757 w 2931319"/>
                <a:gd name="connsiteY88" fmla="*/ 254793 h 493574"/>
                <a:gd name="connsiteX89" fmla="*/ 1485900 w 2931319"/>
                <a:gd name="connsiteY89" fmla="*/ 252412 h 493574"/>
                <a:gd name="connsiteX90" fmla="*/ 1502569 w 2931319"/>
                <a:gd name="connsiteY90" fmla="*/ 242887 h 493574"/>
                <a:gd name="connsiteX91" fmla="*/ 1533525 w 2931319"/>
                <a:gd name="connsiteY91" fmla="*/ 238125 h 493574"/>
                <a:gd name="connsiteX92" fmla="*/ 1543050 w 2931319"/>
                <a:gd name="connsiteY92" fmla="*/ 235743 h 493574"/>
                <a:gd name="connsiteX93" fmla="*/ 1550194 w 2931319"/>
                <a:gd name="connsiteY93" fmla="*/ 233362 h 493574"/>
                <a:gd name="connsiteX94" fmla="*/ 1566863 w 2931319"/>
                <a:gd name="connsiteY94" fmla="*/ 230981 h 493574"/>
                <a:gd name="connsiteX95" fmla="*/ 1588294 w 2931319"/>
                <a:gd name="connsiteY95" fmla="*/ 223837 h 493574"/>
                <a:gd name="connsiteX96" fmla="*/ 1602582 w 2931319"/>
                <a:gd name="connsiteY96" fmla="*/ 219075 h 493574"/>
                <a:gd name="connsiteX97" fmla="*/ 1616869 w 2931319"/>
                <a:gd name="connsiteY97" fmla="*/ 216693 h 493574"/>
                <a:gd name="connsiteX98" fmla="*/ 1647825 w 2931319"/>
                <a:gd name="connsiteY98" fmla="*/ 207168 h 493574"/>
                <a:gd name="connsiteX99" fmla="*/ 1657350 w 2931319"/>
                <a:gd name="connsiteY99" fmla="*/ 204787 h 493574"/>
                <a:gd name="connsiteX100" fmla="*/ 1664494 w 2931319"/>
                <a:gd name="connsiteY100" fmla="*/ 197643 h 493574"/>
                <a:gd name="connsiteX101" fmla="*/ 1671638 w 2931319"/>
                <a:gd name="connsiteY101" fmla="*/ 192881 h 493574"/>
                <a:gd name="connsiteX102" fmla="*/ 1683544 w 2931319"/>
                <a:gd name="connsiteY102" fmla="*/ 180975 h 493574"/>
                <a:gd name="connsiteX103" fmla="*/ 1693069 w 2931319"/>
                <a:gd name="connsiteY103" fmla="*/ 164306 h 493574"/>
                <a:gd name="connsiteX104" fmla="*/ 1697832 w 2931319"/>
                <a:gd name="connsiteY104" fmla="*/ 154781 h 493574"/>
                <a:gd name="connsiteX105" fmla="*/ 1702594 w 2931319"/>
                <a:gd name="connsiteY105" fmla="*/ 147637 h 493574"/>
                <a:gd name="connsiteX106" fmla="*/ 1714500 w 2931319"/>
                <a:gd name="connsiteY106" fmla="*/ 126206 h 493574"/>
                <a:gd name="connsiteX107" fmla="*/ 1721644 w 2931319"/>
                <a:gd name="connsiteY107" fmla="*/ 119062 h 493574"/>
                <a:gd name="connsiteX108" fmla="*/ 1726407 w 2931319"/>
                <a:gd name="connsiteY108" fmla="*/ 111918 h 493574"/>
                <a:gd name="connsiteX109" fmla="*/ 1733550 w 2931319"/>
                <a:gd name="connsiteY109" fmla="*/ 104775 h 493574"/>
                <a:gd name="connsiteX110" fmla="*/ 1738313 w 2931319"/>
                <a:gd name="connsiteY110" fmla="*/ 97631 h 493574"/>
                <a:gd name="connsiteX111" fmla="*/ 1747838 w 2931319"/>
                <a:gd name="connsiteY111" fmla="*/ 92868 h 493574"/>
                <a:gd name="connsiteX112" fmla="*/ 1754982 w 2931319"/>
                <a:gd name="connsiteY112" fmla="*/ 88106 h 493574"/>
                <a:gd name="connsiteX113" fmla="*/ 1759744 w 2931319"/>
                <a:gd name="connsiteY113" fmla="*/ 61912 h 493574"/>
                <a:gd name="connsiteX114" fmla="*/ 1764507 w 2931319"/>
                <a:gd name="connsiteY114" fmla="*/ 54768 h 493574"/>
                <a:gd name="connsiteX115" fmla="*/ 1771650 w 2931319"/>
                <a:gd name="connsiteY115" fmla="*/ 38100 h 493574"/>
                <a:gd name="connsiteX116" fmla="*/ 1778794 w 2931319"/>
                <a:gd name="connsiteY116" fmla="*/ 35718 h 493574"/>
                <a:gd name="connsiteX117" fmla="*/ 1785938 w 2931319"/>
                <a:gd name="connsiteY117" fmla="*/ 30956 h 493574"/>
                <a:gd name="connsiteX118" fmla="*/ 1816894 w 2931319"/>
                <a:gd name="connsiteY118" fmla="*/ 38100 h 493574"/>
                <a:gd name="connsiteX119" fmla="*/ 1833563 w 2931319"/>
                <a:gd name="connsiteY119" fmla="*/ 47625 h 493574"/>
                <a:gd name="connsiteX120" fmla="*/ 1864519 w 2931319"/>
                <a:gd name="connsiteY120" fmla="*/ 57150 h 493574"/>
                <a:gd name="connsiteX121" fmla="*/ 1878807 w 2931319"/>
                <a:gd name="connsiteY121" fmla="*/ 61912 h 493574"/>
                <a:gd name="connsiteX122" fmla="*/ 1888332 w 2931319"/>
                <a:gd name="connsiteY122" fmla="*/ 64293 h 493574"/>
                <a:gd name="connsiteX123" fmla="*/ 1902619 w 2931319"/>
                <a:gd name="connsiteY123" fmla="*/ 71437 h 493574"/>
                <a:gd name="connsiteX124" fmla="*/ 1912144 w 2931319"/>
                <a:gd name="connsiteY124" fmla="*/ 73818 h 493574"/>
                <a:gd name="connsiteX125" fmla="*/ 1919288 w 2931319"/>
                <a:gd name="connsiteY125" fmla="*/ 78581 h 493574"/>
                <a:gd name="connsiteX126" fmla="*/ 1940719 w 2931319"/>
                <a:gd name="connsiteY126" fmla="*/ 83343 h 493574"/>
                <a:gd name="connsiteX127" fmla="*/ 1950244 w 2931319"/>
                <a:gd name="connsiteY127" fmla="*/ 85725 h 493574"/>
                <a:gd name="connsiteX128" fmla="*/ 1962150 w 2931319"/>
                <a:gd name="connsiteY128" fmla="*/ 88106 h 493574"/>
                <a:gd name="connsiteX129" fmla="*/ 1969294 w 2931319"/>
                <a:gd name="connsiteY129" fmla="*/ 90487 h 493574"/>
                <a:gd name="connsiteX130" fmla="*/ 1988344 w 2931319"/>
                <a:gd name="connsiteY130" fmla="*/ 95250 h 493574"/>
                <a:gd name="connsiteX131" fmla="*/ 2024063 w 2931319"/>
                <a:gd name="connsiteY131" fmla="*/ 92868 h 493574"/>
                <a:gd name="connsiteX132" fmla="*/ 2040732 w 2931319"/>
                <a:gd name="connsiteY132" fmla="*/ 83343 h 493574"/>
                <a:gd name="connsiteX133" fmla="*/ 2047875 w 2931319"/>
                <a:gd name="connsiteY133" fmla="*/ 80962 h 493574"/>
                <a:gd name="connsiteX134" fmla="*/ 2057400 w 2931319"/>
                <a:gd name="connsiteY134" fmla="*/ 76200 h 493574"/>
                <a:gd name="connsiteX135" fmla="*/ 2076450 w 2931319"/>
                <a:gd name="connsiteY135" fmla="*/ 71437 h 493574"/>
                <a:gd name="connsiteX136" fmla="*/ 2100263 w 2931319"/>
                <a:gd name="connsiteY136" fmla="*/ 59531 h 493574"/>
                <a:gd name="connsiteX137" fmla="*/ 2109788 w 2931319"/>
                <a:gd name="connsiteY137" fmla="*/ 54768 h 493574"/>
                <a:gd name="connsiteX138" fmla="*/ 2124075 w 2931319"/>
                <a:gd name="connsiteY138" fmla="*/ 50006 h 493574"/>
                <a:gd name="connsiteX139" fmla="*/ 2140744 w 2931319"/>
                <a:gd name="connsiteY139" fmla="*/ 38100 h 493574"/>
                <a:gd name="connsiteX140" fmla="*/ 2155032 w 2931319"/>
                <a:gd name="connsiteY140" fmla="*/ 30956 h 493574"/>
                <a:gd name="connsiteX141" fmla="*/ 2164557 w 2931319"/>
                <a:gd name="connsiteY141" fmla="*/ 16668 h 493574"/>
                <a:gd name="connsiteX142" fmla="*/ 2174082 w 2931319"/>
                <a:gd name="connsiteY142" fmla="*/ 0 h 493574"/>
                <a:gd name="connsiteX143" fmla="*/ 2216944 w 2931319"/>
                <a:gd name="connsiteY143" fmla="*/ 2381 h 493574"/>
                <a:gd name="connsiteX144" fmla="*/ 2226469 w 2931319"/>
                <a:gd name="connsiteY144" fmla="*/ 19050 h 493574"/>
                <a:gd name="connsiteX145" fmla="*/ 2247900 w 2931319"/>
                <a:gd name="connsiteY145" fmla="*/ 35718 h 493574"/>
                <a:gd name="connsiteX146" fmla="*/ 2319338 w 2931319"/>
                <a:gd name="connsiteY146" fmla="*/ 42862 h 493574"/>
                <a:gd name="connsiteX147" fmla="*/ 2340769 w 2931319"/>
                <a:gd name="connsiteY147" fmla="*/ 50006 h 493574"/>
                <a:gd name="connsiteX148" fmla="*/ 2369344 w 2931319"/>
                <a:gd name="connsiteY148" fmla="*/ 54768 h 493574"/>
                <a:gd name="connsiteX149" fmla="*/ 2381250 w 2931319"/>
                <a:gd name="connsiteY149" fmla="*/ 57150 h 493574"/>
                <a:gd name="connsiteX150" fmla="*/ 2390775 w 2931319"/>
                <a:gd name="connsiteY150" fmla="*/ 59531 h 493574"/>
                <a:gd name="connsiteX151" fmla="*/ 2462213 w 2931319"/>
                <a:gd name="connsiteY151" fmla="*/ 64293 h 493574"/>
                <a:gd name="connsiteX152" fmla="*/ 2466975 w 2931319"/>
                <a:gd name="connsiteY152" fmla="*/ 71437 h 493574"/>
                <a:gd name="connsiteX153" fmla="*/ 2476500 w 2931319"/>
                <a:gd name="connsiteY153" fmla="*/ 76200 h 493574"/>
                <a:gd name="connsiteX154" fmla="*/ 2483644 w 2931319"/>
                <a:gd name="connsiteY154" fmla="*/ 80962 h 493574"/>
                <a:gd name="connsiteX155" fmla="*/ 2488407 w 2931319"/>
                <a:gd name="connsiteY155" fmla="*/ 88106 h 493574"/>
                <a:gd name="connsiteX156" fmla="*/ 2533650 w 2931319"/>
                <a:gd name="connsiteY156" fmla="*/ 97631 h 493574"/>
                <a:gd name="connsiteX157" fmla="*/ 2564607 w 2931319"/>
                <a:gd name="connsiteY157" fmla="*/ 95250 h 493574"/>
                <a:gd name="connsiteX158" fmla="*/ 2581275 w 2931319"/>
                <a:gd name="connsiteY158" fmla="*/ 88106 h 493574"/>
                <a:gd name="connsiteX159" fmla="*/ 2593182 w 2931319"/>
                <a:gd name="connsiteY159" fmla="*/ 85725 h 493574"/>
                <a:gd name="connsiteX160" fmla="*/ 2657475 w 2931319"/>
                <a:gd name="connsiteY160" fmla="*/ 80962 h 493574"/>
                <a:gd name="connsiteX161" fmla="*/ 2678907 w 2931319"/>
                <a:gd name="connsiteY161" fmla="*/ 78581 h 493574"/>
                <a:gd name="connsiteX162" fmla="*/ 2695575 w 2931319"/>
                <a:gd name="connsiteY162" fmla="*/ 76200 h 493574"/>
                <a:gd name="connsiteX163" fmla="*/ 2707482 w 2931319"/>
                <a:gd name="connsiteY163" fmla="*/ 61912 h 493574"/>
                <a:gd name="connsiteX164" fmla="*/ 2714625 w 2931319"/>
                <a:gd name="connsiteY164" fmla="*/ 59531 h 493574"/>
                <a:gd name="connsiteX165" fmla="*/ 2736057 w 2931319"/>
                <a:gd name="connsiteY165" fmla="*/ 52387 h 493574"/>
                <a:gd name="connsiteX166" fmla="*/ 2750344 w 2931319"/>
                <a:gd name="connsiteY166" fmla="*/ 47625 h 493574"/>
                <a:gd name="connsiteX167" fmla="*/ 2774157 w 2931319"/>
                <a:gd name="connsiteY167" fmla="*/ 50006 h 493574"/>
                <a:gd name="connsiteX168" fmla="*/ 2783682 w 2931319"/>
                <a:gd name="connsiteY168" fmla="*/ 52387 h 493574"/>
                <a:gd name="connsiteX169" fmla="*/ 2817019 w 2931319"/>
                <a:gd name="connsiteY169" fmla="*/ 57150 h 493574"/>
                <a:gd name="connsiteX170" fmla="*/ 2819400 w 2931319"/>
                <a:gd name="connsiteY170" fmla="*/ 64293 h 493574"/>
                <a:gd name="connsiteX171" fmla="*/ 2828925 w 2931319"/>
                <a:gd name="connsiteY171" fmla="*/ 71437 h 493574"/>
                <a:gd name="connsiteX172" fmla="*/ 2836069 w 2931319"/>
                <a:gd name="connsiteY172" fmla="*/ 73818 h 493574"/>
                <a:gd name="connsiteX173" fmla="*/ 2888457 w 2931319"/>
                <a:gd name="connsiteY173" fmla="*/ 76200 h 493574"/>
                <a:gd name="connsiteX174" fmla="*/ 2895600 w 2931319"/>
                <a:gd name="connsiteY174" fmla="*/ 73818 h 493574"/>
                <a:gd name="connsiteX175" fmla="*/ 2909888 w 2931319"/>
                <a:gd name="connsiteY175" fmla="*/ 59531 h 493574"/>
                <a:gd name="connsiteX176" fmla="*/ 2917032 w 2931319"/>
                <a:gd name="connsiteY176" fmla="*/ 57150 h 493574"/>
                <a:gd name="connsiteX177" fmla="*/ 2924175 w 2931319"/>
                <a:gd name="connsiteY177" fmla="*/ 52387 h 493574"/>
                <a:gd name="connsiteX178" fmla="*/ 2931319 w 2931319"/>
                <a:gd name="connsiteY178" fmla="*/ 45243 h 49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2931319" h="493574">
                  <a:moveTo>
                    <a:pt x="0" y="373856"/>
                  </a:moveTo>
                  <a:lnTo>
                    <a:pt x="0" y="373856"/>
                  </a:lnTo>
                  <a:cubicBezTo>
                    <a:pt x="6350" y="377031"/>
                    <a:pt x="13596" y="378836"/>
                    <a:pt x="19050" y="383381"/>
                  </a:cubicBezTo>
                  <a:cubicBezTo>
                    <a:pt x="23447" y="387045"/>
                    <a:pt x="25400" y="392906"/>
                    <a:pt x="28575" y="397668"/>
                  </a:cubicBezTo>
                  <a:cubicBezTo>
                    <a:pt x="33734" y="405406"/>
                    <a:pt x="36514" y="411560"/>
                    <a:pt x="47625" y="414337"/>
                  </a:cubicBezTo>
                  <a:cubicBezTo>
                    <a:pt x="65656" y="418844"/>
                    <a:pt x="53891" y="416422"/>
                    <a:pt x="83344" y="419100"/>
                  </a:cubicBezTo>
                  <a:cubicBezTo>
                    <a:pt x="95251" y="427037"/>
                    <a:pt x="88901" y="421481"/>
                    <a:pt x="100013" y="438150"/>
                  </a:cubicBezTo>
                  <a:cubicBezTo>
                    <a:pt x="101405" y="440239"/>
                    <a:pt x="104776" y="439737"/>
                    <a:pt x="107157" y="440531"/>
                  </a:cubicBezTo>
                  <a:cubicBezTo>
                    <a:pt x="114829" y="448204"/>
                    <a:pt x="113376" y="448258"/>
                    <a:pt x="123825" y="452437"/>
                  </a:cubicBezTo>
                  <a:cubicBezTo>
                    <a:pt x="128486" y="454301"/>
                    <a:pt x="133936" y="454415"/>
                    <a:pt x="138113" y="457200"/>
                  </a:cubicBezTo>
                  <a:cubicBezTo>
                    <a:pt x="149274" y="464640"/>
                    <a:pt x="142434" y="461492"/>
                    <a:pt x="159544" y="464343"/>
                  </a:cubicBezTo>
                  <a:lnTo>
                    <a:pt x="173832" y="473868"/>
                  </a:lnTo>
                  <a:cubicBezTo>
                    <a:pt x="175920" y="475260"/>
                    <a:pt x="178668" y="475261"/>
                    <a:pt x="180975" y="476250"/>
                  </a:cubicBezTo>
                  <a:cubicBezTo>
                    <a:pt x="184238" y="477648"/>
                    <a:pt x="187418" y="479251"/>
                    <a:pt x="190500" y="481012"/>
                  </a:cubicBezTo>
                  <a:cubicBezTo>
                    <a:pt x="192985" y="482432"/>
                    <a:pt x="194903" y="484953"/>
                    <a:pt x="197644" y="485775"/>
                  </a:cubicBezTo>
                  <a:cubicBezTo>
                    <a:pt x="203020" y="487388"/>
                    <a:pt x="208757" y="487362"/>
                    <a:pt x="214313" y="488156"/>
                  </a:cubicBezTo>
                  <a:cubicBezTo>
                    <a:pt x="239920" y="496691"/>
                    <a:pt x="223591" y="493252"/>
                    <a:pt x="264319" y="490537"/>
                  </a:cubicBezTo>
                  <a:lnTo>
                    <a:pt x="278607" y="485775"/>
                  </a:lnTo>
                  <a:cubicBezTo>
                    <a:pt x="281975" y="484653"/>
                    <a:pt x="284869" y="482410"/>
                    <a:pt x="288132" y="481012"/>
                  </a:cubicBezTo>
                  <a:cubicBezTo>
                    <a:pt x="290439" y="480023"/>
                    <a:pt x="292894" y="479425"/>
                    <a:pt x="295275" y="478631"/>
                  </a:cubicBezTo>
                  <a:cubicBezTo>
                    <a:pt x="311652" y="467714"/>
                    <a:pt x="304133" y="470916"/>
                    <a:pt x="316707" y="466725"/>
                  </a:cubicBezTo>
                  <a:lnTo>
                    <a:pt x="330994" y="457200"/>
                  </a:lnTo>
                  <a:cubicBezTo>
                    <a:pt x="335171" y="454415"/>
                    <a:pt x="345282" y="452437"/>
                    <a:pt x="345282" y="452437"/>
                  </a:cubicBezTo>
                  <a:cubicBezTo>
                    <a:pt x="378897" y="454538"/>
                    <a:pt x="381235" y="456533"/>
                    <a:pt x="411957" y="452437"/>
                  </a:cubicBezTo>
                  <a:cubicBezTo>
                    <a:pt x="414445" y="452105"/>
                    <a:pt x="416719" y="450850"/>
                    <a:pt x="419100" y="450056"/>
                  </a:cubicBezTo>
                  <a:cubicBezTo>
                    <a:pt x="422135" y="445504"/>
                    <a:pt x="426071" y="438589"/>
                    <a:pt x="431007" y="435768"/>
                  </a:cubicBezTo>
                  <a:cubicBezTo>
                    <a:pt x="433849" y="434144"/>
                    <a:pt x="437263" y="433532"/>
                    <a:pt x="440532" y="433387"/>
                  </a:cubicBezTo>
                  <a:cubicBezTo>
                    <a:pt x="473053" y="431942"/>
                    <a:pt x="505619" y="431800"/>
                    <a:pt x="538163" y="431006"/>
                  </a:cubicBezTo>
                  <a:cubicBezTo>
                    <a:pt x="553244" y="430212"/>
                    <a:pt x="568357" y="429879"/>
                    <a:pt x="583407" y="428625"/>
                  </a:cubicBezTo>
                  <a:cubicBezTo>
                    <a:pt x="587440" y="428289"/>
                    <a:pt x="591629" y="427918"/>
                    <a:pt x="595313" y="426243"/>
                  </a:cubicBezTo>
                  <a:cubicBezTo>
                    <a:pt x="629956" y="410495"/>
                    <a:pt x="593965" y="420626"/>
                    <a:pt x="619125" y="414337"/>
                  </a:cubicBezTo>
                  <a:cubicBezTo>
                    <a:pt x="626269" y="415131"/>
                    <a:pt x="633509" y="415308"/>
                    <a:pt x="640557" y="416718"/>
                  </a:cubicBezTo>
                  <a:cubicBezTo>
                    <a:pt x="687757" y="426158"/>
                    <a:pt x="629462" y="416723"/>
                    <a:pt x="664369" y="426243"/>
                  </a:cubicBezTo>
                  <a:cubicBezTo>
                    <a:pt x="669784" y="427720"/>
                    <a:pt x="675439" y="428225"/>
                    <a:pt x="681038" y="428625"/>
                  </a:cubicBezTo>
                  <a:cubicBezTo>
                    <a:pt x="697683" y="429814"/>
                    <a:pt x="714375" y="430212"/>
                    <a:pt x="731044" y="431006"/>
                  </a:cubicBezTo>
                  <a:lnTo>
                    <a:pt x="752475" y="438150"/>
                  </a:lnTo>
                  <a:cubicBezTo>
                    <a:pt x="756315" y="439430"/>
                    <a:pt x="760455" y="439549"/>
                    <a:pt x="764382" y="440531"/>
                  </a:cubicBezTo>
                  <a:cubicBezTo>
                    <a:pt x="766817" y="441140"/>
                    <a:pt x="769144" y="442118"/>
                    <a:pt x="771525" y="442912"/>
                  </a:cubicBezTo>
                  <a:cubicBezTo>
                    <a:pt x="773906" y="444500"/>
                    <a:pt x="776038" y="446548"/>
                    <a:pt x="778669" y="447675"/>
                  </a:cubicBezTo>
                  <a:cubicBezTo>
                    <a:pt x="783189" y="449612"/>
                    <a:pt x="799260" y="451900"/>
                    <a:pt x="802482" y="452437"/>
                  </a:cubicBezTo>
                  <a:cubicBezTo>
                    <a:pt x="807244" y="451643"/>
                    <a:pt x="813103" y="453198"/>
                    <a:pt x="816769" y="450056"/>
                  </a:cubicBezTo>
                  <a:cubicBezTo>
                    <a:pt x="819842" y="447422"/>
                    <a:pt x="818648" y="442166"/>
                    <a:pt x="819150" y="438150"/>
                  </a:cubicBezTo>
                  <a:cubicBezTo>
                    <a:pt x="821738" y="417451"/>
                    <a:pt x="819887" y="416156"/>
                    <a:pt x="823913" y="400050"/>
                  </a:cubicBezTo>
                  <a:cubicBezTo>
                    <a:pt x="824522" y="397615"/>
                    <a:pt x="824902" y="394995"/>
                    <a:pt x="826294" y="392906"/>
                  </a:cubicBezTo>
                  <a:cubicBezTo>
                    <a:pt x="828162" y="390104"/>
                    <a:pt x="830851" y="387918"/>
                    <a:pt x="833438" y="385762"/>
                  </a:cubicBezTo>
                  <a:cubicBezTo>
                    <a:pt x="840123" y="380191"/>
                    <a:pt x="841445" y="380543"/>
                    <a:pt x="850107" y="378618"/>
                  </a:cubicBezTo>
                  <a:cubicBezTo>
                    <a:pt x="870727" y="374035"/>
                    <a:pt x="861644" y="376988"/>
                    <a:pt x="892969" y="373856"/>
                  </a:cubicBezTo>
                  <a:cubicBezTo>
                    <a:pt x="902203" y="372933"/>
                    <a:pt x="910417" y="371717"/>
                    <a:pt x="919163" y="369093"/>
                  </a:cubicBezTo>
                  <a:cubicBezTo>
                    <a:pt x="923971" y="367650"/>
                    <a:pt x="928443" y="364689"/>
                    <a:pt x="933450" y="364331"/>
                  </a:cubicBezTo>
                  <a:lnTo>
                    <a:pt x="966788" y="361950"/>
                  </a:lnTo>
                  <a:cubicBezTo>
                    <a:pt x="971616" y="360743"/>
                    <a:pt x="978678" y="359235"/>
                    <a:pt x="983457" y="357187"/>
                  </a:cubicBezTo>
                  <a:cubicBezTo>
                    <a:pt x="986720" y="355789"/>
                    <a:pt x="989807" y="354012"/>
                    <a:pt x="992982" y="352425"/>
                  </a:cubicBezTo>
                  <a:cubicBezTo>
                    <a:pt x="995363" y="350044"/>
                    <a:pt x="998257" y="348083"/>
                    <a:pt x="1000125" y="345281"/>
                  </a:cubicBezTo>
                  <a:cubicBezTo>
                    <a:pt x="1001517" y="343192"/>
                    <a:pt x="1000900" y="340065"/>
                    <a:pt x="1002507" y="338137"/>
                  </a:cubicBezTo>
                  <a:cubicBezTo>
                    <a:pt x="1008052" y="331483"/>
                    <a:pt x="1012053" y="330986"/>
                    <a:pt x="1019175" y="328612"/>
                  </a:cubicBezTo>
                  <a:cubicBezTo>
                    <a:pt x="1024442" y="323345"/>
                    <a:pt x="1026831" y="320021"/>
                    <a:pt x="1033463" y="316706"/>
                  </a:cubicBezTo>
                  <a:cubicBezTo>
                    <a:pt x="1035708" y="315584"/>
                    <a:pt x="1038226" y="315119"/>
                    <a:pt x="1040607" y="314325"/>
                  </a:cubicBezTo>
                  <a:cubicBezTo>
                    <a:pt x="1042988" y="312737"/>
                    <a:pt x="1045061" y="310540"/>
                    <a:pt x="1047750" y="309562"/>
                  </a:cubicBezTo>
                  <a:cubicBezTo>
                    <a:pt x="1073775" y="300098"/>
                    <a:pt x="1058550" y="308342"/>
                    <a:pt x="1076325" y="302418"/>
                  </a:cubicBezTo>
                  <a:lnTo>
                    <a:pt x="1090613" y="297656"/>
                  </a:lnTo>
                  <a:cubicBezTo>
                    <a:pt x="1095880" y="292389"/>
                    <a:pt x="1098269" y="289065"/>
                    <a:pt x="1104900" y="285750"/>
                  </a:cubicBezTo>
                  <a:cubicBezTo>
                    <a:pt x="1124622" y="275888"/>
                    <a:pt x="1098710" y="292256"/>
                    <a:pt x="1119188" y="278606"/>
                  </a:cubicBezTo>
                  <a:cubicBezTo>
                    <a:pt x="1125171" y="260653"/>
                    <a:pt x="1117101" y="282779"/>
                    <a:pt x="1126332" y="264318"/>
                  </a:cubicBezTo>
                  <a:cubicBezTo>
                    <a:pt x="1128235" y="260512"/>
                    <a:pt x="1130077" y="251210"/>
                    <a:pt x="1131094" y="247650"/>
                  </a:cubicBezTo>
                  <a:cubicBezTo>
                    <a:pt x="1131784" y="245236"/>
                    <a:pt x="1132256" y="242700"/>
                    <a:pt x="1133475" y="240506"/>
                  </a:cubicBezTo>
                  <a:cubicBezTo>
                    <a:pt x="1133489" y="240482"/>
                    <a:pt x="1145374" y="222658"/>
                    <a:pt x="1147763" y="219075"/>
                  </a:cubicBezTo>
                  <a:cubicBezTo>
                    <a:pt x="1151500" y="213471"/>
                    <a:pt x="1157288" y="209550"/>
                    <a:pt x="1162050" y="204787"/>
                  </a:cubicBezTo>
                  <a:cubicBezTo>
                    <a:pt x="1173242" y="193594"/>
                    <a:pt x="1167324" y="200448"/>
                    <a:pt x="1178719" y="183356"/>
                  </a:cubicBezTo>
                  <a:cubicBezTo>
                    <a:pt x="1181894" y="178593"/>
                    <a:pt x="1193007" y="173831"/>
                    <a:pt x="1193007" y="173831"/>
                  </a:cubicBezTo>
                  <a:cubicBezTo>
                    <a:pt x="1194478" y="171624"/>
                    <a:pt x="1199161" y="161430"/>
                    <a:pt x="1204913" y="164306"/>
                  </a:cubicBezTo>
                  <a:cubicBezTo>
                    <a:pt x="1207158" y="165429"/>
                    <a:pt x="1206171" y="169205"/>
                    <a:pt x="1207294" y="171450"/>
                  </a:cubicBezTo>
                  <a:cubicBezTo>
                    <a:pt x="1208574" y="174010"/>
                    <a:pt x="1210033" y="176569"/>
                    <a:pt x="1212057" y="178593"/>
                  </a:cubicBezTo>
                  <a:cubicBezTo>
                    <a:pt x="1216675" y="183211"/>
                    <a:pt x="1220532" y="183800"/>
                    <a:pt x="1226344" y="185737"/>
                  </a:cubicBezTo>
                  <a:cubicBezTo>
                    <a:pt x="1228725" y="187325"/>
                    <a:pt x="1230873" y="189338"/>
                    <a:pt x="1233488" y="190500"/>
                  </a:cubicBezTo>
                  <a:cubicBezTo>
                    <a:pt x="1238075" y="192539"/>
                    <a:pt x="1247775" y="195262"/>
                    <a:pt x="1247775" y="195262"/>
                  </a:cubicBezTo>
                  <a:cubicBezTo>
                    <a:pt x="1250156" y="196850"/>
                    <a:pt x="1252359" y="198745"/>
                    <a:pt x="1254919" y="200025"/>
                  </a:cubicBezTo>
                  <a:cubicBezTo>
                    <a:pt x="1257164" y="201148"/>
                    <a:pt x="1260082" y="200865"/>
                    <a:pt x="1262063" y="202406"/>
                  </a:cubicBezTo>
                  <a:cubicBezTo>
                    <a:pt x="1267379" y="206541"/>
                    <a:pt x="1271588" y="211931"/>
                    <a:pt x="1276350" y="216693"/>
                  </a:cubicBezTo>
                  <a:lnTo>
                    <a:pt x="1297782" y="238125"/>
                  </a:lnTo>
                  <a:cubicBezTo>
                    <a:pt x="1299805" y="240148"/>
                    <a:pt x="1302544" y="241300"/>
                    <a:pt x="1304925" y="242887"/>
                  </a:cubicBezTo>
                  <a:cubicBezTo>
                    <a:pt x="1312473" y="254208"/>
                    <a:pt x="1308783" y="247316"/>
                    <a:pt x="1314450" y="264318"/>
                  </a:cubicBezTo>
                  <a:cubicBezTo>
                    <a:pt x="1315425" y="267243"/>
                    <a:pt x="1325755" y="274899"/>
                    <a:pt x="1328738" y="276225"/>
                  </a:cubicBezTo>
                  <a:cubicBezTo>
                    <a:pt x="1333325" y="278264"/>
                    <a:pt x="1338263" y="279400"/>
                    <a:pt x="1343025" y="280987"/>
                  </a:cubicBezTo>
                  <a:cubicBezTo>
                    <a:pt x="1345406" y="281781"/>
                    <a:pt x="1347708" y="282876"/>
                    <a:pt x="1350169" y="283368"/>
                  </a:cubicBezTo>
                  <a:lnTo>
                    <a:pt x="1373982" y="288131"/>
                  </a:lnTo>
                  <a:cubicBezTo>
                    <a:pt x="1398588" y="287337"/>
                    <a:pt x="1423659" y="290578"/>
                    <a:pt x="1447800" y="285750"/>
                  </a:cubicBezTo>
                  <a:cubicBezTo>
                    <a:pt x="1453413" y="284627"/>
                    <a:pt x="1452562" y="274637"/>
                    <a:pt x="1457325" y="271462"/>
                  </a:cubicBezTo>
                  <a:cubicBezTo>
                    <a:pt x="1462088" y="268287"/>
                    <a:pt x="1467566" y="265984"/>
                    <a:pt x="1471613" y="261937"/>
                  </a:cubicBezTo>
                  <a:cubicBezTo>
                    <a:pt x="1473994" y="259556"/>
                    <a:pt x="1475955" y="256661"/>
                    <a:pt x="1478757" y="254793"/>
                  </a:cubicBezTo>
                  <a:cubicBezTo>
                    <a:pt x="1480845" y="253401"/>
                    <a:pt x="1483655" y="253534"/>
                    <a:pt x="1485900" y="252412"/>
                  </a:cubicBezTo>
                  <a:cubicBezTo>
                    <a:pt x="1496347" y="247189"/>
                    <a:pt x="1490051" y="247060"/>
                    <a:pt x="1502569" y="242887"/>
                  </a:cubicBezTo>
                  <a:cubicBezTo>
                    <a:pt x="1509113" y="240706"/>
                    <a:pt x="1528859" y="238708"/>
                    <a:pt x="1533525" y="238125"/>
                  </a:cubicBezTo>
                  <a:cubicBezTo>
                    <a:pt x="1536700" y="237331"/>
                    <a:pt x="1539903" y="236642"/>
                    <a:pt x="1543050" y="235743"/>
                  </a:cubicBezTo>
                  <a:cubicBezTo>
                    <a:pt x="1545464" y="235053"/>
                    <a:pt x="1547733" y="233854"/>
                    <a:pt x="1550194" y="233362"/>
                  </a:cubicBezTo>
                  <a:cubicBezTo>
                    <a:pt x="1555698" y="232261"/>
                    <a:pt x="1561307" y="231775"/>
                    <a:pt x="1566863" y="230981"/>
                  </a:cubicBezTo>
                  <a:cubicBezTo>
                    <a:pt x="1580052" y="222188"/>
                    <a:pt x="1567763" y="228969"/>
                    <a:pt x="1588294" y="223837"/>
                  </a:cubicBezTo>
                  <a:cubicBezTo>
                    <a:pt x="1593164" y="222620"/>
                    <a:pt x="1597630" y="219901"/>
                    <a:pt x="1602582" y="219075"/>
                  </a:cubicBezTo>
                  <a:cubicBezTo>
                    <a:pt x="1607344" y="218281"/>
                    <a:pt x="1612135" y="217640"/>
                    <a:pt x="1616869" y="216693"/>
                  </a:cubicBezTo>
                  <a:cubicBezTo>
                    <a:pt x="1627481" y="214570"/>
                    <a:pt x="1637590" y="210581"/>
                    <a:pt x="1647825" y="207168"/>
                  </a:cubicBezTo>
                  <a:cubicBezTo>
                    <a:pt x="1650930" y="206133"/>
                    <a:pt x="1654175" y="205581"/>
                    <a:pt x="1657350" y="204787"/>
                  </a:cubicBezTo>
                  <a:cubicBezTo>
                    <a:pt x="1659731" y="202406"/>
                    <a:pt x="1661907" y="199799"/>
                    <a:pt x="1664494" y="197643"/>
                  </a:cubicBezTo>
                  <a:cubicBezTo>
                    <a:pt x="1666693" y="195811"/>
                    <a:pt x="1669614" y="194905"/>
                    <a:pt x="1671638" y="192881"/>
                  </a:cubicBezTo>
                  <a:cubicBezTo>
                    <a:pt x="1687513" y="177006"/>
                    <a:pt x="1664493" y="193674"/>
                    <a:pt x="1683544" y="180975"/>
                  </a:cubicBezTo>
                  <a:cubicBezTo>
                    <a:pt x="1697938" y="152191"/>
                    <a:pt x="1679606" y="187867"/>
                    <a:pt x="1693069" y="164306"/>
                  </a:cubicBezTo>
                  <a:cubicBezTo>
                    <a:pt x="1694830" y="161224"/>
                    <a:pt x="1696071" y="157863"/>
                    <a:pt x="1697832" y="154781"/>
                  </a:cubicBezTo>
                  <a:cubicBezTo>
                    <a:pt x="1699252" y="152296"/>
                    <a:pt x="1701314" y="150197"/>
                    <a:pt x="1702594" y="147637"/>
                  </a:cubicBezTo>
                  <a:cubicBezTo>
                    <a:pt x="1708582" y="135659"/>
                    <a:pt x="1699485" y="141221"/>
                    <a:pt x="1714500" y="126206"/>
                  </a:cubicBezTo>
                  <a:cubicBezTo>
                    <a:pt x="1716881" y="123825"/>
                    <a:pt x="1719488" y="121649"/>
                    <a:pt x="1721644" y="119062"/>
                  </a:cubicBezTo>
                  <a:cubicBezTo>
                    <a:pt x="1723476" y="116863"/>
                    <a:pt x="1724575" y="114117"/>
                    <a:pt x="1726407" y="111918"/>
                  </a:cubicBezTo>
                  <a:cubicBezTo>
                    <a:pt x="1728563" y="109331"/>
                    <a:pt x="1731394" y="107362"/>
                    <a:pt x="1733550" y="104775"/>
                  </a:cubicBezTo>
                  <a:cubicBezTo>
                    <a:pt x="1735382" y="102576"/>
                    <a:pt x="1736114" y="99463"/>
                    <a:pt x="1738313" y="97631"/>
                  </a:cubicBezTo>
                  <a:cubicBezTo>
                    <a:pt x="1741040" y="95358"/>
                    <a:pt x="1744756" y="94629"/>
                    <a:pt x="1747838" y="92868"/>
                  </a:cubicBezTo>
                  <a:cubicBezTo>
                    <a:pt x="1750323" y="91448"/>
                    <a:pt x="1752601" y="89693"/>
                    <a:pt x="1754982" y="88106"/>
                  </a:cubicBezTo>
                  <a:cubicBezTo>
                    <a:pt x="1755249" y="86502"/>
                    <a:pt x="1758746" y="64575"/>
                    <a:pt x="1759744" y="61912"/>
                  </a:cubicBezTo>
                  <a:cubicBezTo>
                    <a:pt x="1760749" y="59232"/>
                    <a:pt x="1762919" y="57149"/>
                    <a:pt x="1764507" y="54768"/>
                  </a:cubicBezTo>
                  <a:cubicBezTo>
                    <a:pt x="1765930" y="50499"/>
                    <a:pt x="1768708" y="41042"/>
                    <a:pt x="1771650" y="38100"/>
                  </a:cubicBezTo>
                  <a:cubicBezTo>
                    <a:pt x="1773425" y="36325"/>
                    <a:pt x="1776549" y="36841"/>
                    <a:pt x="1778794" y="35718"/>
                  </a:cubicBezTo>
                  <a:cubicBezTo>
                    <a:pt x="1781354" y="34438"/>
                    <a:pt x="1783557" y="32543"/>
                    <a:pt x="1785938" y="30956"/>
                  </a:cubicBezTo>
                  <a:cubicBezTo>
                    <a:pt x="1807577" y="34047"/>
                    <a:pt x="1797282" y="31562"/>
                    <a:pt x="1816894" y="38100"/>
                  </a:cubicBezTo>
                  <a:cubicBezTo>
                    <a:pt x="1842411" y="46607"/>
                    <a:pt x="1812636" y="38905"/>
                    <a:pt x="1833563" y="47625"/>
                  </a:cubicBezTo>
                  <a:cubicBezTo>
                    <a:pt x="1857139" y="57448"/>
                    <a:pt x="1848106" y="52226"/>
                    <a:pt x="1864519" y="57150"/>
                  </a:cubicBezTo>
                  <a:cubicBezTo>
                    <a:pt x="1869327" y="58593"/>
                    <a:pt x="1873998" y="60470"/>
                    <a:pt x="1878807" y="61912"/>
                  </a:cubicBezTo>
                  <a:cubicBezTo>
                    <a:pt x="1881942" y="62852"/>
                    <a:pt x="1885185" y="63394"/>
                    <a:pt x="1888332" y="64293"/>
                  </a:cubicBezTo>
                  <a:cubicBezTo>
                    <a:pt x="1908397" y="70027"/>
                    <a:pt x="1881749" y="62494"/>
                    <a:pt x="1902619" y="71437"/>
                  </a:cubicBezTo>
                  <a:cubicBezTo>
                    <a:pt x="1905627" y="72726"/>
                    <a:pt x="1908969" y="73024"/>
                    <a:pt x="1912144" y="73818"/>
                  </a:cubicBezTo>
                  <a:cubicBezTo>
                    <a:pt x="1914525" y="75406"/>
                    <a:pt x="1916657" y="77454"/>
                    <a:pt x="1919288" y="78581"/>
                  </a:cubicBezTo>
                  <a:cubicBezTo>
                    <a:pt x="1922414" y="79921"/>
                    <a:pt x="1938372" y="82821"/>
                    <a:pt x="1940719" y="83343"/>
                  </a:cubicBezTo>
                  <a:cubicBezTo>
                    <a:pt x="1943914" y="84053"/>
                    <a:pt x="1947049" y="85015"/>
                    <a:pt x="1950244" y="85725"/>
                  </a:cubicBezTo>
                  <a:cubicBezTo>
                    <a:pt x="1954195" y="86603"/>
                    <a:pt x="1958224" y="87124"/>
                    <a:pt x="1962150" y="88106"/>
                  </a:cubicBezTo>
                  <a:cubicBezTo>
                    <a:pt x="1964585" y="88715"/>
                    <a:pt x="1966859" y="89878"/>
                    <a:pt x="1969294" y="90487"/>
                  </a:cubicBezTo>
                  <a:lnTo>
                    <a:pt x="1988344" y="95250"/>
                  </a:lnTo>
                  <a:cubicBezTo>
                    <a:pt x="2000250" y="94456"/>
                    <a:pt x="2012203" y="94186"/>
                    <a:pt x="2024063" y="92868"/>
                  </a:cubicBezTo>
                  <a:cubicBezTo>
                    <a:pt x="2032537" y="91926"/>
                    <a:pt x="2033050" y="87733"/>
                    <a:pt x="2040732" y="83343"/>
                  </a:cubicBezTo>
                  <a:cubicBezTo>
                    <a:pt x="2042911" y="82098"/>
                    <a:pt x="2045568" y="81951"/>
                    <a:pt x="2047875" y="80962"/>
                  </a:cubicBezTo>
                  <a:cubicBezTo>
                    <a:pt x="2051138" y="79564"/>
                    <a:pt x="2054032" y="77323"/>
                    <a:pt x="2057400" y="76200"/>
                  </a:cubicBezTo>
                  <a:cubicBezTo>
                    <a:pt x="2062673" y="74442"/>
                    <a:pt x="2071106" y="74406"/>
                    <a:pt x="2076450" y="71437"/>
                  </a:cubicBezTo>
                  <a:cubicBezTo>
                    <a:pt x="2099645" y="58551"/>
                    <a:pt x="2081649" y="64184"/>
                    <a:pt x="2100263" y="59531"/>
                  </a:cubicBezTo>
                  <a:cubicBezTo>
                    <a:pt x="2103438" y="57943"/>
                    <a:pt x="2106492" y="56086"/>
                    <a:pt x="2109788" y="54768"/>
                  </a:cubicBezTo>
                  <a:cubicBezTo>
                    <a:pt x="2114449" y="52904"/>
                    <a:pt x="2124075" y="50006"/>
                    <a:pt x="2124075" y="50006"/>
                  </a:cubicBezTo>
                  <a:cubicBezTo>
                    <a:pt x="2126238" y="48384"/>
                    <a:pt x="2137257" y="39843"/>
                    <a:pt x="2140744" y="38100"/>
                  </a:cubicBezTo>
                  <a:cubicBezTo>
                    <a:pt x="2160462" y="28241"/>
                    <a:pt x="2134559" y="44603"/>
                    <a:pt x="2155032" y="30956"/>
                  </a:cubicBezTo>
                  <a:cubicBezTo>
                    <a:pt x="2158207" y="26193"/>
                    <a:pt x="2161997" y="21788"/>
                    <a:pt x="2164557" y="16668"/>
                  </a:cubicBezTo>
                  <a:cubicBezTo>
                    <a:pt x="2170599" y="4583"/>
                    <a:pt x="2167350" y="10096"/>
                    <a:pt x="2174082" y="0"/>
                  </a:cubicBezTo>
                  <a:cubicBezTo>
                    <a:pt x="2188369" y="794"/>
                    <a:pt x="2202913" y="-425"/>
                    <a:pt x="2216944" y="2381"/>
                  </a:cubicBezTo>
                  <a:cubicBezTo>
                    <a:pt x="2218822" y="2757"/>
                    <a:pt x="2226447" y="19022"/>
                    <a:pt x="2226469" y="19050"/>
                  </a:cubicBezTo>
                  <a:cubicBezTo>
                    <a:pt x="2238150" y="33651"/>
                    <a:pt x="2236000" y="31751"/>
                    <a:pt x="2247900" y="35718"/>
                  </a:cubicBezTo>
                  <a:cubicBezTo>
                    <a:pt x="2274083" y="53174"/>
                    <a:pt x="2243230" y="34406"/>
                    <a:pt x="2319338" y="42862"/>
                  </a:cubicBezTo>
                  <a:cubicBezTo>
                    <a:pt x="2326822" y="43694"/>
                    <a:pt x="2333625" y="47625"/>
                    <a:pt x="2340769" y="50006"/>
                  </a:cubicBezTo>
                  <a:cubicBezTo>
                    <a:pt x="2346380" y="51877"/>
                    <a:pt x="2365030" y="54049"/>
                    <a:pt x="2369344" y="54768"/>
                  </a:cubicBezTo>
                  <a:cubicBezTo>
                    <a:pt x="2373336" y="55433"/>
                    <a:pt x="2377299" y="56272"/>
                    <a:pt x="2381250" y="57150"/>
                  </a:cubicBezTo>
                  <a:cubicBezTo>
                    <a:pt x="2384445" y="57860"/>
                    <a:pt x="2387515" y="59243"/>
                    <a:pt x="2390775" y="59531"/>
                  </a:cubicBezTo>
                  <a:cubicBezTo>
                    <a:pt x="2414548" y="61628"/>
                    <a:pt x="2438400" y="62706"/>
                    <a:pt x="2462213" y="64293"/>
                  </a:cubicBezTo>
                  <a:cubicBezTo>
                    <a:pt x="2463800" y="66674"/>
                    <a:pt x="2464777" y="69605"/>
                    <a:pt x="2466975" y="71437"/>
                  </a:cubicBezTo>
                  <a:cubicBezTo>
                    <a:pt x="2469702" y="73710"/>
                    <a:pt x="2473418" y="74439"/>
                    <a:pt x="2476500" y="76200"/>
                  </a:cubicBezTo>
                  <a:cubicBezTo>
                    <a:pt x="2478985" y="77620"/>
                    <a:pt x="2481263" y="79375"/>
                    <a:pt x="2483644" y="80962"/>
                  </a:cubicBezTo>
                  <a:cubicBezTo>
                    <a:pt x="2485232" y="83343"/>
                    <a:pt x="2486234" y="86243"/>
                    <a:pt x="2488407" y="88106"/>
                  </a:cubicBezTo>
                  <a:cubicBezTo>
                    <a:pt x="2502844" y="100481"/>
                    <a:pt x="2512600" y="96128"/>
                    <a:pt x="2533650" y="97631"/>
                  </a:cubicBezTo>
                  <a:cubicBezTo>
                    <a:pt x="2543969" y="96837"/>
                    <a:pt x="2554328" y="96459"/>
                    <a:pt x="2564607" y="95250"/>
                  </a:cubicBezTo>
                  <a:cubicBezTo>
                    <a:pt x="2583370" y="93042"/>
                    <a:pt x="2565759" y="93924"/>
                    <a:pt x="2581275" y="88106"/>
                  </a:cubicBezTo>
                  <a:cubicBezTo>
                    <a:pt x="2585065" y="86685"/>
                    <a:pt x="2589181" y="86341"/>
                    <a:pt x="2593182" y="85725"/>
                  </a:cubicBezTo>
                  <a:cubicBezTo>
                    <a:pt x="2617528" y="81979"/>
                    <a:pt x="2628707" y="82476"/>
                    <a:pt x="2657475" y="80962"/>
                  </a:cubicBezTo>
                  <a:lnTo>
                    <a:pt x="2678907" y="78581"/>
                  </a:lnTo>
                  <a:cubicBezTo>
                    <a:pt x="2684476" y="77885"/>
                    <a:pt x="2690364" y="78284"/>
                    <a:pt x="2695575" y="76200"/>
                  </a:cubicBezTo>
                  <a:cubicBezTo>
                    <a:pt x="2704644" y="72572"/>
                    <a:pt x="2700935" y="67150"/>
                    <a:pt x="2707482" y="61912"/>
                  </a:cubicBezTo>
                  <a:cubicBezTo>
                    <a:pt x="2709442" y="60344"/>
                    <a:pt x="2712244" y="60325"/>
                    <a:pt x="2714625" y="59531"/>
                  </a:cubicBezTo>
                  <a:cubicBezTo>
                    <a:pt x="2727814" y="50737"/>
                    <a:pt x="2715524" y="57520"/>
                    <a:pt x="2736057" y="52387"/>
                  </a:cubicBezTo>
                  <a:cubicBezTo>
                    <a:pt x="2740927" y="51170"/>
                    <a:pt x="2750344" y="47625"/>
                    <a:pt x="2750344" y="47625"/>
                  </a:cubicBezTo>
                  <a:cubicBezTo>
                    <a:pt x="2758282" y="48419"/>
                    <a:pt x="2766260" y="48878"/>
                    <a:pt x="2774157" y="50006"/>
                  </a:cubicBezTo>
                  <a:cubicBezTo>
                    <a:pt x="2777397" y="50469"/>
                    <a:pt x="2780473" y="51745"/>
                    <a:pt x="2783682" y="52387"/>
                  </a:cubicBezTo>
                  <a:cubicBezTo>
                    <a:pt x="2795121" y="54675"/>
                    <a:pt x="2805321" y="55687"/>
                    <a:pt x="2817019" y="57150"/>
                  </a:cubicBezTo>
                  <a:cubicBezTo>
                    <a:pt x="2817813" y="59531"/>
                    <a:pt x="2817793" y="62365"/>
                    <a:pt x="2819400" y="64293"/>
                  </a:cubicBezTo>
                  <a:cubicBezTo>
                    <a:pt x="2821941" y="67342"/>
                    <a:pt x="2825479" y="69468"/>
                    <a:pt x="2828925" y="71437"/>
                  </a:cubicBezTo>
                  <a:cubicBezTo>
                    <a:pt x="2831104" y="72682"/>
                    <a:pt x="2833567" y="73618"/>
                    <a:pt x="2836069" y="73818"/>
                  </a:cubicBezTo>
                  <a:cubicBezTo>
                    <a:pt x="2853494" y="75212"/>
                    <a:pt x="2870994" y="75406"/>
                    <a:pt x="2888457" y="76200"/>
                  </a:cubicBezTo>
                  <a:cubicBezTo>
                    <a:pt x="2890838" y="75406"/>
                    <a:pt x="2893619" y="75359"/>
                    <a:pt x="2895600" y="73818"/>
                  </a:cubicBezTo>
                  <a:cubicBezTo>
                    <a:pt x="2900916" y="69683"/>
                    <a:pt x="2903498" y="61661"/>
                    <a:pt x="2909888" y="59531"/>
                  </a:cubicBezTo>
                  <a:lnTo>
                    <a:pt x="2917032" y="57150"/>
                  </a:lnTo>
                  <a:cubicBezTo>
                    <a:pt x="2919413" y="55562"/>
                    <a:pt x="2921977" y="54219"/>
                    <a:pt x="2924175" y="52387"/>
                  </a:cubicBezTo>
                  <a:cubicBezTo>
                    <a:pt x="2926762" y="50231"/>
                    <a:pt x="2931319" y="45243"/>
                    <a:pt x="2931319" y="45243"/>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2" name="Freeform 27"/>
            <p:cNvSpPr/>
            <p:nvPr>
              <p:custDataLst>
                <p:tags r:id="rId12"/>
              </p:custDataLst>
            </p:nvPr>
          </p:nvSpPr>
          <p:spPr bwMode="gray">
            <a:xfrm>
              <a:off x="5106099" y="4822862"/>
              <a:ext cx="586378" cy="369899"/>
            </a:xfrm>
            <a:custGeom>
              <a:avLst/>
              <a:gdLst>
                <a:gd name="connsiteX0" fmla="*/ 0 w 638175"/>
                <a:gd name="connsiteY0" fmla="*/ 47851 h 414933"/>
                <a:gd name="connsiteX1" fmla="*/ 73025 w 638175"/>
                <a:gd name="connsiteY1" fmla="*/ 226 h 414933"/>
                <a:gd name="connsiteX2" fmla="*/ 82550 w 638175"/>
                <a:gd name="connsiteY2" fmla="*/ 31976 h 414933"/>
                <a:gd name="connsiteX3" fmla="*/ 69850 w 638175"/>
                <a:gd name="connsiteY3" fmla="*/ 79601 h 414933"/>
                <a:gd name="connsiteX4" fmla="*/ 142875 w 638175"/>
                <a:gd name="connsiteY4" fmla="*/ 92301 h 414933"/>
                <a:gd name="connsiteX5" fmla="*/ 152400 w 638175"/>
                <a:gd name="connsiteY5" fmla="*/ 120876 h 414933"/>
                <a:gd name="connsiteX6" fmla="*/ 127000 w 638175"/>
                <a:gd name="connsiteY6" fmla="*/ 178026 h 414933"/>
                <a:gd name="connsiteX7" fmla="*/ 127000 w 638175"/>
                <a:gd name="connsiteY7" fmla="*/ 228826 h 414933"/>
                <a:gd name="connsiteX8" fmla="*/ 193675 w 638175"/>
                <a:gd name="connsiteY8" fmla="*/ 228826 h 414933"/>
                <a:gd name="connsiteX9" fmla="*/ 209550 w 638175"/>
                <a:gd name="connsiteY9" fmla="*/ 263751 h 414933"/>
                <a:gd name="connsiteX10" fmla="*/ 222250 w 638175"/>
                <a:gd name="connsiteY10" fmla="*/ 330426 h 414933"/>
                <a:gd name="connsiteX11" fmla="*/ 263525 w 638175"/>
                <a:gd name="connsiteY11" fmla="*/ 355826 h 414933"/>
                <a:gd name="connsiteX12" fmla="*/ 273050 w 638175"/>
                <a:gd name="connsiteY12" fmla="*/ 390751 h 414933"/>
                <a:gd name="connsiteX13" fmla="*/ 314325 w 638175"/>
                <a:gd name="connsiteY13" fmla="*/ 412976 h 414933"/>
                <a:gd name="connsiteX14" fmla="*/ 336550 w 638175"/>
                <a:gd name="connsiteY14" fmla="*/ 339951 h 414933"/>
                <a:gd name="connsiteX15" fmla="*/ 374650 w 638175"/>
                <a:gd name="connsiteY15" fmla="*/ 311376 h 414933"/>
                <a:gd name="connsiteX16" fmla="*/ 393700 w 638175"/>
                <a:gd name="connsiteY16" fmla="*/ 327251 h 414933"/>
                <a:gd name="connsiteX17" fmla="*/ 447675 w 638175"/>
                <a:gd name="connsiteY17" fmla="*/ 292326 h 414933"/>
                <a:gd name="connsiteX18" fmla="*/ 498475 w 638175"/>
                <a:gd name="connsiteY18" fmla="*/ 298676 h 414933"/>
                <a:gd name="connsiteX19" fmla="*/ 536575 w 638175"/>
                <a:gd name="connsiteY19" fmla="*/ 298676 h 414933"/>
                <a:gd name="connsiteX20" fmla="*/ 574675 w 638175"/>
                <a:gd name="connsiteY20" fmla="*/ 298676 h 414933"/>
                <a:gd name="connsiteX21" fmla="*/ 612775 w 638175"/>
                <a:gd name="connsiteY21" fmla="*/ 279626 h 414933"/>
                <a:gd name="connsiteX22" fmla="*/ 638175 w 638175"/>
                <a:gd name="connsiteY22" fmla="*/ 289151 h 41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8175" h="414933">
                  <a:moveTo>
                    <a:pt x="0" y="47851"/>
                  </a:moveTo>
                  <a:cubicBezTo>
                    <a:pt x="29633" y="25361"/>
                    <a:pt x="59267" y="2872"/>
                    <a:pt x="73025" y="226"/>
                  </a:cubicBezTo>
                  <a:cubicBezTo>
                    <a:pt x="86783" y="-2420"/>
                    <a:pt x="83079" y="18747"/>
                    <a:pt x="82550" y="31976"/>
                  </a:cubicBezTo>
                  <a:cubicBezTo>
                    <a:pt x="82021" y="45205"/>
                    <a:pt x="59796" y="69547"/>
                    <a:pt x="69850" y="79601"/>
                  </a:cubicBezTo>
                  <a:cubicBezTo>
                    <a:pt x="79904" y="89655"/>
                    <a:pt x="129117" y="85422"/>
                    <a:pt x="142875" y="92301"/>
                  </a:cubicBezTo>
                  <a:cubicBezTo>
                    <a:pt x="156633" y="99180"/>
                    <a:pt x="155046" y="106589"/>
                    <a:pt x="152400" y="120876"/>
                  </a:cubicBezTo>
                  <a:cubicBezTo>
                    <a:pt x="149754" y="135163"/>
                    <a:pt x="131233" y="160034"/>
                    <a:pt x="127000" y="178026"/>
                  </a:cubicBezTo>
                  <a:cubicBezTo>
                    <a:pt x="122767" y="196018"/>
                    <a:pt x="115888" y="220359"/>
                    <a:pt x="127000" y="228826"/>
                  </a:cubicBezTo>
                  <a:cubicBezTo>
                    <a:pt x="138112" y="237293"/>
                    <a:pt x="179917" y="223005"/>
                    <a:pt x="193675" y="228826"/>
                  </a:cubicBezTo>
                  <a:cubicBezTo>
                    <a:pt x="207433" y="234647"/>
                    <a:pt x="204788" y="246818"/>
                    <a:pt x="209550" y="263751"/>
                  </a:cubicBezTo>
                  <a:cubicBezTo>
                    <a:pt x="214312" y="280684"/>
                    <a:pt x="213254" y="315080"/>
                    <a:pt x="222250" y="330426"/>
                  </a:cubicBezTo>
                  <a:cubicBezTo>
                    <a:pt x="231246" y="345772"/>
                    <a:pt x="255058" y="345772"/>
                    <a:pt x="263525" y="355826"/>
                  </a:cubicBezTo>
                  <a:cubicBezTo>
                    <a:pt x="271992" y="365880"/>
                    <a:pt x="264583" y="381226"/>
                    <a:pt x="273050" y="390751"/>
                  </a:cubicBezTo>
                  <a:cubicBezTo>
                    <a:pt x="281517" y="400276"/>
                    <a:pt x="303742" y="421443"/>
                    <a:pt x="314325" y="412976"/>
                  </a:cubicBezTo>
                  <a:cubicBezTo>
                    <a:pt x="324908" y="404509"/>
                    <a:pt x="326496" y="356884"/>
                    <a:pt x="336550" y="339951"/>
                  </a:cubicBezTo>
                  <a:cubicBezTo>
                    <a:pt x="346604" y="323018"/>
                    <a:pt x="365125" y="313493"/>
                    <a:pt x="374650" y="311376"/>
                  </a:cubicBezTo>
                  <a:cubicBezTo>
                    <a:pt x="384175" y="309259"/>
                    <a:pt x="381529" y="330426"/>
                    <a:pt x="393700" y="327251"/>
                  </a:cubicBezTo>
                  <a:cubicBezTo>
                    <a:pt x="405871" y="324076"/>
                    <a:pt x="430212" y="297089"/>
                    <a:pt x="447675" y="292326"/>
                  </a:cubicBezTo>
                  <a:cubicBezTo>
                    <a:pt x="465138" y="287563"/>
                    <a:pt x="483658" y="297618"/>
                    <a:pt x="498475" y="298676"/>
                  </a:cubicBezTo>
                  <a:cubicBezTo>
                    <a:pt x="513292" y="299734"/>
                    <a:pt x="536575" y="298676"/>
                    <a:pt x="536575" y="298676"/>
                  </a:cubicBezTo>
                  <a:cubicBezTo>
                    <a:pt x="549275" y="298676"/>
                    <a:pt x="561975" y="301851"/>
                    <a:pt x="574675" y="298676"/>
                  </a:cubicBezTo>
                  <a:cubicBezTo>
                    <a:pt x="587375" y="295501"/>
                    <a:pt x="602192" y="281214"/>
                    <a:pt x="612775" y="279626"/>
                  </a:cubicBezTo>
                  <a:cubicBezTo>
                    <a:pt x="623358" y="278039"/>
                    <a:pt x="630766" y="283595"/>
                    <a:pt x="638175" y="289151"/>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3" name="Freeform 28"/>
            <p:cNvSpPr/>
            <p:nvPr>
              <p:custDataLst>
                <p:tags r:id="rId13"/>
              </p:custDataLst>
            </p:nvPr>
          </p:nvSpPr>
          <p:spPr bwMode="gray">
            <a:xfrm>
              <a:off x="5394911" y="5196675"/>
              <a:ext cx="271309" cy="667976"/>
            </a:xfrm>
            <a:custGeom>
              <a:avLst/>
              <a:gdLst>
                <a:gd name="connsiteX0" fmla="*/ 295275 w 295275"/>
                <a:gd name="connsiteY0" fmla="*/ 749300 h 749300"/>
                <a:gd name="connsiteX1" fmla="*/ 203200 w 295275"/>
                <a:gd name="connsiteY1" fmla="*/ 730250 h 749300"/>
                <a:gd name="connsiteX2" fmla="*/ 180975 w 295275"/>
                <a:gd name="connsiteY2" fmla="*/ 692150 h 749300"/>
                <a:gd name="connsiteX3" fmla="*/ 184150 w 295275"/>
                <a:gd name="connsiteY3" fmla="*/ 622300 h 749300"/>
                <a:gd name="connsiteX4" fmla="*/ 168275 w 295275"/>
                <a:gd name="connsiteY4" fmla="*/ 546100 h 749300"/>
                <a:gd name="connsiteX5" fmla="*/ 193675 w 295275"/>
                <a:gd name="connsiteY5" fmla="*/ 485775 h 749300"/>
                <a:gd name="connsiteX6" fmla="*/ 139700 w 295275"/>
                <a:gd name="connsiteY6" fmla="*/ 422275 h 749300"/>
                <a:gd name="connsiteX7" fmla="*/ 136525 w 295275"/>
                <a:gd name="connsiteY7" fmla="*/ 336550 h 749300"/>
                <a:gd name="connsiteX8" fmla="*/ 117475 w 295275"/>
                <a:gd name="connsiteY8" fmla="*/ 304800 h 749300"/>
                <a:gd name="connsiteX9" fmla="*/ 98425 w 295275"/>
                <a:gd name="connsiteY9" fmla="*/ 244475 h 749300"/>
                <a:gd name="connsiteX10" fmla="*/ 31750 w 295275"/>
                <a:gd name="connsiteY10" fmla="*/ 190500 h 749300"/>
                <a:gd name="connsiteX11" fmla="*/ 31750 w 295275"/>
                <a:gd name="connsiteY11" fmla="*/ 174625 h 749300"/>
                <a:gd name="connsiteX12" fmla="*/ 3175 w 295275"/>
                <a:gd name="connsiteY12" fmla="*/ 114300 h 749300"/>
                <a:gd name="connsiteX13" fmla="*/ 22225 w 295275"/>
                <a:gd name="connsiteY13" fmla="*/ 28575 h 749300"/>
                <a:gd name="connsiteX14" fmla="*/ 0 w 295275"/>
                <a:gd name="connsiteY14" fmla="*/ 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5275" h="749300">
                  <a:moveTo>
                    <a:pt x="295275" y="749300"/>
                  </a:moveTo>
                  <a:cubicBezTo>
                    <a:pt x="258762" y="744537"/>
                    <a:pt x="222250" y="739775"/>
                    <a:pt x="203200" y="730250"/>
                  </a:cubicBezTo>
                  <a:cubicBezTo>
                    <a:pt x="184150" y="720725"/>
                    <a:pt x="184150" y="710142"/>
                    <a:pt x="180975" y="692150"/>
                  </a:cubicBezTo>
                  <a:cubicBezTo>
                    <a:pt x="177800" y="674158"/>
                    <a:pt x="186267" y="646642"/>
                    <a:pt x="184150" y="622300"/>
                  </a:cubicBezTo>
                  <a:cubicBezTo>
                    <a:pt x="182033" y="597958"/>
                    <a:pt x="166688" y="568854"/>
                    <a:pt x="168275" y="546100"/>
                  </a:cubicBezTo>
                  <a:cubicBezTo>
                    <a:pt x="169862" y="523346"/>
                    <a:pt x="198437" y="506412"/>
                    <a:pt x="193675" y="485775"/>
                  </a:cubicBezTo>
                  <a:cubicBezTo>
                    <a:pt x="188913" y="465138"/>
                    <a:pt x="149225" y="447146"/>
                    <a:pt x="139700" y="422275"/>
                  </a:cubicBezTo>
                  <a:cubicBezTo>
                    <a:pt x="130175" y="397404"/>
                    <a:pt x="140229" y="356129"/>
                    <a:pt x="136525" y="336550"/>
                  </a:cubicBezTo>
                  <a:cubicBezTo>
                    <a:pt x="132821" y="316971"/>
                    <a:pt x="123825" y="320146"/>
                    <a:pt x="117475" y="304800"/>
                  </a:cubicBezTo>
                  <a:cubicBezTo>
                    <a:pt x="111125" y="289454"/>
                    <a:pt x="112712" y="263525"/>
                    <a:pt x="98425" y="244475"/>
                  </a:cubicBezTo>
                  <a:cubicBezTo>
                    <a:pt x="84137" y="225425"/>
                    <a:pt x="42862" y="202142"/>
                    <a:pt x="31750" y="190500"/>
                  </a:cubicBezTo>
                  <a:cubicBezTo>
                    <a:pt x="20637" y="178858"/>
                    <a:pt x="36513" y="187325"/>
                    <a:pt x="31750" y="174625"/>
                  </a:cubicBezTo>
                  <a:cubicBezTo>
                    <a:pt x="26987" y="161925"/>
                    <a:pt x="4762" y="138642"/>
                    <a:pt x="3175" y="114300"/>
                  </a:cubicBezTo>
                  <a:cubicBezTo>
                    <a:pt x="1587" y="89958"/>
                    <a:pt x="22754" y="47625"/>
                    <a:pt x="22225" y="28575"/>
                  </a:cubicBezTo>
                  <a:cubicBezTo>
                    <a:pt x="21696" y="9525"/>
                    <a:pt x="10848" y="4762"/>
                    <a:pt x="0" y="0"/>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4" name="Freeform 29"/>
            <p:cNvSpPr/>
            <p:nvPr>
              <p:custDataLst>
                <p:tags r:id="rId14"/>
              </p:custDataLst>
            </p:nvPr>
          </p:nvSpPr>
          <p:spPr bwMode="gray">
            <a:xfrm>
              <a:off x="5679456" y="5080630"/>
              <a:ext cx="1537340" cy="1146315"/>
            </a:xfrm>
            <a:custGeom>
              <a:avLst/>
              <a:gdLst>
                <a:gd name="connsiteX0" fmla="*/ 10995 w 1673140"/>
                <a:gd name="connsiteY0" fmla="*/ 0 h 1285875"/>
                <a:gd name="connsiteX1" fmla="*/ 4645 w 1673140"/>
                <a:gd name="connsiteY1" fmla="*/ 66675 h 1285875"/>
                <a:gd name="connsiteX2" fmla="*/ 71320 w 1673140"/>
                <a:gd name="connsiteY2" fmla="*/ 133350 h 1285875"/>
                <a:gd name="connsiteX3" fmla="*/ 71320 w 1673140"/>
                <a:gd name="connsiteY3" fmla="*/ 241300 h 1285875"/>
                <a:gd name="connsiteX4" fmla="*/ 61795 w 1673140"/>
                <a:gd name="connsiteY4" fmla="*/ 266700 h 1285875"/>
                <a:gd name="connsiteX5" fmla="*/ 77670 w 1673140"/>
                <a:gd name="connsiteY5" fmla="*/ 307975 h 1285875"/>
                <a:gd name="connsiteX6" fmla="*/ 71320 w 1673140"/>
                <a:gd name="connsiteY6" fmla="*/ 384175 h 1285875"/>
                <a:gd name="connsiteX7" fmla="*/ 128470 w 1673140"/>
                <a:gd name="connsiteY7" fmla="*/ 447675 h 1285875"/>
                <a:gd name="connsiteX8" fmla="*/ 191970 w 1673140"/>
                <a:gd name="connsiteY8" fmla="*/ 441325 h 1285875"/>
                <a:gd name="connsiteX9" fmla="*/ 252295 w 1673140"/>
                <a:gd name="connsiteY9" fmla="*/ 495300 h 1285875"/>
                <a:gd name="connsiteX10" fmla="*/ 299920 w 1673140"/>
                <a:gd name="connsiteY10" fmla="*/ 542925 h 1285875"/>
                <a:gd name="connsiteX11" fmla="*/ 280870 w 1673140"/>
                <a:gd name="connsiteY11" fmla="*/ 593725 h 1285875"/>
                <a:gd name="connsiteX12" fmla="*/ 299920 w 1673140"/>
                <a:gd name="connsiteY12" fmla="*/ 647700 h 1285875"/>
                <a:gd name="connsiteX13" fmla="*/ 350720 w 1673140"/>
                <a:gd name="connsiteY13" fmla="*/ 685800 h 1285875"/>
                <a:gd name="connsiteX14" fmla="*/ 404695 w 1673140"/>
                <a:gd name="connsiteY14" fmla="*/ 736600 h 1285875"/>
                <a:gd name="connsiteX15" fmla="*/ 474545 w 1673140"/>
                <a:gd name="connsiteY15" fmla="*/ 701675 h 1285875"/>
                <a:gd name="connsiteX16" fmla="*/ 544395 w 1673140"/>
                <a:gd name="connsiteY16" fmla="*/ 679450 h 1285875"/>
                <a:gd name="connsiteX17" fmla="*/ 563445 w 1673140"/>
                <a:gd name="connsiteY17" fmla="*/ 717550 h 1285875"/>
                <a:gd name="connsiteX18" fmla="*/ 598370 w 1673140"/>
                <a:gd name="connsiteY18" fmla="*/ 755650 h 1285875"/>
                <a:gd name="connsiteX19" fmla="*/ 636470 w 1673140"/>
                <a:gd name="connsiteY19" fmla="*/ 736600 h 1285875"/>
                <a:gd name="connsiteX20" fmla="*/ 680920 w 1673140"/>
                <a:gd name="connsiteY20" fmla="*/ 739775 h 1285875"/>
                <a:gd name="connsiteX21" fmla="*/ 712670 w 1673140"/>
                <a:gd name="connsiteY21" fmla="*/ 793750 h 1285875"/>
                <a:gd name="connsiteX22" fmla="*/ 785695 w 1673140"/>
                <a:gd name="connsiteY22" fmla="*/ 825500 h 1285875"/>
                <a:gd name="connsiteX23" fmla="*/ 830145 w 1673140"/>
                <a:gd name="connsiteY23" fmla="*/ 857250 h 1285875"/>
                <a:gd name="connsiteX24" fmla="*/ 887295 w 1673140"/>
                <a:gd name="connsiteY24" fmla="*/ 863600 h 1285875"/>
                <a:gd name="connsiteX25" fmla="*/ 922220 w 1673140"/>
                <a:gd name="connsiteY25" fmla="*/ 815975 h 1285875"/>
                <a:gd name="connsiteX26" fmla="*/ 995245 w 1673140"/>
                <a:gd name="connsiteY26" fmla="*/ 803275 h 1285875"/>
                <a:gd name="connsiteX27" fmla="*/ 1030170 w 1673140"/>
                <a:gd name="connsiteY27" fmla="*/ 850900 h 1285875"/>
                <a:gd name="connsiteX28" fmla="*/ 1144470 w 1673140"/>
                <a:gd name="connsiteY28" fmla="*/ 863600 h 1285875"/>
                <a:gd name="connsiteX29" fmla="*/ 1182570 w 1673140"/>
                <a:gd name="connsiteY29" fmla="*/ 831850 h 1285875"/>
                <a:gd name="connsiteX30" fmla="*/ 1188920 w 1673140"/>
                <a:gd name="connsiteY30" fmla="*/ 781050 h 1285875"/>
                <a:gd name="connsiteX31" fmla="*/ 1217495 w 1673140"/>
                <a:gd name="connsiteY31" fmla="*/ 708025 h 1285875"/>
                <a:gd name="connsiteX32" fmla="*/ 1290520 w 1673140"/>
                <a:gd name="connsiteY32" fmla="*/ 688975 h 1285875"/>
                <a:gd name="connsiteX33" fmla="*/ 1328620 w 1673140"/>
                <a:gd name="connsiteY33" fmla="*/ 695325 h 1285875"/>
                <a:gd name="connsiteX34" fmla="*/ 1366720 w 1673140"/>
                <a:gd name="connsiteY34" fmla="*/ 676275 h 1285875"/>
                <a:gd name="connsiteX35" fmla="*/ 1439745 w 1673140"/>
                <a:gd name="connsiteY35" fmla="*/ 708025 h 1285875"/>
                <a:gd name="connsiteX36" fmla="*/ 1503245 w 1673140"/>
                <a:gd name="connsiteY36" fmla="*/ 727075 h 1285875"/>
                <a:gd name="connsiteX37" fmla="*/ 1531820 w 1673140"/>
                <a:gd name="connsiteY37" fmla="*/ 809625 h 1285875"/>
                <a:gd name="connsiteX38" fmla="*/ 1566745 w 1673140"/>
                <a:gd name="connsiteY38" fmla="*/ 803275 h 1285875"/>
                <a:gd name="connsiteX39" fmla="*/ 1573095 w 1673140"/>
                <a:gd name="connsiteY39" fmla="*/ 860425 h 1285875"/>
                <a:gd name="connsiteX40" fmla="*/ 1627070 w 1673140"/>
                <a:gd name="connsiteY40" fmla="*/ 866775 h 1285875"/>
                <a:gd name="connsiteX41" fmla="*/ 1636595 w 1673140"/>
                <a:gd name="connsiteY41" fmla="*/ 908050 h 1285875"/>
                <a:gd name="connsiteX42" fmla="*/ 1668345 w 1673140"/>
                <a:gd name="connsiteY42" fmla="*/ 939800 h 1285875"/>
                <a:gd name="connsiteX43" fmla="*/ 1668345 w 1673140"/>
                <a:gd name="connsiteY43" fmla="*/ 1019175 h 1285875"/>
                <a:gd name="connsiteX44" fmla="*/ 1623895 w 1673140"/>
                <a:gd name="connsiteY44" fmla="*/ 1028700 h 1285875"/>
                <a:gd name="connsiteX45" fmla="*/ 1588970 w 1673140"/>
                <a:gd name="connsiteY45" fmla="*/ 1066800 h 1285875"/>
                <a:gd name="connsiteX46" fmla="*/ 1538170 w 1673140"/>
                <a:gd name="connsiteY46" fmla="*/ 1089025 h 1285875"/>
                <a:gd name="connsiteX47" fmla="*/ 1519120 w 1673140"/>
                <a:gd name="connsiteY47" fmla="*/ 1111250 h 1285875"/>
                <a:gd name="connsiteX48" fmla="*/ 1515945 w 1673140"/>
                <a:gd name="connsiteY48" fmla="*/ 1177925 h 1285875"/>
                <a:gd name="connsiteX49" fmla="*/ 1503245 w 1673140"/>
                <a:gd name="connsiteY49" fmla="*/ 1206500 h 1285875"/>
                <a:gd name="connsiteX50" fmla="*/ 1560395 w 1673140"/>
                <a:gd name="connsiteY50" fmla="*/ 1241425 h 1285875"/>
                <a:gd name="connsiteX51" fmla="*/ 1560395 w 1673140"/>
                <a:gd name="connsiteY51" fmla="*/ 1285875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673140" h="1285875">
                  <a:moveTo>
                    <a:pt x="10995" y="0"/>
                  </a:moveTo>
                  <a:cubicBezTo>
                    <a:pt x="2793" y="22225"/>
                    <a:pt x="-5409" y="44450"/>
                    <a:pt x="4645" y="66675"/>
                  </a:cubicBezTo>
                  <a:cubicBezTo>
                    <a:pt x="14699" y="88900"/>
                    <a:pt x="60208" y="104246"/>
                    <a:pt x="71320" y="133350"/>
                  </a:cubicBezTo>
                  <a:cubicBezTo>
                    <a:pt x="82433" y="162454"/>
                    <a:pt x="72907" y="219075"/>
                    <a:pt x="71320" y="241300"/>
                  </a:cubicBezTo>
                  <a:cubicBezTo>
                    <a:pt x="69733" y="263525"/>
                    <a:pt x="60737" y="255588"/>
                    <a:pt x="61795" y="266700"/>
                  </a:cubicBezTo>
                  <a:cubicBezTo>
                    <a:pt x="62853" y="277812"/>
                    <a:pt x="76083" y="288396"/>
                    <a:pt x="77670" y="307975"/>
                  </a:cubicBezTo>
                  <a:cubicBezTo>
                    <a:pt x="79257" y="327554"/>
                    <a:pt x="62853" y="360892"/>
                    <a:pt x="71320" y="384175"/>
                  </a:cubicBezTo>
                  <a:cubicBezTo>
                    <a:pt x="79787" y="407458"/>
                    <a:pt x="108362" y="438150"/>
                    <a:pt x="128470" y="447675"/>
                  </a:cubicBezTo>
                  <a:cubicBezTo>
                    <a:pt x="148578" y="457200"/>
                    <a:pt x="171333" y="433388"/>
                    <a:pt x="191970" y="441325"/>
                  </a:cubicBezTo>
                  <a:cubicBezTo>
                    <a:pt x="212608" y="449263"/>
                    <a:pt x="234303" y="478367"/>
                    <a:pt x="252295" y="495300"/>
                  </a:cubicBezTo>
                  <a:cubicBezTo>
                    <a:pt x="270287" y="512233"/>
                    <a:pt x="295157" y="526521"/>
                    <a:pt x="299920" y="542925"/>
                  </a:cubicBezTo>
                  <a:cubicBezTo>
                    <a:pt x="304683" y="559329"/>
                    <a:pt x="280870" y="576263"/>
                    <a:pt x="280870" y="593725"/>
                  </a:cubicBezTo>
                  <a:cubicBezTo>
                    <a:pt x="280870" y="611187"/>
                    <a:pt x="288278" y="632354"/>
                    <a:pt x="299920" y="647700"/>
                  </a:cubicBezTo>
                  <a:cubicBezTo>
                    <a:pt x="311562" y="663046"/>
                    <a:pt x="333258" y="670983"/>
                    <a:pt x="350720" y="685800"/>
                  </a:cubicBezTo>
                  <a:cubicBezTo>
                    <a:pt x="368182" y="700617"/>
                    <a:pt x="384058" y="733954"/>
                    <a:pt x="404695" y="736600"/>
                  </a:cubicBezTo>
                  <a:cubicBezTo>
                    <a:pt x="425332" y="739246"/>
                    <a:pt x="451262" y="711200"/>
                    <a:pt x="474545" y="701675"/>
                  </a:cubicBezTo>
                  <a:cubicBezTo>
                    <a:pt x="497828" y="692150"/>
                    <a:pt x="529578" y="676804"/>
                    <a:pt x="544395" y="679450"/>
                  </a:cubicBezTo>
                  <a:cubicBezTo>
                    <a:pt x="559212" y="682096"/>
                    <a:pt x="554449" y="704850"/>
                    <a:pt x="563445" y="717550"/>
                  </a:cubicBezTo>
                  <a:cubicBezTo>
                    <a:pt x="572441" y="730250"/>
                    <a:pt x="586199" y="752475"/>
                    <a:pt x="598370" y="755650"/>
                  </a:cubicBezTo>
                  <a:cubicBezTo>
                    <a:pt x="610541" y="758825"/>
                    <a:pt x="622712" y="739246"/>
                    <a:pt x="636470" y="736600"/>
                  </a:cubicBezTo>
                  <a:cubicBezTo>
                    <a:pt x="650228" y="733954"/>
                    <a:pt x="668220" y="730250"/>
                    <a:pt x="680920" y="739775"/>
                  </a:cubicBezTo>
                  <a:cubicBezTo>
                    <a:pt x="693620" y="749300"/>
                    <a:pt x="695208" y="779463"/>
                    <a:pt x="712670" y="793750"/>
                  </a:cubicBezTo>
                  <a:cubicBezTo>
                    <a:pt x="730132" y="808037"/>
                    <a:pt x="766116" y="814917"/>
                    <a:pt x="785695" y="825500"/>
                  </a:cubicBezTo>
                  <a:cubicBezTo>
                    <a:pt x="805274" y="836083"/>
                    <a:pt x="813212" y="850900"/>
                    <a:pt x="830145" y="857250"/>
                  </a:cubicBezTo>
                  <a:cubicBezTo>
                    <a:pt x="847078" y="863600"/>
                    <a:pt x="871949" y="870479"/>
                    <a:pt x="887295" y="863600"/>
                  </a:cubicBezTo>
                  <a:cubicBezTo>
                    <a:pt x="902641" y="856721"/>
                    <a:pt x="904228" y="826029"/>
                    <a:pt x="922220" y="815975"/>
                  </a:cubicBezTo>
                  <a:cubicBezTo>
                    <a:pt x="940212" y="805921"/>
                    <a:pt x="977253" y="797454"/>
                    <a:pt x="995245" y="803275"/>
                  </a:cubicBezTo>
                  <a:cubicBezTo>
                    <a:pt x="1013237" y="809096"/>
                    <a:pt x="1005299" y="840846"/>
                    <a:pt x="1030170" y="850900"/>
                  </a:cubicBezTo>
                  <a:cubicBezTo>
                    <a:pt x="1055041" y="860954"/>
                    <a:pt x="1119070" y="866775"/>
                    <a:pt x="1144470" y="863600"/>
                  </a:cubicBezTo>
                  <a:cubicBezTo>
                    <a:pt x="1169870" y="860425"/>
                    <a:pt x="1175162" y="845608"/>
                    <a:pt x="1182570" y="831850"/>
                  </a:cubicBezTo>
                  <a:cubicBezTo>
                    <a:pt x="1189978" y="818092"/>
                    <a:pt x="1183099" y="801687"/>
                    <a:pt x="1188920" y="781050"/>
                  </a:cubicBezTo>
                  <a:cubicBezTo>
                    <a:pt x="1194741" y="760413"/>
                    <a:pt x="1200562" y="723371"/>
                    <a:pt x="1217495" y="708025"/>
                  </a:cubicBezTo>
                  <a:cubicBezTo>
                    <a:pt x="1234428" y="692679"/>
                    <a:pt x="1271999" y="691092"/>
                    <a:pt x="1290520" y="688975"/>
                  </a:cubicBezTo>
                  <a:cubicBezTo>
                    <a:pt x="1309041" y="686858"/>
                    <a:pt x="1315920" y="697442"/>
                    <a:pt x="1328620" y="695325"/>
                  </a:cubicBezTo>
                  <a:cubicBezTo>
                    <a:pt x="1341320" y="693208"/>
                    <a:pt x="1348199" y="674158"/>
                    <a:pt x="1366720" y="676275"/>
                  </a:cubicBezTo>
                  <a:cubicBezTo>
                    <a:pt x="1385241" y="678392"/>
                    <a:pt x="1416991" y="699558"/>
                    <a:pt x="1439745" y="708025"/>
                  </a:cubicBezTo>
                  <a:cubicBezTo>
                    <a:pt x="1462499" y="716492"/>
                    <a:pt x="1487899" y="710142"/>
                    <a:pt x="1503245" y="727075"/>
                  </a:cubicBezTo>
                  <a:cubicBezTo>
                    <a:pt x="1518591" y="744008"/>
                    <a:pt x="1521237" y="796925"/>
                    <a:pt x="1531820" y="809625"/>
                  </a:cubicBezTo>
                  <a:cubicBezTo>
                    <a:pt x="1542403" y="822325"/>
                    <a:pt x="1559866" y="794808"/>
                    <a:pt x="1566745" y="803275"/>
                  </a:cubicBezTo>
                  <a:cubicBezTo>
                    <a:pt x="1573624" y="811742"/>
                    <a:pt x="1563041" y="849842"/>
                    <a:pt x="1573095" y="860425"/>
                  </a:cubicBezTo>
                  <a:cubicBezTo>
                    <a:pt x="1583149" y="871008"/>
                    <a:pt x="1616487" y="858838"/>
                    <a:pt x="1627070" y="866775"/>
                  </a:cubicBezTo>
                  <a:cubicBezTo>
                    <a:pt x="1637653" y="874712"/>
                    <a:pt x="1629716" y="895879"/>
                    <a:pt x="1636595" y="908050"/>
                  </a:cubicBezTo>
                  <a:cubicBezTo>
                    <a:pt x="1643474" y="920221"/>
                    <a:pt x="1663053" y="921279"/>
                    <a:pt x="1668345" y="939800"/>
                  </a:cubicBezTo>
                  <a:cubicBezTo>
                    <a:pt x="1673637" y="958321"/>
                    <a:pt x="1675753" y="1004358"/>
                    <a:pt x="1668345" y="1019175"/>
                  </a:cubicBezTo>
                  <a:cubicBezTo>
                    <a:pt x="1660937" y="1033992"/>
                    <a:pt x="1637124" y="1020763"/>
                    <a:pt x="1623895" y="1028700"/>
                  </a:cubicBezTo>
                  <a:cubicBezTo>
                    <a:pt x="1610666" y="1036637"/>
                    <a:pt x="1603257" y="1056746"/>
                    <a:pt x="1588970" y="1066800"/>
                  </a:cubicBezTo>
                  <a:cubicBezTo>
                    <a:pt x="1574683" y="1076854"/>
                    <a:pt x="1549812" y="1081617"/>
                    <a:pt x="1538170" y="1089025"/>
                  </a:cubicBezTo>
                  <a:cubicBezTo>
                    <a:pt x="1526528" y="1096433"/>
                    <a:pt x="1522824" y="1096433"/>
                    <a:pt x="1519120" y="1111250"/>
                  </a:cubicBezTo>
                  <a:cubicBezTo>
                    <a:pt x="1515416" y="1126067"/>
                    <a:pt x="1518591" y="1162050"/>
                    <a:pt x="1515945" y="1177925"/>
                  </a:cubicBezTo>
                  <a:cubicBezTo>
                    <a:pt x="1513299" y="1193800"/>
                    <a:pt x="1495837" y="1195917"/>
                    <a:pt x="1503245" y="1206500"/>
                  </a:cubicBezTo>
                  <a:cubicBezTo>
                    <a:pt x="1510653" y="1217083"/>
                    <a:pt x="1550870" y="1228196"/>
                    <a:pt x="1560395" y="1241425"/>
                  </a:cubicBezTo>
                  <a:cubicBezTo>
                    <a:pt x="1569920" y="1254654"/>
                    <a:pt x="1565157" y="1270264"/>
                    <a:pt x="1560395" y="1285875"/>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5" name="Freeform 30"/>
            <p:cNvSpPr/>
            <p:nvPr>
              <p:custDataLst>
                <p:tags r:id="rId15"/>
              </p:custDataLst>
            </p:nvPr>
          </p:nvSpPr>
          <p:spPr bwMode="gray">
            <a:xfrm>
              <a:off x="5683723" y="3466315"/>
              <a:ext cx="942288" cy="1619974"/>
            </a:xfrm>
            <a:custGeom>
              <a:avLst/>
              <a:gdLst>
                <a:gd name="connsiteX0" fmla="*/ 0 w 1025525"/>
                <a:gd name="connsiteY0" fmla="*/ 1817201 h 1817201"/>
                <a:gd name="connsiteX1" fmla="*/ 38100 w 1025525"/>
                <a:gd name="connsiteY1" fmla="*/ 1737826 h 1817201"/>
                <a:gd name="connsiteX2" fmla="*/ 76200 w 1025525"/>
                <a:gd name="connsiteY2" fmla="*/ 1696551 h 1817201"/>
                <a:gd name="connsiteX3" fmla="*/ 82550 w 1025525"/>
                <a:gd name="connsiteY3" fmla="*/ 1648926 h 1817201"/>
                <a:gd name="connsiteX4" fmla="*/ 146050 w 1025525"/>
                <a:gd name="connsiteY4" fmla="*/ 1664801 h 1817201"/>
                <a:gd name="connsiteX5" fmla="*/ 231775 w 1025525"/>
                <a:gd name="connsiteY5" fmla="*/ 1629876 h 1817201"/>
                <a:gd name="connsiteX6" fmla="*/ 250825 w 1025525"/>
                <a:gd name="connsiteY6" fmla="*/ 1594951 h 1817201"/>
                <a:gd name="connsiteX7" fmla="*/ 231775 w 1025525"/>
                <a:gd name="connsiteY7" fmla="*/ 1528276 h 1817201"/>
                <a:gd name="connsiteX8" fmla="*/ 269875 w 1025525"/>
                <a:gd name="connsiteY8" fmla="*/ 1385401 h 1817201"/>
                <a:gd name="connsiteX9" fmla="*/ 276225 w 1025525"/>
                <a:gd name="connsiteY9" fmla="*/ 1274276 h 1817201"/>
                <a:gd name="connsiteX10" fmla="*/ 339725 w 1025525"/>
                <a:gd name="connsiteY10" fmla="*/ 1217126 h 1817201"/>
                <a:gd name="connsiteX11" fmla="*/ 393700 w 1025525"/>
                <a:gd name="connsiteY11" fmla="*/ 1147276 h 1817201"/>
                <a:gd name="connsiteX12" fmla="*/ 450850 w 1025525"/>
                <a:gd name="connsiteY12" fmla="*/ 1153626 h 1817201"/>
                <a:gd name="connsiteX13" fmla="*/ 565150 w 1025525"/>
                <a:gd name="connsiteY13" fmla="*/ 1080601 h 1817201"/>
                <a:gd name="connsiteX14" fmla="*/ 723900 w 1025525"/>
                <a:gd name="connsiteY14" fmla="*/ 963126 h 1817201"/>
                <a:gd name="connsiteX15" fmla="*/ 812800 w 1025525"/>
                <a:gd name="connsiteY15" fmla="*/ 874226 h 1817201"/>
                <a:gd name="connsiteX16" fmla="*/ 866775 w 1025525"/>
                <a:gd name="connsiteY16" fmla="*/ 772626 h 1817201"/>
                <a:gd name="connsiteX17" fmla="*/ 863600 w 1025525"/>
                <a:gd name="connsiteY17" fmla="*/ 674201 h 1817201"/>
                <a:gd name="connsiteX18" fmla="*/ 822325 w 1025525"/>
                <a:gd name="connsiteY18" fmla="*/ 594826 h 1817201"/>
                <a:gd name="connsiteX19" fmla="*/ 803275 w 1025525"/>
                <a:gd name="connsiteY19" fmla="*/ 566251 h 1817201"/>
                <a:gd name="connsiteX20" fmla="*/ 749300 w 1025525"/>
                <a:gd name="connsiteY20" fmla="*/ 499576 h 1817201"/>
                <a:gd name="connsiteX21" fmla="*/ 765175 w 1025525"/>
                <a:gd name="connsiteY21" fmla="*/ 391626 h 1817201"/>
                <a:gd name="connsiteX22" fmla="*/ 835025 w 1025525"/>
                <a:gd name="connsiteY22" fmla="*/ 258276 h 1817201"/>
                <a:gd name="connsiteX23" fmla="*/ 889000 w 1025525"/>
                <a:gd name="connsiteY23" fmla="*/ 77301 h 1817201"/>
                <a:gd name="connsiteX24" fmla="*/ 965200 w 1025525"/>
                <a:gd name="connsiteY24" fmla="*/ 1101 h 1817201"/>
                <a:gd name="connsiteX25" fmla="*/ 1025525 w 1025525"/>
                <a:gd name="connsiteY25" fmla="*/ 39201 h 18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525" h="1817201">
                  <a:moveTo>
                    <a:pt x="0" y="1817201"/>
                  </a:moveTo>
                  <a:cubicBezTo>
                    <a:pt x="12700" y="1787567"/>
                    <a:pt x="25400" y="1757934"/>
                    <a:pt x="38100" y="1737826"/>
                  </a:cubicBezTo>
                  <a:cubicBezTo>
                    <a:pt x="50800" y="1717718"/>
                    <a:pt x="68792" y="1711368"/>
                    <a:pt x="76200" y="1696551"/>
                  </a:cubicBezTo>
                  <a:cubicBezTo>
                    <a:pt x="83608" y="1681734"/>
                    <a:pt x="70908" y="1654218"/>
                    <a:pt x="82550" y="1648926"/>
                  </a:cubicBezTo>
                  <a:cubicBezTo>
                    <a:pt x="94192" y="1643634"/>
                    <a:pt x="121179" y="1667976"/>
                    <a:pt x="146050" y="1664801"/>
                  </a:cubicBezTo>
                  <a:cubicBezTo>
                    <a:pt x="170921" y="1661626"/>
                    <a:pt x="214313" y="1641518"/>
                    <a:pt x="231775" y="1629876"/>
                  </a:cubicBezTo>
                  <a:cubicBezTo>
                    <a:pt x="249237" y="1618234"/>
                    <a:pt x="250825" y="1611884"/>
                    <a:pt x="250825" y="1594951"/>
                  </a:cubicBezTo>
                  <a:cubicBezTo>
                    <a:pt x="250825" y="1578018"/>
                    <a:pt x="228600" y="1563201"/>
                    <a:pt x="231775" y="1528276"/>
                  </a:cubicBezTo>
                  <a:cubicBezTo>
                    <a:pt x="234950" y="1493351"/>
                    <a:pt x="262467" y="1427734"/>
                    <a:pt x="269875" y="1385401"/>
                  </a:cubicBezTo>
                  <a:cubicBezTo>
                    <a:pt x="277283" y="1343068"/>
                    <a:pt x="264583" y="1302322"/>
                    <a:pt x="276225" y="1274276"/>
                  </a:cubicBezTo>
                  <a:cubicBezTo>
                    <a:pt x="287867" y="1246230"/>
                    <a:pt x="320146" y="1238293"/>
                    <a:pt x="339725" y="1217126"/>
                  </a:cubicBezTo>
                  <a:cubicBezTo>
                    <a:pt x="359304" y="1195959"/>
                    <a:pt x="375179" y="1157859"/>
                    <a:pt x="393700" y="1147276"/>
                  </a:cubicBezTo>
                  <a:cubicBezTo>
                    <a:pt x="412221" y="1136693"/>
                    <a:pt x="422275" y="1164738"/>
                    <a:pt x="450850" y="1153626"/>
                  </a:cubicBezTo>
                  <a:cubicBezTo>
                    <a:pt x="479425" y="1142514"/>
                    <a:pt x="519642" y="1112351"/>
                    <a:pt x="565150" y="1080601"/>
                  </a:cubicBezTo>
                  <a:cubicBezTo>
                    <a:pt x="610658" y="1048851"/>
                    <a:pt x="682625" y="997522"/>
                    <a:pt x="723900" y="963126"/>
                  </a:cubicBezTo>
                  <a:cubicBezTo>
                    <a:pt x="765175" y="928730"/>
                    <a:pt x="788988" y="905976"/>
                    <a:pt x="812800" y="874226"/>
                  </a:cubicBezTo>
                  <a:cubicBezTo>
                    <a:pt x="836612" y="842476"/>
                    <a:pt x="858308" y="805963"/>
                    <a:pt x="866775" y="772626"/>
                  </a:cubicBezTo>
                  <a:cubicBezTo>
                    <a:pt x="875242" y="739289"/>
                    <a:pt x="871008" y="703834"/>
                    <a:pt x="863600" y="674201"/>
                  </a:cubicBezTo>
                  <a:cubicBezTo>
                    <a:pt x="856192" y="644568"/>
                    <a:pt x="832379" y="612818"/>
                    <a:pt x="822325" y="594826"/>
                  </a:cubicBezTo>
                  <a:cubicBezTo>
                    <a:pt x="812271" y="576834"/>
                    <a:pt x="815446" y="582126"/>
                    <a:pt x="803275" y="566251"/>
                  </a:cubicBezTo>
                  <a:cubicBezTo>
                    <a:pt x="791104" y="550376"/>
                    <a:pt x="755650" y="528680"/>
                    <a:pt x="749300" y="499576"/>
                  </a:cubicBezTo>
                  <a:cubicBezTo>
                    <a:pt x="742950" y="470472"/>
                    <a:pt x="750888" y="431843"/>
                    <a:pt x="765175" y="391626"/>
                  </a:cubicBezTo>
                  <a:cubicBezTo>
                    <a:pt x="779462" y="351409"/>
                    <a:pt x="814388" y="310663"/>
                    <a:pt x="835025" y="258276"/>
                  </a:cubicBezTo>
                  <a:cubicBezTo>
                    <a:pt x="855663" y="205888"/>
                    <a:pt x="867304" y="120163"/>
                    <a:pt x="889000" y="77301"/>
                  </a:cubicBezTo>
                  <a:cubicBezTo>
                    <a:pt x="910696" y="34438"/>
                    <a:pt x="942446" y="7451"/>
                    <a:pt x="965200" y="1101"/>
                  </a:cubicBezTo>
                  <a:cubicBezTo>
                    <a:pt x="987954" y="-5249"/>
                    <a:pt x="1006739" y="16976"/>
                    <a:pt x="1025525" y="39201"/>
                  </a:cubicBezTo>
                </a:path>
              </a:pathLst>
            </a:custGeom>
            <a:noFill/>
            <a:ln w="9525" cap="flat" cmpd="sng" algn="ctr">
              <a:solidFill>
                <a:srgbClr val="CCCCCC">
                  <a:lumMod val="90000"/>
                </a:srgbClr>
              </a:solidFill>
              <a:prstDash val="solid"/>
              <a:headEnd/>
              <a:tailEnd/>
            </a:ln>
            <a:effectLs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6" name="Freeform 31"/>
            <p:cNvSpPr/>
            <p:nvPr>
              <p:custDataLst>
                <p:tags r:id="rId16"/>
              </p:custDataLst>
            </p:nvPr>
          </p:nvSpPr>
          <p:spPr bwMode="gray">
            <a:xfrm>
              <a:off x="3300289" y="5584441"/>
              <a:ext cx="1099823" cy="164164"/>
            </a:xfrm>
            <a:custGeom>
              <a:avLst/>
              <a:gdLst>
                <a:gd name="connsiteX0" fmla="*/ 0 w 1196975"/>
                <a:gd name="connsiteY0" fmla="*/ 53975 h 184150"/>
                <a:gd name="connsiteX1" fmla="*/ 57150 w 1196975"/>
                <a:gd name="connsiteY1" fmla="*/ 57150 h 184150"/>
                <a:gd name="connsiteX2" fmla="*/ 95250 w 1196975"/>
                <a:gd name="connsiteY2" fmla="*/ 85725 h 184150"/>
                <a:gd name="connsiteX3" fmla="*/ 127000 w 1196975"/>
                <a:gd name="connsiteY3" fmla="*/ 123825 h 184150"/>
                <a:gd name="connsiteX4" fmla="*/ 158750 w 1196975"/>
                <a:gd name="connsiteY4" fmla="*/ 149225 h 184150"/>
                <a:gd name="connsiteX5" fmla="*/ 206375 w 1196975"/>
                <a:gd name="connsiteY5" fmla="*/ 146050 h 184150"/>
                <a:gd name="connsiteX6" fmla="*/ 285750 w 1196975"/>
                <a:gd name="connsiteY6" fmla="*/ 184150 h 184150"/>
                <a:gd name="connsiteX7" fmla="*/ 330200 w 1196975"/>
                <a:gd name="connsiteY7" fmla="*/ 136525 h 184150"/>
                <a:gd name="connsiteX8" fmla="*/ 381000 w 1196975"/>
                <a:gd name="connsiteY8" fmla="*/ 120650 h 184150"/>
                <a:gd name="connsiteX9" fmla="*/ 463550 w 1196975"/>
                <a:gd name="connsiteY9" fmla="*/ 98425 h 184150"/>
                <a:gd name="connsiteX10" fmla="*/ 501650 w 1196975"/>
                <a:gd name="connsiteY10" fmla="*/ 88900 h 184150"/>
                <a:gd name="connsiteX11" fmla="*/ 561975 w 1196975"/>
                <a:gd name="connsiteY11" fmla="*/ 0 h 184150"/>
                <a:gd name="connsiteX12" fmla="*/ 590550 w 1196975"/>
                <a:gd name="connsiteY12" fmla="*/ 6350 h 184150"/>
                <a:gd name="connsiteX13" fmla="*/ 673100 w 1196975"/>
                <a:gd name="connsiteY13" fmla="*/ 0 h 184150"/>
                <a:gd name="connsiteX14" fmla="*/ 698500 w 1196975"/>
                <a:gd name="connsiteY14" fmla="*/ 25400 h 184150"/>
                <a:gd name="connsiteX15" fmla="*/ 698500 w 1196975"/>
                <a:gd name="connsiteY15" fmla="*/ 47625 h 184150"/>
                <a:gd name="connsiteX16" fmla="*/ 765175 w 1196975"/>
                <a:gd name="connsiteY16" fmla="*/ 107950 h 184150"/>
                <a:gd name="connsiteX17" fmla="*/ 790575 w 1196975"/>
                <a:gd name="connsiteY17" fmla="*/ 117475 h 184150"/>
                <a:gd name="connsiteX18" fmla="*/ 822325 w 1196975"/>
                <a:gd name="connsiteY18" fmla="*/ 92075 h 184150"/>
                <a:gd name="connsiteX19" fmla="*/ 857250 w 1196975"/>
                <a:gd name="connsiteY19" fmla="*/ 85725 h 184150"/>
                <a:gd name="connsiteX20" fmla="*/ 917575 w 1196975"/>
                <a:gd name="connsiteY20" fmla="*/ 73025 h 184150"/>
                <a:gd name="connsiteX21" fmla="*/ 962025 w 1196975"/>
                <a:gd name="connsiteY21" fmla="*/ 95250 h 184150"/>
                <a:gd name="connsiteX22" fmla="*/ 1009650 w 1196975"/>
                <a:gd name="connsiteY22" fmla="*/ 98425 h 184150"/>
                <a:gd name="connsiteX23" fmla="*/ 1060450 w 1196975"/>
                <a:gd name="connsiteY23" fmla="*/ 76200 h 184150"/>
                <a:gd name="connsiteX24" fmla="*/ 1120775 w 1196975"/>
                <a:gd name="connsiteY24" fmla="*/ 60325 h 184150"/>
                <a:gd name="connsiteX25" fmla="*/ 1196975 w 1196975"/>
                <a:gd name="connsiteY25" fmla="*/ 9525 h 18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6975" h="184150">
                  <a:moveTo>
                    <a:pt x="0" y="53975"/>
                  </a:moveTo>
                  <a:lnTo>
                    <a:pt x="57150" y="57150"/>
                  </a:lnTo>
                  <a:lnTo>
                    <a:pt x="95250" y="85725"/>
                  </a:lnTo>
                  <a:lnTo>
                    <a:pt x="127000" y="123825"/>
                  </a:lnTo>
                  <a:lnTo>
                    <a:pt x="158750" y="149225"/>
                  </a:lnTo>
                  <a:lnTo>
                    <a:pt x="206375" y="146050"/>
                  </a:lnTo>
                  <a:lnTo>
                    <a:pt x="285750" y="184150"/>
                  </a:lnTo>
                  <a:lnTo>
                    <a:pt x="330200" y="136525"/>
                  </a:lnTo>
                  <a:lnTo>
                    <a:pt x="381000" y="120650"/>
                  </a:lnTo>
                  <a:lnTo>
                    <a:pt x="463550" y="98425"/>
                  </a:lnTo>
                  <a:lnTo>
                    <a:pt x="501650" y="88900"/>
                  </a:lnTo>
                  <a:lnTo>
                    <a:pt x="561975" y="0"/>
                  </a:lnTo>
                  <a:lnTo>
                    <a:pt x="590550" y="6350"/>
                  </a:lnTo>
                  <a:lnTo>
                    <a:pt x="673100" y="0"/>
                  </a:lnTo>
                  <a:lnTo>
                    <a:pt x="698500" y="25400"/>
                  </a:lnTo>
                  <a:lnTo>
                    <a:pt x="698500" y="47625"/>
                  </a:lnTo>
                  <a:lnTo>
                    <a:pt x="765175" y="107950"/>
                  </a:lnTo>
                  <a:lnTo>
                    <a:pt x="790575" y="117475"/>
                  </a:lnTo>
                  <a:lnTo>
                    <a:pt x="822325" y="92075"/>
                  </a:lnTo>
                  <a:lnTo>
                    <a:pt x="857250" y="85725"/>
                  </a:lnTo>
                  <a:lnTo>
                    <a:pt x="917575" y="73025"/>
                  </a:lnTo>
                  <a:lnTo>
                    <a:pt x="962025" y="95250"/>
                  </a:lnTo>
                  <a:lnTo>
                    <a:pt x="1009650" y="98425"/>
                  </a:lnTo>
                  <a:lnTo>
                    <a:pt x="1060450" y="76200"/>
                  </a:lnTo>
                  <a:lnTo>
                    <a:pt x="1120775" y="60325"/>
                  </a:lnTo>
                  <a:lnTo>
                    <a:pt x="1196975" y="9525"/>
                  </a:ln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7" name="Freeform 18"/>
            <p:cNvSpPr/>
            <p:nvPr>
              <p:custDataLst>
                <p:tags r:id="rId17"/>
              </p:custDataLst>
            </p:nvPr>
          </p:nvSpPr>
          <p:spPr bwMode="gray">
            <a:xfrm>
              <a:off x="2182963" y="5626900"/>
              <a:ext cx="1120245" cy="377859"/>
            </a:xfrm>
            <a:custGeom>
              <a:avLst/>
              <a:gdLst>
                <a:gd name="connsiteX0" fmla="*/ 0 w 1176338"/>
                <a:gd name="connsiteY0" fmla="*/ 333375 h 381000"/>
                <a:gd name="connsiteX1" fmla="*/ 0 w 1176338"/>
                <a:gd name="connsiteY1" fmla="*/ 333375 h 381000"/>
                <a:gd name="connsiteX2" fmla="*/ 185738 w 1176338"/>
                <a:gd name="connsiteY2" fmla="*/ 309562 h 381000"/>
                <a:gd name="connsiteX3" fmla="*/ 228600 w 1176338"/>
                <a:gd name="connsiteY3" fmla="*/ 290512 h 381000"/>
                <a:gd name="connsiteX4" fmla="*/ 257175 w 1176338"/>
                <a:gd name="connsiteY4" fmla="*/ 280987 h 381000"/>
                <a:gd name="connsiteX5" fmla="*/ 271463 w 1176338"/>
                <a:gd name="connsiteY5" fmla="*/ 276225 h 381000"/>
                <a:gd name="connsiteX6" fmla="*/ 285750 w 1176338"/>
                <a:gd name="connsiteY6" fmla="*/ 266700 h 381000"/>
                <a:gd name="connsiteX7" fmla="*/ 390525 w 1176338"/>
                <a:gd name="connsiteY7" fmla="*/ 276225 h 381000"/>
                <a:gd name="connsiteX8" fmla="*/ 419100 w 1176338"/>
                <a:gd name="connsiteY8" fmla="*/ 285750 h 381000"/>
                <a:gd name="connsiteX9" fmla="*/ 433388 w 1176338"/>
                <a:gd name="connsiteY9" fmla="*/ 295275 h 381000"/>
                <a:gd name="connsiteX10" fmla="*/ 452438 w 1176338"/>
                <a:gd name="connsiteY10" fmla="*/ 300037 h 381000"/>
                <a:gd name="connsiteX11" fmla="*/ 504825 w 1176338"/>
                <a:gd name="connsiteY11" fmla="*/ 309562 h 381000"/>
                <a:gd name="connsiteX12" fmla="*/ 557213 w 1176338"/>
                <a:gd name="connsiteY12" fmla="*/ 328612 h 381000"/>
                <a:gd name="connsiteX13" fmla="*/ 671513 w 1176338"/>
                <a:gd name="connsiteY13" fmla="*/ 323850 h 381000"/>
                <a:gd name="connsiteX14" fmla="*/ 700088 w 1176338"/>
                <a:gd name="connsiteY14" fmla="*/ 314325 h 381000"/>
                <a:gd name="connsiteX15" fmla="*/ 757238 w 1176338"/>
                <a:gd name="connsiteY15" fmla="*/ 319087 h 381000"/>
                <a:gd name="connsiteX16" fmla="*/ 781050 w 1176338"/>
                <a:gd name="connsiteY16" fmla="*/ 342900 h 381000"/>
                <a:gd name="connsiteX17" fmla="*/ 795338 w 1176338"/>
                <a:gd name="connsiteY17" fmla="*/ 352425 h 381000"/>
                <a:gd name="connsiteX18" fmla="*/ 804863 w 1176338"/>
                <a:gd name="connsiteY18" fmla="*/ 366712 h 381000"/>
                <a:gd name="connsiteX19" fmla="*/ 819150 w 1176338"/>
                <a:gd name="connsiteY19" fmla="*/ 371475 h 381000"/>
                <a:gd name="connsiteX20" fmla="*/ 833438 w 1176338"/>
                <a:gd name="connsiteY20" fmla="*/ 381000 h 381000"/>
                <a:gd name="connsiteX21" fmla="*/ 876300 w 1176338"/>
                <a:gd name="connsiteY21" fmla="*/ 376237 h 381000"/>
                <a:gd name="connsiteX22" fmla="*/ 890588 w 1176338"/>
                <a:gd name="connsiteY22" fmla="*/ 371475 h 381000"/>
                <a:gd name="connsiteX23" fmla="*/ 900113 w 1176338"/>
                <a:gd name="connsiteY23" fmla="*/ 357187 h 381000"/>
                <a:gd name="connsiteX24" fmla="*/ 904875 w 1176338"/>
                <a:gd name="connsiteY24" fmla="*/ 342900 h 381000"/>
                <a:gd name="connsiteX25" fmla="*/ 914400 w 1176338"/>
                <a:gd name="connsiteY25" fmla="*/ 328612 h 381000"/>
                <a:gd name="connsiteX26" fmla="*/ 919163 w 1176338"/>
                <a:gd name="connsiteY26" fmla="*/ 309562 h 381000"/>
                <a:gd name="connsiteX27" fmla="*/ 952500 w 1176338"/>
                <a:gd name="connsiteY27" fmla="*/ 271462 h 381000"/>
                <a:gd name="connsiteX28" fmla="*/ 962025 w 1176338"/>
                <a:gd name="connsiteY28" fmla="*/ 257175 h 381000"/>
                <a:gd name="connsiteX29" fmla="*/ 952500 w 1176338"/>
                <a:gd name="connsiteY29" fmla="*/ 166687 h 381000"/>
                <a:gd name="connsiteX30" fmla="*/ 957263 w 1176338"/>
                <a:gd name="connsiteY30" fmla="*/ 85725 h 381000"/>
                <a:gd name="connsiteX31" fmla="*/ 966788 w 1176338"/>
                <a:gd name="connsiteY31" fmla="*/ 66675 h 381000"/>
                <a:gd name="connsiteX32" fmla="*/ 990600 w 1176338"/>
                <a:gd name="connsiteY32" fmla="*/ 42862 h 381000"/>
                <a:gd name="connsiteX33" fmla="*/ 1004888 w 1176338"/>
                <a:gd name="connsiteY33" fmla="*/ 28575 h 381000"/>
                <a:gd name="connsiteX34" fmla="*/ 1047750 w 1176338"/>
                <a:gd name="connsiteY34" fmla="*/ 33337 h 381000"/>
                <a:gd name="connsiteX35" fmla="*/ 1143000 w 1176338"/>
                <a:gd name="connsiteY35" fmla="*/ 23812 h 381000"/>
                <a:gd name="connsiteX36" fmla="*/ 1176338 w 1176338"/>
                <a:gd name="connsiteY36" fmla="*/ 0 h 381000"/>
                <a:gd name="connsiteX0" fmla="*/ 0 w 1219201"/>
                <a:gd name="connsiteY0" fmla="*/ 376237 h 423862"/>
                <a:gd name="connsiteX1" fmla="*/ 0 w 1219201"/>
                <a:gd name="connsiteY1" fmla="*/ 376237 h 423862"/>
                <a:gd name="connsiteX2" fmla="*/ 185738 w 1219201"/>
                <a:gd name="connsiteY2" fmla="*/ 352424 h 423862"/>
                <a:gd name="connsiteX3" fmla="*/ 228600 w 1219201"/>
                <a:gd name="connsiteY3" fmla="*/ 333374 h 423862"/>
                <a:gd name="connsiteX4" fmla="*/ 257175 w 1219201"/>
                <a:gd name="connsiteY4" fmla="*/ 323849 h 423862"/>
                <a:gd name="connsiteX5" fmla="*/ 271463 w 1219201"/>
                <a:gd name="connsiteY5" fmla="*/ 319087 h 423862"/>
                <a:gd name="connsiteX6" fmla="*/ 285750 w 1219201"/>
                <a:gd name="connsiteY6" fmla="*/ 309562 h 423862"/>
                <a:gd name="connsiteX7" fmla="*/ 390525 w 1219201"/>
                <a:gd name="connsiteY7" fmla="*/ 319087 h 423862"/>
                <a:gd name="connsiteX8" fmla="*/ 419100 w 1219201"/>
                <a:gd name="connsiteY8" fmla="*/ 328612 h 423862"/>
                <a:gd name="connsiteX9" fmla="*/ 433388 w 1219201"/>
                <a:gd name="connsiteY9" fmla="*/ 338137 h 423862"/>
                <a:gd name="connsiteX10" fmla="*/ 452438 w 1219201"/>
                <a:gd name="connsiteY10" fmla="*/ 342899 h 423862"/>
                <a:gd name="connsiteX11" fmla="*/ 504825 w 1219201"/>
                <a:gd name="connsiteY11" fmla="*/ 352424 h 423862"/>
                <a:gd name="connsiteX12" fmla="*/ 557213 w 1219201"/>
                <a:gd name="connsiteY12" fmla="*/ 371474 h 423862"/>
                <a:gd name="connsiteX13" fmla="*/ 671513 w 1219201"/>
                <a:gd name="connsiteY13" fmla="*/ 366712 h 423862"/>
                <a:gd name="connsiteX14" fmla="*/ 700088 w 1219201"/>
                <a:gd name="connsiteY14" fmla="*/ 357187 h 423862"/>
                <a:gd name="connsiteX15" fmla="*/ 757238 w 1219201"/>
                <a:gd name="connsiteY15" fmla="*/ 361949 h 423862"/>
                <a:gd name="connsiteX16" fmla="*/ 781050 w 1219201"/>
                <a:gd name="connsiteY16" fmla="*/ 385762 h 423862"/>
                <a:gd name="connsiteX17" fmla="*/ 795338 w 1219201"/>
                <a:gd name="connsiteY17" fmla="*/ 395287 h 423862"/>
                <a:gd name="connsiteX18" fmla="*/ 804863 w 1219201"/>
                <a:gd name="connsiteY18" fmla="*/ 409574 h 423862"/>
                <a:gd name="connsiteX19" fmla="*/ 819150 w 1219201"/>
                <a:gd name="connsiteY19" fmla="*/ 414337 h 423862"/>
                <a:gd name="connsiteX20" fmla="*/ 833438 w 1219201"/>
                <a:gd name="connsiteY20" fmla="*/ 423862 h 423862"/>
                <a:gd name="connsiteX21" fmla="*/ 876300 w 1219201"/>
                <a:gd name="connsiteY21" fmla="*/ 419099 h 423862"/>
                <a:gd name="connsiteX22" fmla="*/ 890588 w 1219201"/>
                <a:gd name="connsiteY22" fmla="*/ 414337 h 423862"/>
                <a:gd name="connsiteX23" fmla="*/ 900113 w 1219201"/>
                <a:gd name="connsiteY23" fmla="*/ 400049 h 423862"/>
                <a:gd name="connsiteX24" fmla="*/ 904875 w 1219201"/>
                <a:gd name="connsiteY24" fmla="*/ 385762 h 423862"/>
                <a:gd name="connsiteX25" fmla="*/ 914400 w 1219201"/>
                <a:gd name="connsiteY25" fmla="*/ 371474 h 423862"/>
                <a:gd name="connsiteX26" fmla="*/ 919163 w 1219201"/>
                <a:gd name="connsiteY26" fmla="*/ 352424 h 423862"/>
                <a:gd name="connsiteX27" fmla="*/ 952500 w 1219201"/>
                <a:gd name="connsiteY27" fmla="*/ 314324 h 423862"/>
                <a:gd name="connsiteX28" fmla="*/ 962025 w 1219201"/>
                <a:gd name="connsiteY28" fmla="*/ 300037 h 423862"/>
                <a:gd name="connsiteX29" fmla="*/ 952500 w 1219201"/>
                <a:gd name="connsiteY29" fmla="*/ 209549 h 423862"/>
                <a:gd name="connsiteX30" fmla="*/ 957263 w 1219201"/>
                <a:gd name="connsiteY30" fmla="*/ 128587 h 423862"/>
                <a:gd name="connsiteX31" fmla="*/ 966788 w 1219201"/>
                <a:gd name="connsiteY31" fmla="*/ 109537 h 423862"/>
                <a:gd name="connsiteX32" fmla="*/ 990600 w 1219201"/>
                <a:gd name="connsiteY32" fmla="*/ 85724 h 423862"/>
                <a:gd name="connsiteX33" fmla="*/ 1004888 w 1219201"/>
                <a:gd name="connsiteY33" fmla="*/ 71437 h 423862"/>
                <a:gd name="connsiteX34" fmla="*/ 1047750 w 1219201"/>
                <a:gd name="connsiteY34" fmla="*/ 76199 h 423862"/>
                <a:gd name="connsiteX35" fmla="*/ 1143000 w 1219201"/>
                <a:gd name="connsiteY35" fmla="*/ 66674 h 423862"/>
                <a:gd name="connsiteX36" fmla="*/ 1219201 w 1219201"/>
                <a:gd name="connsiteY36" fmla="*/ 0 h 4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201" h="423862">
                  <a:moveTo>
                    <a:pt x="0" y="376237"/>
                  </a:moveTo>
                  <a:lnTo>
                    <a:pt x="0" y="376237"/>
                  </a:lnTo>
                  <a:cubicBezTo>
                    <a:pt x="93609" y="334634"/>
                    <a:pt x="5290" y="367462"/>
                    <a:pt x="185738" y="352424"/>
                  </a:cubicBezTo>
                  <a:cubicBezTo>
                    <a:pt x="220644" y="349515"/>
                    <a:pt x="205446" y="343665"/>
                    <a:pt x="228600" y="333374"/>
                  </a:cubicBezTo>
                  <a:cubicBezTo>
                    <a:pt x="237775" y="329296"/>
                    <a:pt x="247650" y="327024"/>
                    <a:pt x="257175" y="323849"/>
                  </a:cubicBezTo>
                  <a:lnTo>
                    <a:pt x="271463" y="319087"/>
                  </a:lnTo>
                  <a:cubicBezTo>
                    <a:pt x="276225" y="315912"/>
                    <a:pt x="280033" y="309834"/>
                    <a:pt x="285750" y="309562"/>
                  </a:cubicBezTo>
                  <a:cubicBezTo>
                    <a:pt x="321198" y="307874"/>
                    <a:pt x="356704" y="308940"/>
                    <a:pt x="390525" y="319087"/>
                  </a:cubicBezTo>
                  <a:cubicBezTo>
                    <a:pt x="400142" y="321972"/>
                    <a:pt x="410746" y="323043"/>
                    <a:pt x="419100" y="328612"/>
                  </a:cubicBezTo>
                  <a:cubicBezTo>
                    <a:pt x="423863" y="331787"/>
                    <a:pt x="428127" y="335882"/>
                    <a:pt x="433388" y="338137"/>
                  </a:cubicBezTo>
                  <a:cubicBezTo>
                    <a:pt x="439404" y="340715"/>
                    <a:pt x="446144" y="341101"/>
                    <a:pt x="452438" y="342899"/>
                  </a:cubicBezTo>
                  <a:cubicBezTo>
                    <a:pt x="486704" y="352689"/>
                    <a:pt x="441763" y="344542"/>
                    <a:pt x="504825" y="352424"/>
                  </a:cubicBezTo>
                  <a:cubicBezTo>
                    <a:pt x="541510" y="364652"/>
                    <a:pt x="524078" y="358220"/>
                    <a:pt x="557213" y="371474"/>
                  </a:cubicBezTo>
                  <a:cubicBezTo>
                    <a:pt x="595313" y="369887"/>
                    <a:pt x="633569" y="370506"/>
                    <a:pt x="671513" y="366712"/>
                  </a:cubicBezTo>
                  <a:cubicBezTo>
                    <a:pt x="681503" y="365713"/>
                    <a:pt x="700088" y="357187"/>
                    <a:pt x="700088" y="357187"/>
                  </a:cubicBezTo>
                  <a:cubicBezTo>
                    <a:pt x="719138" y="358774"/>
                    <a:pt x="738493" y="358200"/>
                    <a:pt x="757238" y="361949"/>
                  </a:cubicBezTo>
                  <a:cubicBezTo>
                    <a:pt x="773113" y="365124"/>
                    <a:pt x="771525" y="376237"/>
                    <a:pt x="781050" y="385762"/>
                  </a:cubicBezTo>
                  <a:cubicBezTo>
                    <a:pt x="785097" y="389809"/>
                    <a:pt x="790575" y="392112"/>
                    <a:pt x="795338" y="395287"/>
                  </a:cubicBezTo>
                  <a:cubicBezTo>
                    <a:pt x="798513" y="400049"/>
                    <a:pt x="800394" y="405998"/>
                    <a:pt x="804863" y="409574"/>
                  </a:cubicBezTo>
                  <a:cubicBezTo>
                    <a:pt x="808783" y="412710"/>
                    <a:pt x="814660" y="412092"/>
                    <a:pt x="819150" y="414337"/>
                  </a:cubicBezTo>
                  <a:cubicBezTo>
                    <a:pt x="824270" y="416897"/>
                    <a:pt x="828675" y="420687"/>
                    <a:pt x="833438" y="423862"/>
                  </a:cubicBezTo>
                  <a:cubicBezTo>
                    <a:pt x="847725" y="422274"/>
                    <a:pt x="862120" y="421462"/>
                    <a:pt x="876300" y="419099"/>
                  </a:cubicBezTo>
                  <a:cubicBezTo>
                    <a:pt x="881252" y="418274"/>
                    <a:pt x="886668" y="417473"/>
                    <a:pt x="890588" y="414337"/>
                  </a:cubicBezTo>
                  <a:cubicBezTo>
                    <a:pt x="895058" y="410761"/>
                    <a:pt x="896938" y="404812"/>
                    <a:pt x="900113" y="400049"/>
                  </a:cubicBezTo>
                  <a:cubicBezTo>
                    <a:pt x="901700" y="395287"/>
                    <a:pt x="902630" y="390252"/>
                    <a:pt x="904875" y="385762"/>
                  </a:cubicBezTo>
                  <a:cubicBezTo>
                    <a:pt x="907435" y="380642"/>
                    <a:pt x="912145" y="376735"/>
                    <a:pt x="914400" y="371474"/>
                  </a:cubicBezTo>
                  <a:cubicBezTo>
                    <a:pt x="916978" y="365458"/>
                    <a:pt x="916236" y="358278"/>
                    <a:pt x="919163" y="352424"/>
                  </a:cubicBezTo>
                  <a:cubicBezTo>
                    <a:pt x="933054" y="324643"/>
                    <a:pt x="932855" y="327421"/>
                    <a:pt x="952500" y="314324"/>
                  </a:cubicBezTo>
                  <a:cubicBezTo>
                    <a:pt x="955675" y="309562"/>
                    <a:pt x="961689" y="305751"/>
                    <a:pt x="962025" y="300037"/>
                  </a:cubicBezTo>
                  <a:cubicBezTo>
                    <a:pt x="964210" y="262901"/>
                    <a:pt x="958900" y="241546"/>
                    <a:pt x="952500" y="209549"/>
                  </a:cubicBezTo>
                  <a:cubicBezTo>
                    <a:pt x="954088" y="182562"/>
                    <a:pt x="953440" y="155349"/>
                    <a:pt x="957263" y="128587"/>
                  </a:cubicBezTo>
                  <a:cubicBezTo>
                    <a:pt x="958267" y="121559"/>
                    <a:pt x="963266" y="115701"/>
                    <a:pt x="966788" y="109537"/>
                  </a:cubicBezTo>
                  <a:cubicBezTo>
                    <a:pt x="979487" y="87313"/>
                    <a:pt x="971551" y="101598"/>
                    <a:pt x="990600" y="85724"/>
                  </a:cubicBezTo>
                  <a:cubicBezTo>
                    <a:pt x="995774" y="81412"/>
                    <a:pt x="1000125" y="76199"/>
                    <a:pt x="1004888" y="71437"/>
                  </a:cubicBezTo>
                  <a:cubicBezTo>
                    <a:pt x="1019175" y="73024"/>
                    <a:pt x="1033375" y="76199"/>
                    <a:pt x="1047750" y="76199"/>
                  </a:cubicBezTo>
                  <a:cubicBezTo>
                    <a:pt x="1071061" y="76199"/>
                    <a:pt x="1117128" y="69908"/>
                    <a:pt x="1143000" y="66674"/>
                  </a:cubicBezTo>
                  <a:cubicBezTo>
                    <a:pt x="1173443" y="46379"/>
                    <a:pt x="1206342" y="12856"/>
                    <a:pt x="1219201" y="0"/>
                  </a:cubicBezTo>
                </a:path>
              </a:pathLst>
            </a:custGeom>
            <a:noFill/>
            <a:ln w="9525" cap="rnd">
              <a:solidFill>
                <a:srgbClr val="CCCCCC">
                  <a:lumMod val="90000"/>
                </a:srgbClr>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000000"/>
                </a:solidFill>
                <a:effectLst/>
                <a:uLnTx/>
                <a:uFillTx/>
                <a:latin typeface="Arial" charset="0"/>
              </a:endParaRPr>
            </a:p>
          </p:txBody>
        </p:sp>
        <p:sp>
          <p:nvSpPr>
            <p:cNvPr id="158" name="Oval 46"/>
            <p:cNvSpPr/>
            <p:nvPr>
              <p:custDataLst>
                <p:tags r:id="rId18"/>
              </p:custDataLst>
            </p:nvPr>
          </p:nvSpPr>
          <p:spPr bwMode="gray">
            <a:xfrm>
              <a:off x="3559928" y="2553077"/>
              <a:ext cx="67215" cy="65213"/>
            </a:xfrm>
            <a:prstGeom prst="ellipse">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59" name="Oval 47"/>
            <p:cNvSpPr/>
            <p:nvPr>
              <p:custDataLst>
                <p:tags r:id="rId19"/>
              </p:custDataLst>
            </p:nvPr>
          </p:nvSpPr>
          <p:spPr bwMode="gray">
            <a:xfrm>
              <a:off x="2193659" y="2278528"/>
              <a:ext cx="67215" cy="65213"/>
            </a:xfrm>
            <a:prstGeom prst="ellipse">
              <a:avLst/>
            </a:prstGeom>
            <a:solidFill>
              <a:srgbClr val="0065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sp>
          <p:nvSpPr>
            <p:cNvPr id="160" name="Oval 57"/>
            <p:cNvSpPr/>
            <p:nvPr>
              <p:custDataLst>
                <p:tags r:id="rId20"/>
              </p:custDataLst>
            </p:nvPr>
          </p:nvSpPr>
          <p:spPr bwMode="gray">
            <a:xfrm>
              <a:off x="2218699" y="5648129"/>
              <a:ext cx="67215" cy="65213"/>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61" name="Oval 58"/>
            <p:cNvSpPr/>
            <p:nvPr>
              <p:custDataLst>
                <p:tags r:id="rId21"/>
              </p:custDataLst>
            </p:nvPr>
          </p:nvSpPr>
          <p:spPr bwMode="gray">
            <a:xfrm>
              <a:off x="2146496" y="5928339"/>
              <a:ext cx="67215" cy="65213"/>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62" name="Rectangle 310273"/>
            <p:cNvSpPr txBox="1"/>
            <p:nvPr>
              <p:custDataLst>
                <p:tags r:id="rId22"/>
              </p:custDataLst>
            </p:nvPr>
          </p:nvSpPr>
          <p:spPr bwMode="gray">
            <a:xfrm>
              <a:off x="2304967" y="2233188"/>
              <a:ext cx="333425"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000000"/>
                  </a:solidFill>
                  <a:latin typeface="Cambria"/>
                </a:rPr>
                <a:t>Louga</a:t>
              </a:r>
              <a:endParaRPr lang="fr-FR" sz="1000" dirty="0">
                <a:solidFill>
                  <a:srgbClr val="000000"/>
                </a:solidFill>
                <a:latin typeface="Cambria"/>
              </a:endParaRPr>
            </a:p>
          </p:txBody>
        </p:sp>
        <p:sp>
          <p:nvSpPr>
            <p:cNvPr id="163" name="Oval 59"/>
            <p:cNvSpPr/>
            <p:nvPr>
              <p:custDataLst>
                <p:tags r:id="rId23"/>
              </p:custDataLst>
            </p:nvPr>
          </p:nvSpPr>
          <p:spPr bwMode="gray">
            <a:xfrm>
              <a:off x="5753740" y="2231827"/>
              <a:ext cx="67215" cy="65213"/>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64" name="Rectangle 310273"/>
            <p:cNvSpPr txBox="1"/>
            <p:nvPr>
              <p:custDataLst>
                <p:tags r:id="rId24"/>
              </p:custDataLst>
            </p:nvPr>
          </p:nvSpPr>
          <p:spPr bwMode="gray">
            <a:xfrm>
              <a:off x="3059432" y="2491596"/>
              <a:ext cx="488916"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algn="r" fontAlgn="base">
                <a:spcBef>
                  <a:spcPct val="0"/>
                </a:spcBef>
                <a:spcAft>
                  <a:spcPct val="0"/>
                </a:spcAft>
                <a:buClr>
                  <a:srgbClr val="000000"/>
                </a:buClr>
              </a:pPr>
              <a:r>
                <a:rPr lang="fr-FR" sz="1000" dirty="0" smtClean="0">
                  <a:solidFill>
                    <a:srgbClr val="808080">
                      <a:lumMod val="50000"/>
                    </a:srgbClr>
                  </a:solidFill>
                  <a:latin typeface="Cambria"/>
                </a:rPr>
                <a:t>Linguere</a:t>
              </a:r>
              <a:endParaRPr lang="fr-FR" sz="1000" dirty="0">
                <a:solidFill>
                  <a:srgbClr val="808080">
                    <a:lumMod val="50000"/>
                  </a:srgbClr>
                </a:solidFill>
                <a:latin typeface="Cambria"/>
              </a:endParaRPr>
            </a:p>
          </p:txBody>
        </p:sp>
        <p:sp>
          <p:nvSpPr>
            <p:cNvPr id="165" name="Rectangle 310273"/>
            <p:cNvSpPr txBox="1"/>
            <p:nvPr>
              <p:custDataLst>
                <p:tags r:id="rId25"/>
              </p:custDataLst>
            </p:nvPr>
          </p:nvSpPr>
          <p:spPr bwMode="gray">
            <a:xfrm>
              <a:off x="1271719" y="1725559"/>
              <a:ext cx="617157"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000000"/>
                  </a:solidFill>
                  <a:latin typeface="Cambria"/>
                </a:rPr>
                <a:t>Saint-Louis</a:t>
              </a:r>
              <a:endParaRPr lang="fr-FR" sz="1000" dirty="0">
                <a:solidFill>
                  <a:srgbClr val="000000"/>
                </a:solidFill>
                <a:latin typeface="Cambria"/>
              </a:endParaRPr>
            </a:p>
          </p:txBody>
        </p:sp>
        <p:sp>
          <p:nvSpPr>
            <p:cNvPr id="166" name="Rectangle 310273"/>
            <p:cNvSpPr txBox="1"/>
            <p:nvPr>
              <p:custDataLst>
                <p:tags r:id="rId26"/>
              </p:custDataLst>
            </p:nvPr>
          </p:nvSpPr>
          <p:spPr bwMode="gray">
            <a:xfrm>
              <a:off x="5389410" y="4505113"/>
              <a:ext cx="777457" cy="153888"/>
            </a:xfrm>
            <a:prstGeom prst="rect">
              <a:avLst/>
            </a:prstGeom>
            <a:solidFill>
              <a:srgbClr val="FFFFFF"/>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808080">
                      <a:lumMod val="50000"/>
                    </a:srgbClr>
                  </a:solidFill>
                  <a:effectLst/>
                  <a:uLnTx/>
                  <a:uFillTx/>
                  <a:latin typeface="Cambria"/>
                </a:rPr>
                <a:t>Tambacounda</a:t>
              </a:r>
              <a:endParaRPr kumimoji="0" lang="fr-FR" sz="1000" b="0" i="0" u="none" strike="noStrike" kern="0" cap="none" spc="0" normalizeH="0" baseline="0" noProof="0" dirty="0">
                <a:ln>
                  <a:noFill/>
                </a:ln>
                <a:solidFill>
                  <a:srgbClr val="808080">
                    <a:lumMod val="50000"/>
                  </a:srgbClr>
                </a:solidFill>
                <a:effectLst/>
                <a:uLnTx/>
                <a:uFillTx/>
                <a:latin typeface="Cambria"/>
              </a:endParaRPr>
            </a:p>
          </p:txBody>
        </p:sp>
        <p:sp>
          <p:nvSpPr>
            <p:cNvPr id="167" name="Rectangle 310273"/>
            <p:cNvSpPr txBox="1"/>
            <p:nvPr>
              <p:custDataLst>
                <p:tags r:id="rId27"/>
              </p:custDataLst>
            </p:nvPr>
          </p:nvSpPr>
          <p:spPr bwMode="gray">
            <a:xfrm>
              <a:off x="6927712" y="3812712"/>
              <a:ext cx="275717" cy="153888"/>
            </a:xfrm>
            <a:prstGeom prst="rect">
              <a:avLst/>
            </a:prstGeom>
            <a:solidFill>
              <a:srgbClr val="FFFFFF"/>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808080">
                      <a:lumMod val="50000"/>
                    </a:srgbClr>
                  </a:solidFill>
                  <a:effectLst/>
                  <a:uLnTx/>
                  <a:uFillTx/>
                  <a:latin typeface="Cambria"/>
                </a:rPr>
                <a:t>Naye</a:t>
              </a:r>
              <a:endParaRPr kumimoji="0" lang="fr-FR" sz="1000" b="0" i="0" u="none" strike="noStrike" kern="0" cap="none" spc="0" normalizeH="0" baseline="0" noProof="0" dirty="0">
                <a:ln>
                  <a:noFill/>
                </a:ln>
                <a:solidFill>
                  <a:srgbClr val="808080">
                    <a:lumMod val="50000"/>
                  </a:srgbClr>
                </a:solidFill>
                <a:effectLst/>
                <a:uLnTx/>
                <a:uFillTx/>
                <a:latin typeface="Cambria"/>
              </a:endParaRPr>
            </a:p>
          </p:txBody>
        </p:sp>
        <p:sp>
          <p:nvSpPr>
            <p:cNvPr id="168" name="Rectangle 310273"/>
            <p:cNvSpPr txBox="1"/>
            <p:nvPr>
              <p:custDataLst>
                <p:tags r:id="rId28"/>
              </p:custDataLst>
            </p:nvPr>
          </p:nvSpPr>
          <p:spPr bwMode="gray">
            <a:xfrm>
              <a:off x="2083250" y="5500185"/>
              <a:ext cx="452047"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Bignona</a:t>
              </a:r>
              <a:endParaRPr lang="fr-FR" sz="1000" dirty="0">
                <a:solidFill>
                  <a:srgbClr val="808080">
                    <a:lumMod val="50000"/>
                  </a:srgbClr>
                </a:solidFill>
                <a:latin typeface="Cambria"/>
              </a:endParaRPr>
            </a:p>
          </p:txBody>
        </p:sp>
        <p:sp>
          <p:nvSpPr>
            <p:cNvPr id="169" name="Rectangle 310273"/>
            <p:cNvSpPr txBox="1"/>
            <p:nvPr>
              <p:custDataLst>
                <p:tags r:id="rId29"/>
              </p:custDataLst>
            </p:nvPr>
          </p:nvSpPr>
          <p:spPr bwMode="gray">
            <a:xfrm>
              <a:off x="1933738" y="5976944"/>
              <a:ext cx="593111"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Ziguinchor</a:t>
              </a:r>
              <a:endParaRPr lang="fr-FR" sz="1000" dirty="0">
                <a:solidFill>
                  <a:srgbClr val="808080">
                    <a:lumMod val="50000"/>
                  </a:srgbClr>
                </a:solidFill>
                <a:latin typeface="Cambria"/>
              </a:endParaRPr>
            </a:p>
          </p:txBody>
        </p:sp>
        <p:sp>
          <p:nvSpPr>
            <p:cNvPr id="170" name="Rectangle 310273"/>
            <p:cNvSpPr txBox="1"/>
            <p:nvPr>
              <p:custDataLst>
                <p:tags r:id="rId30"/>
              </p:custDataLst>
            </p:nvPr>
          </p:nvSpPr>
          <p:spPr bwMode="gray">
            <a:xfrm>
              <a:off x="5361705" y="2207867"/>
              <a:ext cx="379912"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Matam</a:t>
              </a:r>
              <a:endParaRPr lang="fr-FR" sz="1000" dirty="0">
                <a:solidFill>
                  <a:srgbClr val="808080">
                    <a:lumMod val="50000"/>
                  </a:srgbClr>
                </a:solidFill>
                <a:latin typeface="Cambria"/>
              </a:endParaRPr>
            </a:p>
          </p:txBody>
        </p:sp>
        <p:sp>
          <p:nvSpPr>
            <p:cNvPr id="171" name="Rectangle 310273"/>
            <p:cNvSpPr txBox="1"/>
            <p:nvPr>
              <p:custDataLst>
                <p:tags r:id="rId31"/>
              </p:custDataLst>
            </p:nvPr>
          </p:nvSpPr>
          <p:spPr bwMode="gray">
            <a:xfrm>
              <a:off x="3631208" y="1094791"/>
              <a:ext cx="330219"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Podor</a:t>
              </a:r>
              <a:endParaRPr lang="fr-FR" sz="1000" dirty="0">
                <a:solidFill>
                  <a:srgbClr val="808080">
                    <a:lumMod val="50000"/>
                  </a:srgbClr>
                </a:solidFill>
                <a:latin typeface="Cambria"/>
              </a:endParaRPr>
            </a:p>
          </p:txBody>
        </p:sp>
        <p:sp>
          <p:nvSpPr>
            <p:cNvPr id="172" name="Rectangle 310273"/>
            <p:cNvSpPr txBox="1"/>
            <p:nvPr>
              <p:custDataLst>
                <p:tags r:id="rId32"/>
              </p:custDataLst>
            </p:nvPr>
          </p:nvSpPr>
          <p:spPr bwMode="gray">
            <a:xfrm>
              <a:off x="2029923" y="2585100"/>
              <a:ext cx="498534"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Kebemer</a:t>
              </a:r>
              <a:endParaRPr lang="fr-FR" sz="1000" dirty="0">
                <a:solidFill>
                  <a:srgbClr val="808080">
                    <a:lumMod val="50000"/>
                  </a:srgbClr>
                </a:solidFill>
                <a:latin typeface="Cambria"/>
              </a:endParaRPr>
            </a:p>
          </p:txBody>
        </p:sp>
        <p:sp>
          <p:nvSpPr>
            <p:cNvPr id="173" name="Rectangle 310273"/>
            <p:cNvSpPr txBox="1"/>
            <p:nvPr>
              <p:custDataLst>
                <p:tags r:id="rId33"/>
              </p:custDataLst>
            </p:nvPr>
          </p:nvSpPr>
          <p:spPr bwMode="gray">
            <a:xfrm>
              <a:off x="1773200" y="2870569"/>
              <a:ext cx="367088"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Mekhe</a:t>
              </a:r>
              <a:endParaRPr lang="fr-FR" sz="1000" dirty="0">
                <a:solidFill>
                  <a:srgbClr val="808080">
                    <a:lumMod val="50000"/>
                  </a:srgbClr>
                </a:solidFill>
                <a:latin typeface="Cambria"/>
              </a:endParaRPr>
            </a:p>
          </p:txBody>
        </p:sp>
        <p:sp>
          <p:nvSpPr>
            <p:cNvPr id="174" name="Rectangle 310273"/>
            <p:cNvSpPr txBox="1"/>
            <p:nvPr>
              <p:custDataLst>
                <p:tags r:id="rId34"/>
              </p:custDataLst>
            </p:nvPr>
          </p:nvSpPr>
          <p:spPr bwMode="gray">
            <a:xfrm>
              <a:off x="1276003" y="2534993"/>
              <a:ext cx="318998"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Diogo</a:t>
              </a:r>
              <a:endParaRPr lang="fr-FR" sz="1000" dirty="0">
                <a:solidFill>
                  <a:srgbClr val="808080">
                    <a:lumMod val="50000"/>
                  </a:srgbClr>
                </a:solidFill>
                <a:latin typeface="Cambria"/>
              </a:endParaRPr>
            </a:p>
          </p:txBody>
        </p:sp>
        <p:sp>
          <p:nvSpPr>
            <p:cNvPr id="175" name="Rectangle 310273"/>
            <p:cNvSpPr txBox="1"/>
            <p:nvPr>
              <p:custDataLst>
                <p:tags r:id="rId35"/>
              </p:custDataLst>
            </p:nvPr>
          </p:nvSpPr>
          <p:spPr bwMode="gray">
            <a:xfrm>
              <a:off x="1080287" y="2758273"/>
              <a:ext cx="362279"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Mboro</a:t>
              </a:r>
              <a:endParaRPr lang="fr-FR" sz="1000" dirty="0">
                <a:solidFill>
                  <a:srgbClr val="808080">
                    <a:lumMod val="50000"/>
                  </a:srgbClr>
                </a:solidFill>
                <a:latin typeface="Cambria"/>
              </a:endParaRPr>
            </a:p>
          </p:txBody>
        </p:sp>
        <p:sp>
          <p:nvSpPr>
            <p:cNvPr id="176" name="Arc 175"/>
            <p:cNvSpPr/>
            <p:nvPr>
              <p:custDataLst>
                <p:tags r:id="rId36"/>
              </p:custDataLst>
            </p:nvPr>
          </p:nvSpPr>
          <p:spPr>
            <a:xfrm rot="814799" flipH="1">
              <a:off x="3510618" y="1158758"/>
              <a:ext cx="586700" cy="669782"/>
            </a:xfrm>
            <a:prstGeom prst="arc">
              <a:avLst>
                <a:gd name="adj1" fmla="val 19104634"/>
                <a:gd name="adj2" fmla="val 2557761"/>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177" name="Arc 176"/>
            <p:cNvSpPr/>
            <p:nvPr>
              <p:custDataLst>
                <p:tags r:id="rId37"/>
              </p:custDataLst>
            </p:nvPr>
          </p:nvSpPr>
          <p:spPr>
            <a:xfrm rot="10209493" flipH="1" flipV="1">
              <a:off x="3454807" y="1124966"/>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cxnSp>
          <p:nvCxnSpPr>
            <p:cNvPr id="178" name="Straight Arrow Connector 6"/>
            <p:cNvCxnSpPr/>
            <p:nvPr>
              <p:custDataLst>
                <p:tags r:id="rId38"/>
              </p:custDataLst>
            </p:nvPr>
          </p:nvCxnSpPr>
          <p:spPr>
            <a:xfrm>
              <a:off x="3777151" y="1246255"/>
              <a:ext cx="0" cy="419100"/>
            </a:xfrm>
            <a:prstGeom prst="straightConnector1">
              <a:avLst/>
            </a:prstGeom>
            <a:noFill/>
            <a:ln w="28575" cap="flat" cmpd="sng" algn="ctr">
              <a:solidFill>
                <a:srgbClr val="0065CC"/>
              </a:solidFill>
              <a:prstDash val="solid"/>
              <a:headEnd type="none" w="med" len="med"/>
              <a:tailEnd type="arrow" w="med" len="med"/>
            </a:ln>
            <a:effectLst/>
          </p:spPr>
        </p:cxnSp>
        <p:sp>
          <p:nvSpPr>
            <p:cNvPr id="179" name="Arc 178"/>
            <p:cNvSpPr/>
            <p:nvPr>
              <p:custDataLst>
                <p:tags r:id="rId39"/>
              </p:custDataLst>
            </p:nvPr>
          </p:nvSpPr>
          <p:spPr>
            <a:xfrm flipH="1" flipV="1">
              <a:off x="1899334" y="1178254"/>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180" name="Arc 179"/>
            <p:cNvSpPr/>
            <p:nvPr>
              <p:custDataLst>
                <p:tags r:id="rId40"/>
              </p:custDataLst>
            </p:nvPr>
          </p:nvSpPr>
          <p:spPr>
            <a:xfrm rot="7618744" flipH="1" flipV="1">
              <a:off x="1695619" y="1755551"/>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181" name="Arc 180"/>
            <p:cNvSpPr/>
            <p:nvPr>
              <p:custDataLst>
                <p:tags r:id="rId41"/>
              </p:custDataLst>
            </p:nvPr>
          </p:nvSpPr>
          <p:spPr>
            <a:xfrm rot="4033207" flipH="1" flipV="1">
              <a:off x="1965098" y="1515492"/>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182" name="Arc 181"/>
            <p:cNvSpPr/>
            <p:nvPr>
              <p:custDataLst>
                <p:tags r:id="rId42"/>
              </p:custDataLst>
            </p:nvPr>
          </p:nvSpPr>
          <p:spPr>
            <a:xfrm flipH="1" flipV="1">
              <a:off x="3718609" y="5010480"/>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183" name="Arc 182"/>
            <p:cNvSpPr/>
            <p:nvPr>
              <p:custDataLst>
                <p:tags r:id="rId43"/>
              </p:custDataLst>
            </p:nvPr>
          </p:nvSpPr>
          <p:spPr>
            <a:xfrm rot="4033207" flipH="1" flipV="1">
              <a:off x="3797072" y="5373119"/>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184" name="Rectangle 310273"/>
            <p:cNvSpPr txBox="1"/>
            <p:nvPr>
              <p:custDataLst>
                <p:tags r:id="rId44"/>
              </p:custDataLst>
            </p:nvPr>
          </p:nvSpPr>
          <p:spPr bwMode="gray">
            <a:xfrm>
              <a:off x="3409874" y="5377714"/>
              <a:ext cx="315792" cy="153888"/>
            </a:xfrm>
            <a:prstGeom prst="rect">
              <a:avLst/>
            </a:prstGeom>
            <a:solidFill>
              <a:srgbClr val="FFFFFF"/>
            </a:solidFill>
            <a:ln w="9525">
              <a:noFill/>
              <a:miter lim="800000"/>
              <a:headEnd/>
              <a:tailEnd/>
            </a:ln>
            <a:effectLs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808080">
                      <a:lumMod val="50000"/>
                    </a:srgbClr>
                  </a:solidFill>
                  <a:effectLst/>
                  <a:uLnTx/>
                  <a:uFillTx/>
                  <a:latin typeface="Cambria"/>
                </a:rPr>
                <a:t>Kolda</a:t>
              </a:r>
              <a:endParaRPr kumimoji="0" lang="fr-FR" sz="1000" b="0" i="0" u="none" strike="noStrike" kern="0" cap="none" spc="0" normalizeH="0" baseline="0" noProof="0" dirty="0">
                <a:ln>
                  <a:noFill/>
                </a:ln>
                <a:solidFill>
                  <a:srgbClr val="808080">
                    <a:lumMod val="50000"/>
                  </a:srgbClr>
                </a:solidFill>
                <a:effectLst/>
                <a:uLnTx/>
                <a:uFillTx/>
                <a:latin typeface="Cambria"/>
              </a:endParaRPr>
            </a:p>
          </p:txBody>
        </p:sp>
        <p:sp>
          <p:nvSpPr>
            <p:cNvPr id="185" name="Arc 184"/>
            <p:cNvSpPr/>
            <p:nvPr>
              <p:custDataLst>
                <p:tags r:id="rId45"/>
              </p:custDataLst>
            </p:nvPr>
          </p:nvSpPr>
          <p:spPr>
            <a:xfrm rot="4873188" flipH="1" flipV="1">
              <a:off x="3278064" y="5507566"/>
              <a:ext cx="586700" cy="669782"/>
            </a:xfrm>
            <a:prstGeom prst="arc">
              <a:avLst>
                <a:gd name="adj1" fmla="val 19356808"/>
                <a:gd name="adj2" fmla="val 2574964"/>
              </a:avLst>
            </a:prstGeom>
            <a:noFill/>
            <a:ln w="28575" cap="flat" cmpd="sng" algn="ctr">
              <a:solidFill>
                <a:srgbClr val="0065CC"/>
              </a:solidFill>
              <a:prstDash val="solid"/>
              <a:headEnd type="arrow" w="med" len="med"/>
              <a:tailEnd type="none"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186" name="Oval 115"/>
            <p:cNvSpPr/>
            <p:nvPr>
              <p:custDataLst>
                <p:tags r:id="rId46"/>
              </p:custDataLst>
            </p:nvPr>
          </p:nvSpPr>
          <p:spPr bwMode="gray">
            <a:xfrm>
              <a:off x="3719953" y="1005311"/>
              <a:ext cx="109728" cy="109728"/>
            </a:xfrm>
            <a:prstGeom prst="ellipse">
              <a:avLst/>
            </a:prstGeom>
            <a:solidFill>
              <a:srgbClr val="FFFFFF"/>
            </a:solidFill>
            <a:ln w="28575" cap="flat" cmpd="sng" algn="ctr">
              <a:solidFill>
                <a:srgbClr val="0065C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87" name="Oval 119"/>
            <p:cNvSpPr/>
            <p:nvPr>
              <p:custDataLst>
                <p:tags r:id="rId47"/>
              </p:custDataLst>
            </p:nvPr>
          </p:nvSpPr>
          <p:spPr bwMode="gray">
            <a:xfrm>
              <a:off x="1901624" y="1706659"/>
              <a:ext cx="109728" cy="109728"/>
            </a:xfrm>
            <a:prstGeom prst="ellipse">
              <a:avLst/>
            </a:prstGeom>
            <a:solidFill>
              <a:srgbClr val="FFFFFF"/>
            </a:solidFill>
            <a:ln w="28575" cap="flat" cmpd="sng" algn="ctr">
              <a:solidFill>
                <a:srgbClr val="0065C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88" name="Oval 121"/>
            <p:cNvSpPr/>
            <p:nvPr>
              <p:custDataLst>
                <p:tags r:id="rId48"/>
              </p:custDataLst>
            </p:nvPr>
          </p:nvSpPr>
          <p:spPr bwMode="gray">
            <a:xfrm>
              <a:off x="3743292" y="5538916"/>
              <a:ext cx="109728" cy="109728"/>
            </a:xfrm>
            <a:prstGeom prst="ellipse">
              <a:avLst/>
            </a:prstGeom>
            <a:solidFill>
              <a:srgbClr val="FFFFFF"/>
            </a:solidFill>
            <a:ln w="28575" cap="flat" cmpd="sng" algn="ctr">
              <a:solidFill>
                <a:srgbClr val="0065C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89" name="Rectangle 310273"/>
            <p:cNvSpPr txBox="1"/>
            <p:nvPr>
              <p:custDataLst>
                <p:tags r:id="rId49"/>
              </p:custDataLst>
            </p:nvPr>
          </p:nvSpPr>
          <p:spPr bwMode="gray">
            <a:xfrm>
              <a:off x="8169040" y="4531050"/>
              <a:ext cx="445635"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Bamako</a:t>
              </a:r>
              <a:endParaRPr lang="fr-FR" sz="1000" dirty="0">
                <a:solidFill>
                  <a:srgbClr val="808080">
                    <a:lumMod val="50000"/>
                  </a:srgbClr>
                </a:solidFill>
                <a:latin typeface="Cambria"/>
              </a:endParaRPr>
            </a:p>
          </p:txBody>
        </p:sp>
        <p:sp>
          <p:nvSpPr>
            <p:cNvPr id="190" name="Freeform 102"/>
            <p:cNvSpPr/>
            <p:nvPr>
              <p:custDataLst>
                <p:tags r:id="rId50"/>
              </p:custDataLst>
            </p:nvPr>
          </p:nvSpPr>
          <p:spPr bwMode="gray">
            <a:xfrm>
              <a:off x="1277468" y="2925024"/>
              <a:ext cx="239465" cy="486642"/>
            </a:xfrm>
            <a:custGeom>
              <a:avLst/>
              <a:gdLst>
                <a:gd name="connsiteX0" fmla="*/ 0 w 220337"/>
                <a:gd name="connsiteY0" fmla="*/ 490250 h 490250"/>
                <a:gd name="connsiteX1" fmla="*/ 88135 w 220337"/>
                <a:gd name="connsiteY1" fmla="*/ 429657 h 490250"/>
                <a:gd name="connsiteX2" fmla="*/ 220337 w 220337"/>
                <a:gd name="connsiteY2" fmla="*/ 269913 h 490250"/>
                <a:gd name="connsiteX3" fmla="*/ 88135 w 220337"/>
                <a:gd name="connsiteY3" fmla="*/ 0 h 490250"/>
                <a:gd name="connsiteX0" fmla="*/ 0 w 220337"/>
                <a:gd name="connsiteY0" fmla="*/ 453305 h 453305"/>
                <a:gd name="connsiteX1" fmla="*/ 88135 w 220337"/>
                <a:gd name="connsiteY1" fmla="*/ 392712 h 453305"/>
                <a:gd name="connsiteX2" fmla="*/ 220337 w 220337"/>
                <a:gd name="connsiteY2" fmla="*/ 232968 h 453305"/>
                <a:gd name="connsiteX3" fmla="*/ 117085 w 220337"/>
                <a:gd name="connsiteY3" fmla="*/ 0 h 453305"/>
                <a:gd name="connsiteX0" fmla="*/ 0 w 250192"/>
                <a:gd name="connsiteY0" fmla="*/ 453305 h 453305"/>
                <a:gd name="connsiteX1" fmla="*/ 88135 w 250192"/>
                <a:gd name="connsiteY1" fmla="*/ 392712 h 453305"/>
                <a:gd name="connsiteX2" fmla="*/ 250192 w 250192"/>
                <a:gd name="connsiteY2" fmla="*/ 192486 h 453305"/>
                <a:gd name="connsiteX3" fmla="*/ 117085 w 250192"/>
                <a:gd name="connsiteY3" fmla="*/ 0 h 453305"/>
                <a:gd name="connsiteX0" fmla="*/ 0 w 250192"/>
                <a:gd name="connsiteY0" fmla="*/ 486642 h 486642"/>
                <a:gd name="connsiteX1" fmla="*/ 88135 w 250192"/>
                <a:gd name="connsiteY1" fmla="*/ 426049 h 486642"/>
                <a:gd name="connsiteX2" fmla="*/ 250192 w 250192"/>
                <a:gd name="connsiteY2" fmla="*/ 225823 h 486642"/>
                <a:gd name="connsiteX3" fmla="*/ 156892 w 250192"/>
                <a:gd name="connsiteY3" fmla="*/ 0 h 486642"/>
                <a:gd name="connsiteX0" fmla="*/ 0 w 250192"/>
                <a:gd name="connsiteY0" fmla="*/ 486642 h 486642"/>
                <a:gd name="connsiteX1" fmla="*/ 88135 w 250192"/>
                <a:gd name="connsiteY1" fmla="*/ 426049 h 486642"/>
                <a:gd name="connsiteX2" fmla="*/ 250192 w 250192"/>
                <a:gd name="connsiteY2" fmla="*/ 225823 h 486642"/>
                <a:gd name="connsiteX3" fmla="*/ 149428 w 250192"/>
                <a:gd name="connsiteY3" fmla="*/ 0 h 486642"/>
              </a:gdLst>
              <a:ahLst/>
              <a:cxnLst>
                <a:cxn ang="0">
                  <a:pos x="connsiteX0" y="connsiteY0"/>
                </a:cxn>
                <a:cxn ang="0">
                  <a:pos x="connsiteX1" y="connsiteY1"/>
                </a:cxn>
                <a:cxn ang="0">
                  <a:pos x="connsiteX2" y="connsiteY2"/>
                </a:cxn>
                <a:cxn ang="0">
                  <a:pos x="connsiteX3" y="connsiteY3"/>
                </a:cxn>
              </a:cxnLst>
              <a:rect l="l" t="t" r="r" b="b"/>
              <a:pathLst>
                <a:path w="250192" h="486642">
                  <a:moveTo>
                    <a:pt x="0" y="486642"/>
                  </a:moveTo>
                  <a:lnTo>
                    <a:pt x="88135" y="426049"/>
                  </a:lnTo>
                  <a:lnTo>
                    <a:pt x="250192" y="225823"/>
                  </a:lnTo>
                  <a:cubicBezTo>
                    <a:pt x="206125" y="135852"/>
                    <a:pt x="193495" y="89971"/>
                    <a:pt x="149428" y="0"/>
                  </a:cubicBezTo>
                </a:path>
              </a:pathLst>
            </a:custGeom>
            <a:noFill/>
            <a:ln w="38100" cap="flat" cmpd="sng" algn="ctr">
              <a:solidFill>
                <a:srgbClr val="597C56"/>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sp>
          <p:nvSpPr>
            <p:cNvPr id="191" name="Freeform 109"/>
            <p:cNvSpPr/>
            <p:nvPr>
              <p:custDataLst>
                <p:tags r:id="rId51"/>
              </p:custDataLst>
            </p:nvPr>
          </p:nvSpPr>
          <p:spPr bwMode="gray">
            <a:xfrm>
              <a:off x="2562889" y="3732879"/>
              <a:ext cx="5791633" cy="803435"/>
            </a:xfrm>
            <a:custGeom>
              <a:avLst/>
              <a:gdLst>
                <a:gd name="connsiteX0" fmla="*/ 0 w 5993175"/>
                <a:gd name="connsiteY0" fmla="*/ 275422 h 925417"/>
                <a:gd name="connsiteX1" fmla="*/ 512284 w 5993175"/>
                <a:gd name="connsiteY1" fmla="*/ 495759 h 925417"/>
                <a:gd name="connsiteX2" fmla="*/ 941942 w 5993175"/>
                <a:gd name="connsiteY2" fmla="*/ 517793 h 925417"/>
                <a:gd name="connsiteX3" fmla="*/ 1178804 w 5993175"/>
                <a:gd name="connsiteY3" fmla="*/ 661012 h 925417"/>
                <a:gd name="connsiteX4" fmla="*/ 1861850 w 5993175"/>
                <a:gd name="connsiteY4" fmla="*/ 633470 h 925417"/>
                <a:gd name="connsiteX5" fmla="*/ 2996587 w 5993175"/>
                <a:gd name="connsiteY5" fmla="*/ 925417 h 925417"/>
                <a:gd name="connsiteX6" fmla="*/ 4957590 w 5993175"/>
                <a:gd name="connsiteY6" fmla="*/ 0 h 925417"/>
                <a:gd name="connsiteX7" fmla="*/ 5993175 w 5993175"/>
                <a:gd name="connsiteY7" fmla="*/ 820757 h 925417"/>
                <a:gd name="connsiteX0" fmla="*/ 0 w 5993175"/>
                <a:gd name="connsiteY0" fmla="*/ 275422 h 860763"/>
                <a:gd name="connsiteX1" fmla="*/ 512284 w 5993175"/>
                <a:gd name="connsiteY1" fmla="*/ 495759 h 860763"/>
                <a:gd name="connsiteX2" fmla="*/ 941942 w 5993175"/>
                <a:gd name="connsiteY2" fmla="*/ 517793 h 860763"/>
                <a:gd name="connsiteX3" fmla="*/ 1178804 w 5993175"/>
                <a:gd name="connsiteY3" fmla="*/ 661012 h 860763"/>
                <a:gd name="connsiteX4" fmla="*/ 1861850 w 5993175"/>
                <a:gd name="connsiteY4" fmla="*/ 633470 h 860763"/>
                <a:gd name="connsiteX5" fmla="*/ 3122039 w 5993175"/>
                <a:gd name="connsiteY5" fmla="*/ 860763 h 860763"/>
                <a:gd name="connsiteX6" fmla="*/ 4957590 w 5993175"/>
                <a:gd name="connsiteY6" fmla="*/ 0 h 860763"/>
                <a:gd name="connsiteX7" fmla="*/ 5993175 w 5993175"/>
                <a:gd name="connsiteY7" fmla="*/ 820757 h 860763"/>
                <a:gd name="connsiteX0" fmla="*/ 0 w 5993175"/>
                <a:gd name="connsiteY0" fmla="*/ 275422 h 981817"/>
                <a:gd name="connsiteX1" fmla="*/ 512284 w 5993175"/>
                <a:gd name="connsiteY1" fmla="*/ 495759 h 981817"/>
                <a:gd name="connsiteX2" fmla="*/ 941942 w 5993175"/>
                <a:gd name="connsiteY2" fmla="*/ 517793 h 981817"/>
                <a:gd name="connsiteX3" fmla="*/ 1178804 w 5993175"/>
                <a:gd name="connsiteY3" fmla="*/ 661012 h 981817"/>
                <a:gd name="connsiteX4" fmla="*/ 1861850 w 5993175"/>
                <a:gd name="connsiteY4" fmla="*/ 633470 h 981817"/>
                <a:gd name="connsiteX5" fmla="*/ 3081512 w 5993175"/>
                <a:gd name="connsiteY5" fmla="*/ 981817 h 981817"/>
                <a:gd name="connsiteX6" fmla="*/ 4957590 w 5993175"/>
                <a:gd name="connsiteY6" fmla="*/ 0 h 981817"/>
                <a:gd name="connsiteX7" fmla="*/ 5993175 w 5993175"/>
                <a:gd name="connsiteY7" fmla="*/ 820757 h 981817"/>
                <a:gd name="connsiteX0" fmla="*/ 0 w 5871592"/>
                <a:gd name="connsiteY0" fmla="*/ 331293 h 981817"/>
                <a:gd name="connsiteX1" fmla="*/ 390701 w 5871592"/>
                <a:gd name="connsiteY1" fmla="*/ 495759 h 981817"/>
                <a:gd name="connsiteX2" fmla="*/ 820359 w 5871592"/>
                <a:gd name="connsiteY2" fmla="*/ 517793 h 981817"/>
                <a:gd name="connsiteX3" fmla="*/ 1057221 w 5871592"/>
                <a:gd name="connsiteY3" fmla="*/ 661012 h 981817"/>
                <a:gd name="connsiteX4" fmla="*/ 1740267 w 5871592"/>
                <a:gd name="connsiteY4" fmla="*/ 633470 h 981817"/>
                <a:gd name="connsiteX5" fmla="*/ 2959929 w 5871592"/>
                <a:gd name="connsiteY5" fmla="*/ 981817 h 981817"/>
                <a:gd name="connsiteX6" fmla="*/ 4836007 w 5871592"/>
                <a:gd name="connsiteY6" fmla="*/ 0 h 981817"/>
                <a:gd name="connsiteX7" fmla="*/ 5871592 w 5871592"/>
                <a:gd name="connsiteY7" fmla="*/ 820757 h 981817"/>
                <a:gd name="connsiteX0" fmla="*/ 0 w 6185988"/>
                <a:gd name="connsiteY0" fmla="*/ 331293 h 1012636"/>
                <a:gd name="connsiteX1" fmla="*/ 390701 w 6185988"/>
                <a:gd name="connsiteY1" fmla="*/ 495759 h 1012636"/>
                <a:gd name="connsiteX2" fmla="*/ 820359 w 6185988"/>
                <a:gd name="connsiteY2" fmla="*/ 517793 h 1012636"/>
                <a:gd name="connsiteX3" fmla="*/ 1057221 w 6185988"/>
                <a:gd name="connsiteY3" fmla="*/ 661012 h 1012636"/>
                <a:gd name="connsiteX4" fmla="*/ 1740267 w 6185988"/>
                <a:gd name="connsiteY4" fmla="*/ 633470 h 1012636"/>
                <a:gd name="connsiteX5" fmla="*/ 2959929 w 6185988"/>
                <a:gd name="connsiteY5" fmla="*/ 981817 h 1012636"/>
                <a:gd name="connsiteX6" fmla="*/ 4836007 w 6185988"/>
                <a:gd name="connsiteY6" fmla="*/ 0 h 1012636"/>
                <a:gd name="connsiteX7" fmla="*/ 6185988 w 6185988"/>
                <a:gd name="connsiteY7" fmla="*/ 1012636 h 1012636"/>
                <a:gd name="connsiteX0" fmla="*/ 0 w 6185988"/>
                <a:gd name="connsiteY0" fmla="*/ 286144 h 967487"/>
                <a:gd name="connsiteX1" fmla="*/ 390701 w 6185988"/>
                <a:gd name="connsiteY1" fmla="*/ 450610 h 967487"/>
                <a:gd name="connsiteX2" fmla="*/ 820359 w 6185988"/>
                <a:gd name="connsiteY2" fmla="*/ 472644 h 967487"/>
                <a:gd name="connsiteX3" fmla="*/ 1057221 w 6185988"/>
                <a:gd name="connsiteY3" fmla="*/ 615863 h 967487"/>
                <a:gd name="connsiteX4" fmla="*/ 1740267 w 6185988"/>
                <a:gd name="connsiteY4" fmla="*/ 588321 h 967487"/>
                <a:gd name="connsiteX5" fmla="*/ 2959929 w 6185988"/>
                <a:gd name="connsiteY5" fmla="*/ 936668 h 967487"/>
                <a:gd name="connsiteX6" fmla="*/ 4826182 w 6185988"/>
                <a:gd name="connsiteY6" fmla="*/ 0 h 967487"/>
                <a:gd name="connsiteX7" fmla="*/ 6185988 w 6185988"/>
                <a:gd name="connsiteY7" fmla="*/ 967487 h 967487"/>
                <a:gd name="connsiteX0" fmla="*/ 0 w 6185988"/>
                <a:gd name="connsiteY0" fmla="*/ 286144 h 981816"/>
                <a:gd name="connsiteX1" fmla="*/ 390701 w 6185988"/>
                <a:gd name="connsiteY1" fmla="*/ 450610 h 981816"/>
                <a:gd name="connsiteX2" fmla="*/ 820359 w 6185988"/>
                <a:gd name="connsiteY2" fmla="*/ 472644 h 981816"/>
                <a:gd name="connsiteX3" fmla="*/ 1057221 w 6185988"/>
                <a:gd name="connsiteY3" fmla="*/ 615863 h 981816"/>
                <a:gd name="connsiteX4" fmla="*/ 1740267 w 6185988"/>
                <a:gd name="connsiteY4" fmla="*/ 588321 h 981816"/>
                <a:gd name="connsiteX5" fmla="*/ 2959929 w 6185988"/>
                <a:gd name="connsiteY5" fmla="*/ 981816 h 981816"/>
                <a:gd name="connsiteX6" fmla="*/ 4826182 w 6185988"/>
                <a:gd name="connsiteY6" fmla="*/ 0 h 981816"/>
                <a:gd name="connsiteX7" fmla="*/ 6185988 w 6185988"/>
                <a:gd name="connsiteY7" fmla="*/ 967487 h 981816"/>
                <a:gd name="connsiteX0" fmla="*/ 0 w 6160659"/>
                <a:gd name="connsiteY0" fmla="*/ 265775 h 981816"/>
                <a:gd name="connsiteX1" fmla="*/ 365372 w 6160659"/>
                <a:gd name="connsiteY1" fmla="*/ 450610 h 981816"/>
                <a:gd name="connsiteX2" fmla="*/ 795030 w 6160659"/>
                <a:gd name="connsiteY2" fmla="*/ 472644 h 981816"/>
                <a:gd name="connsiteX3" fmla="*/ 1031892 w 6160659"/>
                <a:gd name="connsiteY3" fmla="*/ 615863 h 981816"/>
                <a:gd name="connsiteX4" fmla="*/ 1714938 w 6160659"/>
                <a:gd name="connsiteY4" fmla="*/ 588321 h 981816"/>
                <a:gd name="connsiteX5" fmla="*/ 2934600 w 6160659"/>
                <a:gd name="connsiteY5" fmla="*/ 981816 h 981816"/>
                <a:gd name="connsiteX6" fmla="*/ 4800853 w 6160659"/>
                <a:gd name="connsiteY6" fmla="*/ 0 h 981816"/>
                <a:gd name="connsiteX7" fmla="*/ 6160659 w 6160659"/>
                <a:gd name="connsiteY7" fmla="*/ 967487 h 98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0659" h="981816">
                  <a:moveTo>
                    <a:pt x="0" y="265775"/>
                  </a:moveTo>
                  <a:lnTo>
                    <a:pt x="365372" y="450610"/>
                  </a:lnTo>
                  <a:lnTo>
                    <a:pt x="795030" y="472644"/>
                  </a:lnTo>
                  <a:lnTo>
                    <a:pt x="1031892" y="615863"/>
                  </a:lnTo>
                  <a:lnTo>
                    <a:pt x="1714938" y="588321"/>
                  </a:lnTo>
                  <a:lnTo>
                    <a:pt x="2934600" y="981816"/>
                  </a:lnTo>
                  <a:lnTo>
                    <a:pt x="4800853" y="0"/>
                  </a:lnTo>
                  <a:lnTo>
                    <a:pt x="6160659" y="967487"/>
                  </a:lnTo>
                </a:path>
              </a:pathLst>
            </a:custGeom>
            <a:noFill/>
            <a:ln w="38100" cap="flat" cmpd="sng" algn="ctr">
              <a:solidFill>
                <a:srgbClr val="597C56"/>
              </a:solidFill>
              <a:prstDash val="solid"/>
              <a:tailEnd type="arrow" w="lg"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sp>
          <p:nvSpPr>
            <p:cNvPr id="192" name="Oval 53"/>
            <p:cNvSpPr/>
            <p:nvPr>
              <p:custDataLst>
                <p:tags r:id="rId52"/>
              </p:custDataLst>
            </p:nvPr>
          </p:nvSpPr>
          <p:spPr bwMode="gray">
            <a:xfrm>
              <a:off x="5280440" y="4508496"/>
              <a:ext cx="67215" cy="65213"/>
            </a:xfrm>
            <a:prstGeom prst="ellipse">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93" name="Oval 54"/>
            <p:cNvSpPr/>
            <p:nvPr>
              <p:custDataLst>
                <p:tags r:id="rId53"/>
              </p:custDataLst>
            </p:nvPr>
          </p:nvSpPr>
          <p:spPr bwMode="gray">
            <a:xfrm>
              <a:off x="7040816" y="3713959"/>
              <a:ext cx="67215" cy="65213"/>
            </a:xfrm>
            <a:prstGeom prst="ellipse">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194" name="Rectangle 310273"/>
            <p:cNvSpPr txBox="1"/>
            <p:nvPr>
              <p:custDataLst>
                <p:tags r:id="rId54"/>
              </p:custDataLst>
            </p:nvPr>
          </p:nvSpPr>
          <p:spPr bwMode="gray">
            <a:xfrm>
              <a:off x="7129690" y="3570828"/>
              <a:ext cx="336631"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Kidira</a:t>
              </a:r>
              <a:endParaRPr lang="fr-FR" sz="1000" dirty="0">
                <a:solidFill>
                  <a:srgbClr val="808080">
                    <a:lumMod val="50000"/>
                  </a:srgbClr>
                </a:solidFill>
                <a:latin typeface="Cambria"/>
              </a:endParaRPr>
            </a:p>
          </p:txBody>
        </p:sp>
        <p:sp>
          <p:nvSpPr>
            <p:cNvPr id="195" name="Freeform 132"/>
            <p:cNvSpPr/>
            <p:nvPr>
              <p:custDataLst>
                <p:tags r:id="rId55"/>
              </p:custDataLst>
            </p:nvPr>
          </p:nvSpPr>
          <p:spPr bwMode="gray">
            <a:xfrm>
              <a:off x="807214" y="3434833"/>
              <a:ext cx="7685624" cy="2489160"/>
            </a:xfrm>
            <a:custGeom>
              <a:avLst/>
              <a:gdLst>
                <a:gd name="connsiteX0" fmla="*/ 0 w 7700790"/>
                <a:gd name="connsiteY0" fmla="*/ 77118 h 2902944"/>
                <a:gd name="connsiteX1" fmla="*/ 165253 w 7700790"/>
                <a:gd name="connsiteY1" fmla="*/ 0 h 2902944"/>
                <a:gd name="connsiteX2" fmla="*/ 594911 w 7700790"/>
                <a:gd name="connsiteY2" fmla="*/ 44067 h 2902944"/>
                <a:gd name="connsiteX3" fmla="*/ 627962 w 7700790"/>
                <a:gd name="connsiteY3" fmla="*/ 5508 h 2902944"/>
                <a:gd name="connsiteX4" fmla="*/ 1129229 w 7700790"/>
                <a:gd name="connsiteY4" fmla="*/ 198303 h 2902944"/>
                <a:gd name="connsiteX5" fmla="*/ 1487277 w 7700790"/>
                <a:gd name="connsiteY5" fmla="*/ 622453 h 2902944"/>
                <a:gd name="connsiteX6" fmla="*/ 1569904 w 7700790"/>
                <a:gd name="connsiteY6" fmla="*/ 710588 h 2902944"/>
                <a:gd name="connsiteX7" fmla="*/ 2032612 w 7700790"/>
                <a:gd name="connsiteY7" fmla="*/ 919908 h 2902944"/>
                <a:gd name="connsiteX8" fmla="*/ 2467778 w 7700790"/>
                <a:gd name="connsiteY8" fmla="*/ 963976 h 2902944"/>
                <a:gd name="connsiteX9" fmla="*/ 2710149 w 7700790"/>
                <a:gd name="connsiteY9" fmla="*/ 1101686 h 2902944"/>
                <a:gd name="connsiteX10" fmla="*/ 3409721 w 7700790"/>
                <a:gd name="connsiteY10" fmla="*/ 1074144 h 2902944"/>
                <a:gd name="connsiteX11" fmla="*/ 4533441 w 7700790"/>
                <a:gd name="connsiteY11" fmla="*/ 1355074 h 2902944"/>
                <a:gd name="connsiteX12" fmla="*/ 6494443 w 7700790"/>
                <a:gd name="connsiteY12" fmla="*/ 2902944 h 2902944"/>
                <a:gd name="connsiteX13" fmla="*/ 7700790 w 7700790"/>
                <a:gd name="connsiteY13" fmla="*/ 1702106 h 2902944"/>
                <a:gd name="connsiteX0" fmla="*/ 0 w 7700790"/>
                <a:gd name="connsiteY0" fmla="*/ 77118 h 2712444"/>
                <a:gd name="connsiteX1" fmla="*/ 165253 w 7700790"/>
                <a:gd name="connsiteY1" fmla="*/ 0 h 2712444"/>
                <a:gd name="connsiteX2" fmla="*/ 594911 w 7700790"/>
                <a:gd name="connsiteY2" fmla="*/ 44067 h 2712444"/>
                <a:gd name="connsiteX3" fmla="*/ 627962 w 7700790"/>
                <a:gd name="connsiteY3" fmla="*/ 5508 h 2712444"/>
                <a:gd name="connsiteX4" fmla="*/ 1129229 w 7700790"/>
                <a:gd name="connsiteY4" fmla="*/ 198303 h 2712444"/>
                <a:gd name="connsiteX5" fmla="*/ 1487277 w 7700790"/>
                <a:gd name="connsiteY5" fmla="*/ 622453 h 2712444"/>
                <a:gd name="connsiteX6" fmla="*/ 1569904 w 7700790"/>
                <a:gd name="connsiteY6" fmla="*/ 710588 h 2712444"/>
                <a:gd name="connsiteX7" fmla="*/ 2032612 w 7700790"/>
                <a:gd name="connsiteY7" fmla="*/ 919908 h 2712444"/>
                <a:gd name="connsiteX8" fmla="*/ 2467778 w 7700790"/>
                <a:gd name="connsiteY8" fmla="*/ 963976 h 2712444"/>
                <a:gd name="connsiteX9" fmla="*/ 2710149 w 7700790"/>
                <a:gd name="connsiteY9" fmla="*/ 1101686 h 2712444"/>
                <a:gd name="connsiteX10" fmla="*/ 3409721 w 7700790"/>
                <a:gd name="connsiteY10" fmla="*/ 1074144 h 2712444"/>
                <a:gd name="connsiteX11" fmla="*/ 4533441 w 7700790"/>
                <a:gd name="connsiteY11" fmla="*/ 1355074 h 2712444"/>
                <a:gd name="connsiteX12" fmla="*/ 6455956 w 7700790"/>
                <a:gd name="connsiteY12" fmla="*/ 2712444 h 2712444"/>
                <a:gd name="connsiteX13" fmla="*/ 7700790 w 7700790"/>
                <a:gd name="connsiteY13" fmla="*/ 17021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569904 w 7752106"/>
                <a:gd name="connsiteY6" fmla="*/ 710588 h 2712444"/>
                <a:gd name="connsiteX7" fmla="*/ 2032612 w 7752106"/>
                <a:gd name="connsiteY7" fmla="*/ 919908 h 2712444"/>
                <a:gd name="connsiteX8" fmla="*/ 2467778 w 7752106"/>
                <a:gd name="connsiteY8" fmla="*/ 963976 h 2712444"/>
                <a:gd name="connsiteX9" fmla="*/ 2710149 w 7752106"/>
                <a:gd name="connsiteY9" fmla="*/ 1101686 h 2712444"/>
                <a:gd name="connsiteX10" fmla="*/ 3409721 w 7752106"/>
                <a:gd name="connsiteY10" fmla="*/ 1074144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569904 w 7752106"/>
                <a:gd name="connsiteY6" fmla="*/ 710588 h 2712444"/>
                <a:gd name="connsiteX7" fmla="*/ 2032612 w 7752106"/>
                <a:gd name="connsiteY7" fmla="*/ 919908 h 2712444"/>
                <a:gd name="connsiteX8" fmla="*/ 2467778 w 7752106"/>
                <a:gd name="connsiteY8" fmla="*/ 963976 h 2712444"/>
                <a:gd name="connsiteX9" fmla="*/ 2710149 w 7752106"/>
                <a:gd name="connsiteY9" fmla="*/ 11016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569904 w 7752106"/>
                <a:gd name="connsiteY6" fmla="*/ 710588 h 2712444"/>
                <a:gd name="connsiteX7" fmla="*/ 2032612 w 7752106"/>
                <a:gd name="connsiteY7" fmla="*/ 919908 h 2712444"/>
                <a:gd name="connsiteX8" fmla="*/ 2467778 w 7752106"/>
                <a:gd name="connsiteY8" fmla="*/ 963976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569904 w 7752106"/>
                <a:gd name="connsiteY6" fmla="*/ 710588 h 2712444"/>
                <a:gd name="connsiteX7" fmla="*/ 2032612 w 7752106"/>
                <a:gd name="connsiteY7" fmla="*/ 919908 h 2712444"/>
                <a:gd name="connsiteX8" fmla="*/ 2458157 w 7752106"/>
                <a:gd name="connsiteY8" fmla="*/ 925876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569904 w 7752106"/>
                <a:gd name="connsiteY6" fmla="*/ 710588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723851 w 7752106"/>
                <a:gd name="connsiteY6" fmla="*/ 739163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685365 w 7752106"/>
                <a:gd name="connsiteY6" fmla="*/ 767738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487277 w 7752106"/>
                <a:gd name="connsiteY5" fmla="*/ 622453 h 2712444"/>
                <a:gd name="connsiteX6" fmla="*/ 1704608 w 7752106"/>
                <a:gd name="connsiteY6" fmla="*/ 739163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545007 w 7752106"/>
                <a:gd name="connsiteY5" fmla="*/ 574828 h 2712444"/>
                <a:gd name="connsiteX6" fmla="*/ 1704608 w 7752106"/>
                <a:gd name="connsiteY6" fmla="*/ 739163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129229 w 7752106"/>
                <a:gd name="connsiteY4" fmla="*/ 198303 h 2712444"/>
                <a:gd name="connsiteX5" fmla="*/ 1545007 w 7752106"/>
                <a:gd name="connsiteY5" fmla="*/ 574828 h 2712444"/>
                <a:gd name="connsiteX6" fmla="*/ 1704608 w 7752106"/>
                <a:gd name="connsiteY6" fmla="*/ 739163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627962 w 7752106"/>
                <a:gd name="connsiteY3" fmla="*/ 5508 h 2712444"/>
                <a:gd name="connsiteX4" fmla="*/ 1321663 w 7752106"/>
                <a:gd name="connsiteY4" fmla="*/ 322128 h 2712444"/>
                <a:gd name="connsiteX5" fmla="*/ 1545007 w 7752106"/>
                <a:gd name="connsiteY5" fmla="*/ 574828 h 2712444"/>
                <a:gd name="connsiteX6" fmla="*/ 1704608 w 7752106"/>
                <a:gd name="connsiteY6" fmla="*/ 739163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594911 w 7752106"/>
                <a:gd name="connsiteY2" fmla="*/ 44067 h 2712444"/>
                <a:gd name="connsiteX3" fmla="*/ 810775 w 7752106"/>
                <a:gd name="connsiteY3" fmla="*/ 186483 h 2712444"/>
                <a:gd name="connsiteX4" fmla="*/ 1321663 w 7752106"/>
                <a:gd name="connsiteY4" fmla="*/ 322128 h 2712444"/>
                <a:gd name="connsiteX5" fmla="*/ 1545007 w 7752106"/>
                <a:gd name="connsiteY5" fmla="*/ 574828 h 2712444"/>
                <a:gd name="connsiteX6" fmla="*/ 1704608 w 7752106"/>
                <a:gd name="connsiteY6" fmla="*/ 739163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77118 h 2712444"/>
                <a:gd name="connsiteX1" fmla="*/ 165253 w 7752106"/>
                <a:gd name="connsiteY1" fmla="*/ 0 h 2712444"/>
                <a:gd name="connsiteX2" fmla="*/ 768102 w 7752106"/>
                <a:gd name="connsiteY2" fmla="*/ 263142 h 2712444"/>
                <a:gd name="connsiteX3" fmla="*/ 810775 w 7752106"/>
                <a:gd name="connsiteY3" fmla="*/ 186483 h 2712444"/>
                <a:gd name="connsiteX4" fmla="*/ 1321663 w 7752106"/>
                <a:gd name="connsiteY4" fmla="*/ 322128 h 2712444"/>
                <a:gd name="connsiteX5" fmla="*/ 1545007 w 7752106"/>
                <a:gd name="connsiteY5" fmla="*/ 574828 h 2712444"/>
                <a:gd name="connsiteX6" fmla="*/ 1704608 w 7752106"/>
                <a:gd name="connsiteY6" fmla="*/ 739163 h 2712444"/>
                <a:gd name="connsiteX7" fmla="*/ 2032612 w 7752106"/>
                <a:gd name="connsiteY7" fmla="*/ 919908 h 2712444"/>
                <a:gd name="connsiteX8" fmla="*/ 2448536 w 7752106"/>
                <a:gd name="connsiteY8" fmla="*/ 954451 h 2712444"/>
                <a:gd name="connsiteX9" fmla="*/ 2767879 w 7752106"/>
                <a:gd name="connsiteY9" fmla="*/ 1063586 h 2712444"/>
                <a:gd name="connsiteX10" fmla="*/ 3390478 w 7752106"/>
                <a:gd name="connsiteY10" fmla="*/ 1045569 h 2712444"/>
                <a:gd name="connsiteX11" fmla="*/ 4533441 w 7752106"/>
                <a:gd name="connsiteY11" fmla="*/ 1355074 h 2712444"/>
                <a:gd name="connsiteX12" fmla="*/ 6455956 w 7752106"/>
                <a:gd name="connsiteY12" fmla="*/ 2712444 h 2712444"/>
                <a:gd name="connsiteX13" fmla="*/ 7752106 w 7752106"/>
                <a:gd name="connsiteY13" fmla="*/ 1600506 h 2712444"/>
                <a:gd name="connsiteX0" fmla="*/ 0 w 7752106"/>
                <a:gd name="connsiteY0" fmla="*/ 0 h 2635326"/>
                <a:gd name="connsiteX1" fmla="*/ 444282 w 7752106"/>
                <a:gd name="connsiteY1" fmla="*/ 132432 h 2635326"/>
                <a:gd name="connsiteX2" fmla="*/ 768102 w 7752106"/>
                <a:gd name="connsiteY2" fmla="*/ 186024 h 2635326"/>
                <a:gd name="connsiteX3" fmla="*/ 810775 w 7752106"/>
                <a:gd name="connsiteY3" fmla="*/ 109365 h 2635326"/>
                <a:gd name="connsiteX4" fmla="*/ 1321663 w 7752106"/>
                <a:gd name="connsiteY4" fmla="*/ 245010 h 2635326"/>
                <a:gd name="connsiteX5" fmla="*/ 1545007 w 7752106"/>
                <a:gd name="connsiteY5" fmla="*/ 497710 h 2635326"/>
                <a:gd name="connsiteX6" fmla="*/ 1704608 w 7752106"/>
                <a:gd name="connsiteY6" fmla="*/ 662045 h 2635326"/>
                <a:gd name="connsiteX7" fmla="*/ 2032612 w 7752106"/>
                <a:gd name="connsiteY7" fmla="*/ 842790 h 2635326"/>
                <a:gd name="connsiteX8" fmla="*/ 2448536 w 7752106"/>
                <a:gd name="connsiteY8" fmla="*/ 877333 h 2635326"/>
                <a:gd name="connsiteX9" fmla="*/ 2767879 w 7752106"/>
                <a:gd name="connsiteY9" fmla="*/ 986468 h 2635326"/>
                <a:gd name="connsiteX10" fmla="*/ 3390478 w 7752106"/>
                <a:gd name="connsiteY10" fmla="*/ 968451 h 2635326"/>
                <a:gd name="connsiteX11" fmla="*/ 4533441 w 7752106"/>
                <a:gd name="connsiteY11" fmla="*/ 1277956 h 2635326"/>
                <a:gd name="connsiteX12" fmla="*/ 6455956 w 7752106"/>
                <a:gd name="connsiteY12" fmla="*/ 2635326 h 2635326"/>
                <a:gd name="connsiteX13" fmla="*/ 7752106 w 7752106"/>
                <a:gd name="connsiteY13" fmla="*/ 1523388 h 2635326"/>
                <a:gd name="connsiteX0" fmla="*/ 0 w 7405725"/>
                <a:gd name="connsiteY0" fmla="*/ 100185 h 2525961"/>
                <a:gd name="connsiteX1" fmla="*/ 97901 w 7405725"/>
                <a:gd name="connsiteY1" fmla="*/ 23067 h 2525961"/>
                <a:gd name="connsiteX2" fmla="*/ 421721 w 7405725"/>
                <a:gd name="connsiteY2" fmla="*/ 76659 h 2525961"/>
                <a:gd name="connsiteX3" fmla="*/ 464394 w 7405725"/>
                <a:gd name="connsiteY3" fmla="*/ 0 h 2525961"/>
                <a:gd name="connsiteX4" fmla="*/ 975282 w 7405725"/>
                <a:gd name="connsiteY4" fmla="*/ 135645 h 2525961"/>
                <a:gd name="connsiteX5" fmla="*/ 1198626 w 7405725"/>
                <a:gd name="connsiteY5" fmla="*/ 388345 h 2525961"/>
                <a:gd name="connsiteX6" fmla="*/ 1358227 w 7405725"/>
                <a:gd name="connsiteY6" fmla="*/ 552680 h 2525961"/>
                <a:gd name="connsiteX7" fmla="*/ 1686231 w 7405725"/>
                <a:gd name="connsiteY7" fmla="*/ 733425 h 2525961"/>
                <a:gd name="connsiteX8" fmla="*/ 2102155 w 7405725"/>
                <a:gd name="connsiteY8" fmla="*/ 767968 h 2525961"/>
                <a:gd name="connsiteX9" fmla="*/ 2421498 w 7405725"/>
                <a:gd name="connsiteY9" fmla="*/ 877103 h 2525961"/>
                <a:gd name="connsiteX10" fmla="*/ 3044097 w 7405725"/>
                <a:gd name="connsiteY10" fmla="*/ 859086 h 2525961"/>
                <a:gd name="connsiteX11" fmla="*/ 4187060 w 7405725"/>
                <a:gd name="connsiteY11" fmla="*/ 1168591 h 2525961"/>
                <a:gd name="connsiteX12" fmla="*/ 6109575 w 7405725"/>
                <a:gd name="connsiteY12" fmla="*/ 2525961 h 2525961"/>
                <a:gd name="connsiteX13" fmla="*/ 7405725 w 7405725"/>
                <a:gd name="connsiteY13" fmla="*/ 1414023 h 2525961"/>
                <a:gd name="connsiteX0" fmla="*/ 0 w 7405725"/>
                <a:gd name="connsiteY0" fmla="*/ 100185 h 2525961"/>
                <a:gd name="connsiteX1" fmla="*/ 182572 w 7405725"/>
                <a:gd name="connsiteY1" fmla="*/ 38307 h 2525961"/>
                <a:gd name="connsiteX2" fmla="*/ 421721 w 7405725"/>
                <a:gd name="connsiteY2" fmla="*/ 76659 h 2525961"/>
                <a:gd name="connsiteX3" fmla="*/ 464394 w 7405725"/>
                <a:gd name="connsiteY3" fmla="*/ 0 h 2525961"/>
                <a:gd name="connsiteX4" fmla="*/ 975282 w 7405725"/>
                <a:gd name="connsiteY4" fmla="*/ 135645 h 2525961"/>
                <a:gd name="connsiteX5" fmla="*/ 1198626 w 7405725"/>
                <a:gd name="connsiteY5" fmla="*/ 388345 h 2525961"/>
                <a:gd name="connsiteX6" fmla="*/ 1358227 w 7405725"/>
                <a:gd name="connsiteY6" fmla="*/ 552680 h 2525961"/>
                <a:gd name="connsiteX7" fmla="*/ 1686231 w 7405725"/>
                <a:gd name="connsiteY7" fmla="*/ 733425 h 2525961"/>
                <a:gd name="connsiteX8" fmla="*/ 2102155 w 7405725"/>
                <a:gd name="connsiteY8" fmla="*/ 767968 h 2525961"/>
                <a:gd name="connsiteX9" fmla="*/ 2421498 w 7405725"/>
                <a:gd name="connsiteY9" fmla="*/ 877103 h 2525961"/>
                <a:gd name="connsiteX10" fmla="*/ 3044097 w 7405725"/>
                <a:gd name="connsiteY10" fmla="*/ 859086 h 2525961"/>
                <a:gd name="connsiteX11" fmla="*/ 4187060 w 7405725"/>
                <a:gd name="connsiteY11" fmla="*/ 1168591 h 2525961"/>
                <a:gd name="connsiteX12" fmla="*/ 6109575 w 7405725"/>
                <a:gd name="connsiteY12" fmla="*/ 2525961 h 2525961"/>
                <a:gd name="connsiteX13" fmla="*/ 7405725 w 7405725"/>
                <a:gd name="connsiteY13" fmla="*/ 1414023 h 2525961"/>
                <a:gd name="connsiteX0" fmla="*/ 0 w 7398028"/>
                <a:gd name="connsiteY0" fmla="*/ 69705 h 2525961"/>
                <a:gd name="connsiteX1" fmla="*/ 174875 w 7398028"/>
                <a:gd name="connsiteY1" fmla="*/ 38307 h 2525961"/>
                <a:gd name="connsiteX2" fmla="*/ 414024 w 7398028"/>
                <a:gd name="connsiteY2" fmla="*/ 76659 h 2525961"/>
                <a:gd name="connsiteX3" fmla="*/ 456697 w 7398028"/>
                <a:gd name="connsiteY3" fmla="*/ 0 h 2525961"/>
                <a:gd name="connsiteX4" fmla="*/ 967585 w 7398028"/>
                <a:gd name="connsiteY4" fmla="*/ 135645 h 2525961"/>
                <a:gd name="connsiteX5" fmla="*/ 1190929 w 7398028"/>
                <a:gd name="connsiteY5" fmla="*/ 388345 h 2525961"/>
                <a:gd name="connsiteX6" fmla="*/ 1350530 w 7398028"/>
                <a:gd name="connsiteY6" fmla="*/ 552680 h 2525961"/>
                <a:gd name="connsiteX7" fmla="*/ 1678534 w 7398028"/>
                <a:gd name="connsiteY7" fmla="*/ 733425 h 2525961"/>
                <a:gd name="connsiteX8" fmla="*/ 2094458 w 7398028"/>
                <a:gd name="connsiteY8" fmla="*/ 767968 h 2525961"/>
                <a:gd name="connsiteX9" fmla="*/ 2413801 w 7398028"/>
                <a:gd name="connsiteY9" fmla="*/ 877103 h 2525961"/>
                <a:gd name="connsiteX10" fmla="*/ 3036400 w 7398028"/>
                <a:gd name="connsiteY10" fmla="*/ 859086 h 2525961"/>
                <a:gd name="connsiteX11" fmla="*/ 4179363 w 7398028"/>
                <a:gd name="connsiteY11" fmla="*/ 1168591 h 2525961"/>
                <a:gd name="connsiteX12" fmla="*/ 6101878 w 7398028"/>
                <a:gd name="connsiteY12" fmla="*/ 2525961 h 2525961"/>
                <a:gd name="connsiteX13" fmla="*/ 7398028 w 7398028"/>
                <a:gd name="connsiteY13" fmla="*/ 1414023 h 2525961"/>
                <a:gd name="connsiteX0" fmla="*/ 0 w 7398028"/>
                <a:gd name="connsiteY0" fmla="*/ 62085 h 2518341"/>
                <a:gd name="connsiteX1" fmla="*/ 174875 w 7398028"/>
                <a:gd name="connsiteY1" fmla="*/ 30687 h 2518341"/>
                <a:gd name="connsiteX2" fmla="*/ 414024 w 7398028"/>
                <a:gd name="connsiteY2" fmla="*/ 69039 h 2518341"/>
                <a:gd name="connsiteX3" fmla="*/ 525973 w 7398028"/>
                <a:gd name="connsiteY3" fmla="*/ 0 h 2518341"/>
                <a:gd name="connsiteX4" fmla="*/ 967585 w 7398028"/>
                <a:gd name="connsiteY4" fmla="*/ 128025 h 2518341"/>
                <a:gd name="connsiteX5" fmla="*/ 1190929 w 7398028"/>
                <a:gd name="connsiteY5" fmla="*/ 380725 h 2518341"/>
                <a:gd name="connsiteX6" fmla="*/ 1350530 w 7398028"/>
                <a:gd name="connsiteY6" fmla="*/ 545060 h 2518341"/>
                <a:gd name="connsiteX7" fmla="*/ 1678534 w 7398028"/>
                <a:gd name="connsiteY7" fmla="*/ 725805 h 2518341"/>
                <a:gd name="connsiteX8" fmla="*/ 2094458 w 7398028"/>
                <a:gd name="connsiteY8" fmla="*/ 760348 h 2518341"/>
                <a:gd name="connsiteX9" fmla="*/ 2413801 w 7398028"/>
                <a:gd name="connsiteY9" fmla="*/ 869483 h 2518341"/>
                <a:gd name="connsiteX10" fmla="*/ 3036400 w 7398028"/>
                <a:gd name="connsiteY10" fmla="*/ 851466 h 2518341"/>
                <a:gd name="connsiteX11" fmla="*/ 4179363 w 7398028"/>
                <a:gd name="connsiteY11" fmla="*/ 1160971 h 2518341"/>
                <a:gd name="connsiteX12" fmla="*/ 6101878 w 7398028"/>
                <a:gd name="connsiteY12" fmla="*/ 2518341 h 2518341"/>
                <a:gd name="connsiteX13" fmla="*/ 7398028 w 7398028"/>
                <a:gd name="connsiteY13" fmla="*/ 1406403 h 2518341"/>
                <a:gd name="connsiteX0" fmla="*/ 0 w 7398028"/>
                <a:gd name="connsiteY0" fmla="*/ 62085 h 2518341"/>
                <a:gd name="connsiteX1" fmla="*/ 174875 w 7398028"/>
                <a:gd name="connsiteY1" fmla="*/ 30687 h 2518341"/>
                <a:gd name="connsiteX2" fmla="*/ 444814 w 7398028"/>
                <a:gd name="connsiteY2" fmla="*/ 61419 h 2518341"/>
                <a:gd name="connsiteX3" fmla="*/ 525973 w 7398028"/>
                <a:gd name="connsiteY3" fmla="*/ 0 h 2518341"/>
                <a:gd name="connsiteX4" fmla="*/ 967585 w 7398028"/>
                <a:gd name="connsiteY4" fmla="*/ 128025 h 2518341"/>
                <a:gd name="connsiteX5" fmla="*/ 1190929 w 7398028"/>
                <a:gd name="connsiteY5" fmla="*/ 380725 h 2518341"/>
                <a:gd name="connsiteX6" fmla="*/ 1350530 w 7398028"/>
                <a:gd name="connsiteY6" fmla="*/ 545060 h 2518341"/>
                <a:gd name="connsiteX7" fmla="*/ 1678534 w 7398028"/>
                <a:gd name="connsiteY7" fmla="*/ 725805 h 2518341"/>
                <a:gd name="connsiteX8" fmla="*/ 2094458 w 7398028"/>
                <a:gd name="connsiteY8" fmla="*/ 760348 h 2518341"/>
                <a:gd name="connsiteX9" fmla="*/ 2413801 w 7398028"/>
                <a:gd name="connsiteY9" fmla="*/ 869483 h 2518341"/>
                <a:gd name="connsiteX10" fmla="*/ 3036400 w 7398028"/>
                <a:gd name="connsiteY10" fmla="*/ 851466 h 2518341"/>
                <a:gd name="connsiteX11" fmla="*/ 4179363 w 7398028"/>
                <a:gd name="connsiteY11" fmla="*/ 1160971 h 2518341"/>
                <a:gd name="connsiteX12" fmla="*/ 6101878 w 7398028"/>
                <a:gd name="connsiteY12" fmla="*/ 2518341 h 2518341"/>
                <a:gd name="connsiteX13" fmla="*/ 7398028 w 7398028"/>
                <a:gd name="connsiteY13" fmla="*/ 1406403 h 2518341"/>
                <a:gd name="connsiteX0" fmla="*/ 0 w 7398028"/>
                <a:gd name="connsiteY0" fmla="*/ 62085 h 2481395"/>
                <a:gd name="connsiteX1" fmla="*/ 174875 w 7398028"/>
                <a:gd name="connsiteY1" fmla="*/ 30687 h 2481395"/>
                <a:gd name="connsiteX2" fmla="*/ 444814 w 7398028"/>
                <a:gd name="connsiteY2" fmla="*/ 61419 h 2481395"/>
                <a:gd name="connsiteX3" fmla="*/ 525973 w 7398028"/>
                <a:gd name="connsiteY3" fmla="*/ 0 h 2481395"/>
                <a:gd name="connsiteX4" fmla="*/ 967585 w 7398028"/>
                <a:gd name="connsiteY4" fmla="*/ 128025 h 2481395"/>
                <a:gd name="connsiteX5" fmla="*/ 1190929 w 7398028"/>
                <a:gd name="connsiteY5" fmla="*/ 380725 h 2481395"/>
                <a:gd name="connsiteX6" fmla="*/ 1350530 w 7398028"/>
                <a:gd name="connsiteY6" fmla="*/ 545060 h 2481395"/>
                <a:gd name="connsiteX7" fmla="*/ 1678534 w 7398028"/>
                <a:gd name="connsiteY7" fmla="*/ 725805 h 2481395"/>
                <a:gd name="connsiteX8" fmla="*/ 2094458 w 7398028"/>
                <a:gd name="connsiteY8" fmla="*/ 760348 h 2481395"/>
                <a:gd name="connsiteX9" fmla="*/ 2413801 w 7398028"/>
                <a:gd name="connsiteY9" fmla="*/ 869483 h 2481395"/>
                <a:gd name="connsiteX10" fmla="*/ 3036400 w 7398028"/>
                <a:gd name="connsiteY10" fmla="*/ 851466 h 2481395"/>
                <a:gd name="connsiteX11" fmla="*/ 4179363 w 7398028"/>
                <a:gd name="connsiteY11" fmla="*/ 1160971 h 2481395"/>
                <a:gd name="connsiteX12" fmla="*/ 6111208 w 7398028"/>
                <a:gd name="connsiteY12" fmla="*/ 2481395 h 2481395"/>
                <a:gd name="connsiteX13" fmla="*/ 7398028 w 7398028"/>
                <a:gd name="connsiteY13" fmla="*/ 1406403 h 2481395"/>
                <a:gd name="connsiteX0" fmla="*/ 0 w 7763653"/>
                <a:gd name="connsiteY0" fmla="*/ 0 h 2508210"/>
                <a:gd name="connsiteX1" fmla="*/ 540500 w 7763653"/>
                <a:gd name="connsiteY1" fmla="*/ 57502 h 2508210"/>
                <a:gd name="connsiteX2" fmla="*/ 810439 w 7763653"/>
                <a:gd name="connsiteY2" fmla="*/ 88234 h 2508210"/>
                <a:gd name="connsiteX3" fmla="*/ 891598 w 7763653"/>
                <a:gd name="connsiteY3" fmla="*/ 26815 h 2508210"/>
                <a:gd name="connsiteX4" fmla="*/ 1333210 w 7763653"/>
                <a:gd name="connsiteY4" fmla="*/ 154840 h 2508210"/>
                <a:gd name="connsiteX5" fmla="*/ 1556554 w 7763653"/>
                <a:gd name="connsiteY5" fmla="*/ 407540 h 2508210"/>
                <a:gd name="connsiteX6" fmla="*/ 1716155 w 7763653"/>
                <a:gd name="connsiteY6" fmla="*/ 571875 h 2508210"/>
                <a:gd name="connsiteX7" fmla="*/ 2044159 w 7763653"/>
                <a:gd name="connsiteY7" fmla="*/ 752620 h 2508210"/>
                <a:gd name="connsiteX8" fmla="*/ 2460083 w 7763653"/>
                <a:gd name="connsiteY8" fmla="*/ 787163 h 2508210"/>
                <a:gd name="connsiteX9" fmla="*/ 2779426 w 7763653"/>
                <a:gd name="connsiteY9" fmla="*/ 896298 h 2508210"/>
                <a:gd name="connsiteX10" fmla="*/ 3402025 w 7763653"/>
                <a:gd name="connsiteY10" fmla="*/ 878281 h 2508210"/>
                <a:gd name="connsiteX11" fmla="*/ 4544988 w 7763653"/>
                <a:gd name="connsiteY11" fmla="*/ 1187786 h 2508210"/>
                <a:gd name="connsiteX12" fmla="*/ 6476833 w 7763653"/>
                <a:gd name="connsiteY12" fmla="*/ 2508210 h 2508210"/>
                <a:gd name="connsiteX13" fmla="*/ 7763653 w 7763653"/>
                <a:gd name="connsiteY13" fmla="*/ 1433218 h 2508210"/>
                <a:gd name="connsiteX0" fmla="*/ 0 w 7737995"/>
                <a:gd name="connsiteY0" fmla="*/ 0 h 2482810"/>
                <a:gd name="connsiteX1" fmla="*/ 514842 w 7737995"/>
                <a:gd name="connsiteY1" fmla="*/ 32102 h 2482810"/>
                <a:gd name="connsiteX2" fmla="*/ 784781 w 7737995"/>
                <a:gd name="connsiteY2" fmla="*/ 62834 h 2482810"/>
                <a:gd name="connsiteX3" fmla="*/ 865940 w 7737995"/>
                <a:gd name="connsiteY3" fmla="*/ 1415 h 2482810"/>
                <a:gd name="connsiteX4" fmla="*/ 1307552 w 7737995"/>
                <a:gd name="connsiteY4" fmla="*/ 129440 h 2482810"/>
                <a:gd name="connsiteX5" fmla="*/ 1530896 w 7737995"/>
                <a:gd name="connsiteY5" fmla="*/ 382140 h 2482810"/>
                <a:gd name="connsiteX6" fmla="*/ 1690497 w 7737995"/>
                <a:gd name="connsiteY6" fmla="*/ 546475 h 2482810"/>
                <a:gd name="connsiteX7" fmla="*/ 2018501 w 7737995"/>
                <a:gd name="connsiteY7" fmla="*/ 727220 h 2482810"/>
                <a:gd name="connsiteX8" fmla="*/ 2434425 w 7737995"/>
                <a:gd name="connsiteY8" fmla="*/ 761763 h 2482810"/>
                <a:gd name="connsiteX9" fmla="*/ 2753768 w 7737995"/>
                <a:gd name="connsiteY9" fmla="*/ 870898 h 2482810"/>
                <a:gd name="connsiteX10" fmla="*/ 3376367 w 7737995"/>
                <a:gd name="connsiteY10" fmla="*/ 852881 h 2482810"/>
                <a:gd name="connsiteX11" fmla="*/ 4519330 w 7737995"/>
                <a:gd name="connsiteY11" fmla="*/ 1162386 h 2482810"/>
                <a:gd name="connsiteX12" fmla="*/ 6451175 w 7737995"/>
                <a:gd name="connsiteY12" fmla="*/ 2482810 h 2482810"/>
                <a:gd name="connsiteX13" fmla="*/ 7737995 w 7737995"/>
                <a:gd name="connsiteY13" fmla="*/ 1407818 h 2482810"/>
                <a:gd name="connsiteX0" fmla="*/ 0 w 7763653"/>
                <a:gd name="connsiteY0" fmla="*/ 0 h 2489160"/>
                <a:gd name="connsiteX1" fmla="*/ 540500 w 7763653"/>
                <a:gd name="connsiteY1" fmla="*/ 38452 h 2489160"/>
                <a:gd name="connsiteX2" fmla="*/ 810439 w 7763653"/>
                <a:gd name="connsiteY2" fmla="*/ 69184 h 2489160"/>
                <a:gd name="connsiteX3" fmla="*/ 891598 w 7763653"/>
                <a:gd name="connsiteY3" fmla="*/ 7765 h 2489160"/>
                <a:gd name="connsiteX4" fmla="*/ 1333210 w 7763653"/>
                <a:gd name="connsiteY4" fmla="*/ 135790 h 2489160"/>
                <a:gd name="connsiteX5" fmla="*/ 1556554 w 7763653"/>
                <a:gd name="connsiteY5" fmla="*/ 388490 h 2489160"/>
                <a:gd name="connsiteX6" fmla="*/ 1716155 w 7763653"/>
                <a:gd name="connsiteY6" fmla="*/ 552825 h 2489160"/>
                <a:gd name="connsiteX7" fmla="*/ 2044159 w 7763653"/>
                <a:gd name="connsiteY7" fmla="*/ 733570 h 2489160"/>
                <a:gd name="connsiteX8" fmla="*/ 2460083 w 7763653"/>
                <a:gd name="connsiteY8" fmla="*/ 768113 h 2489160"/>
                <a:gd name="connsiteX9" fmla="*/ 2779426 w 7763653"/>
                <a:gd name="connsiteY9" fmla="*/ 877248 h 2489160"/>
                <a:gd name="connsiteX10" fmla="*/ 3402025 w 7763653"/>
                <a:gd name="connsiteY10" fmla="*/ 859231 h 2489160"/>
                <a:gd name="connsiteX11" fmla="*/ 4544988 w 7763653"/>
                <a:gd name="connsiteY11" fmla="*/ 1168736 h 2489160"/>
                <a:gd name="connsiteX12" fmla="*/ 6476833 w 7763653"/>
                <a:gd name="connsiteY12" fmla="*/ 2489160 h 2489160"/>
                <a:gd name="connsiteX13" fmla="*/ 7763653 w 7763653"/>
                <a:gd name="connsiteY13" fmla="*/ 1414168 h 248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63653" h="2489160">
                  <a:moveTo>
                    <a:pt x="0" y="0"/>
                  </a:moveTo>
                  <a:lnTo>
                    <a:pt x="540500" y="38452"/>
                  </a:lnTo>
                  <a:lnTo>
                    <a:pt x="810439" y="69184"/>
                  </a:lnTo>
                  <a:lnTo>
                    <a:pt x="891598" y="7765"/>
                  </a:lnTo>
                  <a:lnTo>
                    <a:pt x="1333210" y="135790"/>
                  </a:lnTo>
                  <a:cubicBezTo>
                    <a:pt x="1471803" y="261298"/>
                    <a:pt x="1475691" y="215357"/>
                    <a:pt x="1556554" y="388490"/>
                  </a:cubicBezTo>
                  <a:lnTo>
                    <a:pt x="1716155" y="552825"/>
                  </a:lnTo>
                  <a:lnTo>
                    <a:pt x="2044159" y="733570"/>
                  </a:lnTo>
                  <a:lnTo>
                    <a:pt x="2460083" y="768113"/>
                  </a:lnTo>
                  <a:lnTo>
                    <a:pt x="2779426" y="877248"/>
                  </a:lnTo>
                  <a:lnTo>
                    <a:pt x="3402025" y="859231"/>
                  </a:lnTo>
                  <a:lnTo>
                    <a:pt x="4544988" y="1168736"/>
                  </a:lnTo>
                  <a:lnTo>
                    <a:pt x="6476833" y="2489160"/>
                  </a:lnTo>
                  <a:cubicBezTo>
                    <a:pt x="6878949" y="2088881"/>
                    <a:pt x="7361537" y="1814447"/>
                    <a:pt x="7763653" y="1414168"/>
                  </a:cubicBezTo>
                </a:path>
              </a:pathLst>
            </a:custGeom>
            <a:noFill/>
            <a:ln w="38100" cap="flat" cmpd="sng" algn="ctr">
              <a:solidFill>
                <a:srgbClr val="FF0000"/>
              </a:solidFill>
              <a:prstDash val="solid"/>
              <a:tailEnd type="arrow" w="lg"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sp>
          <p:nvSpPr>
            <p:cNvPr id="196" name="Rectangle 310273"/>
            <p:cNvSpPr txBox="1"/>
            <p:nvPr>
              <p:custDataLst>
                <p:tags r:id="rId56"/>
              </p:custDataLst>
            </p:nvPr>
          </p:nvSpPr>
          <p:spPr bwMode="gray">
            <a:xfrm>
              <a:off x="1684828" y="3182430"/>
              <a:ext cx="572273"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000000"/>
                  </a:solidFill>
                  <a:latin typeface="Cambria"/>
                </a:rPr>
                <a:t>Tivaouane</a:t>
              </a:r>
              <a:endParaRPr lang="fr-FR" sz="1000" dirty="0">
                <a:solidFill>
                  <a:srgbClr val="000000"/>
                </a:solidFill>
                <a:latin typeface="Cambria"/>
              </a:endParaRPr>
            </a:p>
          </p:txBody>
        </p:sp>
        <p:sp>
          <p:nvSpPr>
            <p:cNvPr id="197" name="Freeform 103"/>
            <p:cNvSpPr/>
            <p:nvPr>
              <p:custDataLst>
                <p:tags r:id="rId57"/>
              </p:custDataLst>
            </p:nvPr>
          </p:nvSpPr>
          <p:spPr bwMode="gray">
            <a:xfrm>
              <a:off x="1436150" y="3308350"/>
              <a:ext cx="1138440" cy="755646"/>
            </a:xfrm>
            <a:custGeom>
              <a:avLst/>
              <a:gdLst>
                <a:gd name="connsiteX0" fmla="*/ 0 w 1211855"/>
                <a:gd name="connsiteY0" fmla="*/ 0 h 986010"/>
                <a:gd name="connsiteX1" fmla="*/ 77118 w 1211855"/>
                <a:gd name="connsiteY1" fmla="*/ 82627 h 986010"/>
                <a:gd name="connsiteX2" fmla="*/ 308472 w 1211855"/>
                <a:gd name="connsiteY2" fmla="*/ 60593 h 986010"/>
                <a:gd name="connsiteX3" fmla="*/ 886858 w 1211855"/>
                <a:gd name="connsiteY3" fmla="*/ 209321 h 986010"/>
                <a:gd name="connsiteX4" fmla="*/ 1189822 w 1211855"/>
                <a:gd name="connsiteY4" fmla="*/ 605928 h 986010"/>
                <a:gd name="connsiteX5" fmla="*/ 1211855 w 1211855"/>
                <a:gd name="connsiteY5" fmla="*/ 765672 h 986010"/>
                <a:gd name="connsiteX6" fmla="*/ 1030077 w 1211855"/>
                <a:gd name="connsiteY6" fmla="*/ 986010 h 986010"/>
                <a:gd name="connsiteX0" fmla="*/ 0 w 1230905"/>
                <a:gd name="connsiteY0" fmla="*/ 0 h 986010"/>
                <a:gd name="connsiteX1" fmla="*/ 77118 w 1230905"/>
                <a:gd name="connsiteY1" fmla="*/ 82627 h 986010"/>
                <a:gd name="connsiteX2" fmla="*/ 308472 w 1230905"/>
                <a:gd name="connsiteY2" fmla="*/ 60593 h 986010"/>
                <a:gd name="connsiteX3" fmla="*/ 886858 w 1230905"/>
                <a:gd name="connsiteY3" fmla="*/ 209321 h 986010"/>
                <a:gd name="connsiteX4" fmla="*/ 1189822 w 1230905"/>
                <a:gd name="connsiteY4" fmla="*/ 605928 h 986010"/>
                <a:gd name="connsiteX5" fmla="*/ 1230905 w 1230905"/>
                <a:gd name="connsiteY5" fmla="*/ 739478 h 986010"/>
                <a:gd name="connsiteX6" fmla="*/ 1030077 w 1230905"/>
                <a:gd name="connsiteY6" fmla="*/ 986010 h 986010"/>
                <a:gd name="connsiteX0" fmla="*/ 0 w 1230905"/>
                <a:gd name="connsiteY0" fmla="*/ 0 h 878854"/>
                <a:gd name="connsiteX1" fmla="*/ 77118 w 1230905"/>
                <a:gd name="connsiteY1" fmla="*/ 82627 h 878854"/>
                <a:gd name="connsiteX2" fmla="*/ 308472 w 1230905"/>
                <a:gd name="connsiteY2" fmla="*/ 60593 h 878854"/>
                <a:gd name="connsiteX3" fmla="*/ 886858 w 1230905"/>
                <a:gd name="connsiteY3" fmla="*/ 209321 h 878854"/>
                <a:gd name="connsiteX4" fmla="*/ 1189822 w 1230905"/>
                <a:gd name="connsiteY4" fmla="*/ 605928 h 878854"/>
                <a:gd name="connsiteX5" fmla="*/ 1230905 w 1230905"/>
                <a:gd name="connsiteY5" fmla="*/ 739478 h 878854"/>
                <a:gd name="connsiteX6" fmla="*/ 1075320 w 1230905"/>
                <a:gd name="connsiteY6" fmla="*/ 878854 h 878854"/>
                <a:gd name="connsiteX0" fmla="*/ 0 w 1230905"/>
                <a:gd name="connsiteY0" fmla="*/ 0 h 828848"/>
                <a:gd name="connsiteX1" fmla="*/ 77118 w 1230905"/>
                <a:gd name="connsiteY1" fmla="*/ 82627 h 828848"/>
                <a:gd name="connsiteX2" fmla="*/ 308472 w 1230905"/>
                <a:gd name="connsiteY2" fmla="*/ 60593 h 828848"/>
                <a:gd name="connsiteX3" fmla="*/ 886858 w 1230905"/>
                <a:gd name="connsiteY3" fmla="*/ 209321 h 828848"/>
                <a:gd name="connsiteX4" fmla="*/ 1189822 w 1230905"/>
                <a:gd name="connsiteY4" fmla="*/ 605928 h 828848"/>
                <a:gd name="connsiteX5" fmla="*/ 1230905 w 1230905"/>
                <a:gd name="connsiteY5" fmla="*/ 739478 h 828848"/>
                <a:gd name="connsiteX6" fmla="*/ 1154934 w 1230905"/>
                <a:gd name="connsiteY6" fmla="*/ 828848 h 828848"/>
                <a:gd name="connsiteX0" fmla="*/ 0 w 1230905"/>
                <a:gd name="connsiteY0" fmla="*/ 0 h 828848"/>
                <a:gd name="connsiteX1" fmla="*/ 77118 w 1230905"/>
                <a:gd name="connsiteY1" fmla="*/ 82627 h 828848"/>
                <a:gd name="connsiteX2" fmla="*/ 308472 w 1230905"/>
                <a:gd name="connsiteY2" fmla="*/ 60593 h 828848"/>
                <a:gd name="connsiteX3" fmla="*/ 933300 w 1230905"/>
                <a:gd name="connsiteY3" fmla="*/ 241071 h 828848"/>
                <a:gd name="connsiteX4" fmla="*/ 1189822 w 1230905"/>
                <a:gd name="connsiteY4" fmla="*/ 605928 h 828848"/>
                <a:gd name="connsiteX5" fmla="*/ 1230905 w 1230905"/>
                <a:gd name="connsiteY5" fmla="*/ 739478 h 828848"/>
                <a:gd name="connsiteX6" fmla="*/ 1154934 w 1230905"/>
                <a:gd name="connsiteY6" fmla="*/ 828848 h 828848"/>
                <a:gd name="connsiteX0" fmla="*/ 0 w 1230905"/>
                <a:gd name="connsiteY0" fmla="*/ 0 h 828848"/>
                <a:gd name="connsiteX1" fmla="*/ 156731 w 1230905"/>
                <a:gd name="connsiteY1" fmla="*/ 82627 h 828848"/>
                <a:gd name="connsiteX2" fmla="*/ 308472 w 1230905"/>
                <a:gd name="connsiteY2" fmla="*/ 60593 h 828848"/>
                <a:gd name="connsiteX3" fmla="*/ 933300 w 1230905"/>
                <a:gd name="connsiteY3" fmla="*/ 241071 h 828848"/>
                <a:gd name="connsiteX4" fmla="*/ 1189822 w 1230905"/>
                <a:gd name="connsiteY4" fmla="*/ 605928 h 828848"/>
                <a:gd name="connsiteX5" fmla="*/ 1230905 w 1230905"/>
                <a:gd name="connsiteY5" fmla="*/ 739478 h 828848"/>
                <a:gd name="connsiteX6" fmla="*/ 1154934 w 1230905"/>
                <a:gd name="connsiteY6" fmla="*/ 828848 h 828848"/>
                <a:gd name="connsiteX0" fmla="*/ 0 w 1144657"/>
                <a:gd name="connsiteY0" fmla="*/ 0 h 828848"/>
                <a:gd name="connsiteX1" fmla="*/ 70483 w 1144657"/>
                <a:gd name="connsiteY1" fmla="*/ 82627 h 828848"/>
                <a:gd name="connsiteX2" fmla="*/ 222224 w 1144657"/>
                <a:gd name="connsiteY2" fmla="*/ 60593 h 828848"/>
                <a:gd name="connsiteX3" fmla="*/ 847052 w 1144657"/>
                <a:gd name="connsiteY3" fmla="*/ 241071 h 828848"/>
                <a:gd name="connsiteX4" fmla="*/ 1103574 w 1144657"/>
                <a:gd name="connsiteY4" fmla="*/ 605928 h 828848"/>
                <a:gd name="connsiteX5" fmla="*/ 1144657 w 1144657"/>
                <a:gd name="connsiteY5" fmla="*/ 739478 h 828848"/>
                <a:gd name="connsiteX6" fmla="*/ 1068686 w 1144657"/>
                <a:gd name="connsiteY6" fmla="*/ 828848 h 828848"/>
                <a:gd name="connsiteX0" fmla="*/ 0 w 1144657"/>
                <a:gd name="connsiteY0" fmla="*/ 0 h 828848"/>
                <a:gd name="connsiteX1" fmla="*/ 70483 w 1144657"/>
                <a:gd name="connsiteY1" fmla="*/ 82627 h 828848"/>
                <a:gd name="connsiteX2" fmla="*/ 222224 w 1144657"/>
                <a:gd name="connsiteY2" fmla="*/ 60593 h 828848"/>
                <a:gd name="connsiteX3" fmla="*/ 860321 w 1144657"/>
                <a:gd name="connsiteY3" fmla="*/ 195511 h 828848"/>
                <a:gd name="connsiteX4" fmla="*/ 1103574 w 1144657"/>
                <a:gd name="connsiteY4" fmla="*/ 605928 h 828848"/>
                <a:gd name="connsiteX5" fmla="*/ 1144657 w 1144657"/>
                <a:gd name="connsiteY5" fmla="*/ 739478 h 828848"/>
                <a:gd name="connsiteX6" fmla="*/ 1068686 w 1144657"/>
                <a:gd name="connsiteY6" fmla="*/ 828848 h 828848"/>
                <a:gd name="connsiteX0" fmla="*/ 0 w 1189439"/>
                <a:gd name="connsiteY0" fmla="*/ 0 h 828848"/>
                <a:gd name="connsiteX1" fmla="*/ 70483 w 1189439"/>
                <a:gd name="connsiteY1" fmla="*/ 82627 h 828848"/>
                <a:gd name="connsiteX2" fmla="*/ 222224 w 1189439"/>
                <a:gd name="connsiteY2" fmla="*/ 60593 h 828848"/>
                <a:gd name="connsiteX3" fmla="*/ 860321 w 1189439"/>
                <a:gd name="connsiteY3" fmla="*/ 195511 h 828848"/>
                <a:gd name="connsiteX4" fmla="*/ 1103574 w 1189439"/>
                <a:gd name="connsiteY4" fmla="*/ 605928 h 828848"/>
                <a:gd name="connsiteX5" fmla="*/ 1189439 w 1189439"/>
                <a:gd name="connsiteY5" fmla="*/ 715822 h 828848"/>
                <a:gd name="connsiteX6" fmla="*/ 1068686 w 1189439"/>
                <a:gd name="connsiteY6" fmla="*/ 828848 h 828848"/>
                <a:gd name="connsiteX0" fmla="*/ 0 w 1189439"/>
                <a:gd name="connsiteY0" fmla="*/ 0 h 834106"/>
                <a:gd name="connsiteX1" fmla="*/ 70483 w 1189439"/>
                <a:gd name="connsiteY1" fmla="*/ 82627 h 834106"/>
                <a:gd name="connsiteX2" fmla="*/ 222224 w 1189439"/>
                <a:gd name="connsiteY2" fmla="*/ 60593 h 834106"/>
                <a:gd name="connsiteX3" fmla="*/ 860321 w 1189439"/>
                <a:gd name="connsiteY3" fmla="*/ 195511 h 834106"/>
                <a:gd name="connsiteX4" fmla="*/ 1103574 w 1189439"/>
                <a:gd name="connsiteY4" fmla="*/ 605928 h 834106"/>
                <a:gd name="connsiteX5" fmla="*/ 1189439 w 1189439"/>
                <a:gd name="connsiteY5" fmla="*/ 715822 h 834106"/>
                <a:gd name="connsiteX6" fmla="*/ 1058734 w 1189439"/>
                <a:gd name="connsiteY6" fmla="*/ 834106 h 834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439" h="834106">
                  <a:moveTo>
                    <a:pt x="0" y="0"/>
                  </a:moveTo>
                  <a:lnTo>
                    <a:pt x="70483" y="82627"/>
                  </a:lnTo>
                  <a:lnTo>
                    <a:pt x="222224" y="60593"/>
                  </a:lnTo>
                  <a:lnTo>
                    <a:pt x="860321" y="195511"/>
                  </a:lnTo>
                  <a:lnTo>
                    <a:pt x="1103574" y="605928"/>
                  </a:lnTo>
                  <a:lnTo>
                    <a:pt x="1189439" y="715822"/>
                  </a:lnTo>
                  <a:lnTo>
                    <a:pt x="1058734" y="834106"/>
                  </a:lnTo>
                </a:path>
              </a:pathLst>
            </a:custGeom>
            <a:noFill/>
            <a:ln w="38100" cap="flat" cmpd="sng" algn="ctr">
              <a:solidFill>
                <a:srgbClr val="597C56"/>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sp>
          <p:nvSpPr>
            <p:cNvPr id="198" name="Freeform 116"/>
            <p:cNvSpPr/>
            <p:nvPr>
              <p:custDataLst>
                <p:tags r:id="rId58"/>
              </p:custDataLst>
            </p:nvPr>
          </p:nvSpPr>
          <p:spPr bwMode="gray">
            <a:xfrm>
              <a:off x="2237017" y="3270248"/>
              <a:ext cx="421780" cy="221138"/>
            </a:xfrm>
            <a:custGeom>
              <a:avLst/>
              <a:gdLst>
                <a:gd name="connsiteX0" fmla="*/ 0 w 440675"/>
                <a:gd name="connsiteY0" fmla="*/ 176270 h 176270"/>
                <a:gd name="connsiteX1" fmla="*/ 440675 w 440675"/>
                <a:gd name="connsiteY1" fmla="*/ 0 h 176270"/>
              </a:gdLst>
              <a:ahLst/>
              <a:cxnLst>
                <a:cxn ang="0">
                  <a:pos x="connsiteX0" y="connsiteY0"/>
                </a:cxn>
                <a:cxn ang="0">
                  <a:pos x="connsiteX1" y="connsiteY1"/>
                </a:cxn>
              </a:cxnLst>
              <a:rect l="l" t="t" r="r" b="b"/>
              <a:pathLst>
                <a:path w="440675" h="176270">
                  <a:moveTo>
                    <a:pt x="0" y="176270"/>
                  </a:moveTo>
                  <a:lnTo>
                    <a:pt x="440675" y="0"/>
                  </a:lnTo>
                </a:path>
              </a:pathLst>
            </a:custGeom>
            <a:noFill/>
            <a:ln w="38100" cap="flat" cmpd="sng" algn="ctr">
              <a:solidFill>
                <a:srgbClr val="597C56"/>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sp>
          <p:nvSpPr>
            <p:cNvPr id="199" name="Oval 50"/>
            <p:cNvSpPr/>
            <p:nvPr>
              <p:custDataLst>
                <p:tags r:id="rId59"/>
              </p:custDataLst>
            </p:nvPr>
          </p:nvSpPr>
          <p:spPr bwMode="gray">
            <a:xfrm>
              <a:off x="1389457" y="3260679"/>
              <a:ext cx="67215" cy="65213"/>
            </a:xfrm>
            <a:prstGeom prst="ellipse">
              <a:avLst/>
            </a:prstGeom>
            <a:solidFill>
              <a:srgbClr val="0065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sp>
          <p:nvSpPr>
            <p:cNvPr id="200" name="Rectangle 310273"/>
            <p:cNvSpPr txBox="1"/>
            <p:nvPr>
              <p:custDataLst>
                <p:tags r:id="rId60"/>
              </p:custDataLst>
            </p:nvPr>
          </p:nvSpPr>
          <p:spPr bwMode="gray">
            <a:xfrm>
              <a:off x="1118720" y="3156393"/>
              <a:ext cx="298159"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Thies</a:t>
              </a:r>
              <a:endParaRPr lang="fr-FR" sz="1000" dirty="0">
                <a:solidFill>
                  <a:srgbClr val="808080">
                    <a:lumMod val="50000"/>
                  </a:srgbClr>
                </a:solidFill>
                <a:latin typeface="Cambria"/>
              </a:endParaRPr>
            </a:p>
          </p:txBody>
        </p:sp>
        <p:sp>
          <p:nvSpPr>
            <p:cNvPr id="201" name="Oval 135"/>
            <p:cNvSpPr>
              <a:spLocks/>
            </p:cNvSpPr>
            <p:nvPr>
              <p:custDataLst>
                <p:tags r:id="rId61"/>
              </p:custDataLst>
            </p:nvPr>
          </p:nvSpPr>
          <p:spPr bwMode="gray">
            <a:xfrm>
              <a:off x="1549698" y="3264098"/>
              <a:ext cx="80060" cy="77675"/>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02" name="Oval 51"/>
            <p:cNvSpPr/>
            <p:nvPr>
              <p:custDataLst>
                <p:tags r:id="rId62"/>
              </p:custDataLst>
            </p:nvPr>
          </p:nvSpPr>
          <p:spPr bwMode="gray">
            <a:xfrm>
              <a:off x="1975835" y="3823929"/>
              <a:ext cx="67215" cy="65213"/>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03" name="Rectangle 310273"/>
            <p:cNvSpPr txBox="1"/>
            <p:nvPr>
              <p:custDataLst>
                <p:tags r:id="rId63"/>
              </p:custDataLst>
            </p:nvPr>
          </p:nvSpPr>
          <p:spPr bwMode="gray">
            <a:xfrm>
              <a:off x="1838916" y="3874817"/>
              <a:ext cx="333425"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Fatick</a:t>
              </a:r>
              <a:endParaRPr lang="fr-FR" sz="1000" dirty="0">
                <a:solidFill>
                  <a:srgbClr val="808080">
                    <a:lumMod val="50000"/>
                  </a:srgbClr>
                </a:solidFill>
                <a:latin typeface="Cambria"/>
              </a:endParaRPr>
            </a:p>
          </p:txBody>
        </p:sp>
        <p:sp>
          <p:nvSpPr>
            <p:cNvPr id="204" name="Rectangle 310273"/>
            <p:cNvSpPr txBox="1"/>
            <p:nvPr>
              <p:custDataLst>
                <p:tags r:id="rId64"/>
              </p:custDataLst>
            </p:nvPr>
          </p:nvSpPr>
          <p:spPr bwMode="gray">
            <a:xfrm>
              <a:off x="1885129" y="4007386"/>
              <a:ext cx="431208" cy="153888"/>
            </a:xfrm>
            <a:prstGeom prst="rect">
              <a:avLst/>
            </a:prstGeom>
            <a:solidFill>
              <a:srgbClr val="FFFFFF">
                <a:alpha val="69804"/>
              </a:srgbClr>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algn="r" fontAlgn="base">
                <a:spcBef>
                  <a:spcPct val="0"/>
                </a:spcBef>
                <a:spcAft>
                  <a:spcPct val="0"/>
                </a:spcAft>
                <a:buClr>
                  <a:srgbClr val="000000"/>
                </a:buClr>
              </a:pPr>
              <a:r>
                <a:rPr lang="fr-FR" sz="1000" dirty="0" smtClean="0">
                  <a:solidFill>
                    <a:srgbClr val="808080">
                      <a:lumMod val="50000"/>
                    </a:srgbClr>
                  </a:solidFill>
                  <a:latin typeface="Cambria"/>
                </a:rPr>
                <a:t>Kaolack</a:t>
              </a:r>
              <a:endParaRPr lang="fr-FR" sz="1000" dirty="0">
                <a:solidFill>
                  <a:srgbClr val="808080">
                    <a:lumMod val="50000"/>
                  </a:srgbClr>
                </a:solidFill>
                <a:latin typeface="Cambria"/>
              </a:endParaRPr>
            </a:p>
          </p:txBody>
        </p:sp>
        <p:sp>
          <p:nvSpPr>
            <p:cNvPr id="205" name="Rectangle 310273"/>
            <p:cNvSpPr txBox="1"/>
            <p:nvPr>
              <p:custDataLst>
                <p:tags r:id="rId65"/>
              </p:custDataLst>
            </p:nvPr>
          </p:nvSpPr>
          <p:spPr bwMode="gray">
            <a:xfrm>
              <a:off x="2622443" y="3623537"/>
              <a:ext cx="628377"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Guinguineo</a:t>
              </a:r>
              <a:endParaRPr lang="fr-FR" sz="1000" dirty="0">
                <a:solidFill>
                  <a:srgbClr val="808080">
                    <a:lumMod val="50000"/>
                  </a:srgbClr>
                </a:solidFill>
                <a:latin typeface="Cambria"/>
              </a:endParaRPr>
            </a:p>
          </p:txBody>
        </p:sp>
        <p:sp>
          <p:nvSpPr>
            <p:cNvPr id="206" name="Rectangle 310273"/>
            <p:cNvSpPr txBox="1"/>
            <p:nvPr>
              <p:custDataLst>
                <p:tags r:id="rId66"/>
              </p:custDataLst>
            </p:nvPr>
          </p:nvSpPr>
          <p:spPr bwMode="gray">
            <a:xfrm>
              <a:off x="1303558" y="3607550"/>
              <a:ext cx="387927" cy="153888"/>
            </a:xfrm>
            <a:prstGeom prst="rect">
              <a:avLst/>
            </a:prstGeom>
            <a:ln>
              <a:headEnd/>
              <a:tailEnd/>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1">
              <a:schemeClr val="accent6"/>
            </a:lnRef>
            <a:fillRef idx="3">
              <a:schemeClr val="accent6"/>
            </a:fillRef>
            <a:effectRef idx="2">
              <a:schemeClr val="accent6"/>
            </a:effectRef>
            <a:fontRef idx="minor">
              <a:schemeClr val="lt1"/>
            </a:fontRef>
          </p:style>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808080">
                      <a:lumMod val="50000"/>
                    </a:srgbClr>
                  </a:solidFill>
                  <a:effectLst/>
                  <a:uLnTx/>
                  <a:uFillTx/>
                  <a:latin typeface="Cambria"/>
                </a:rPr>
                <a:t>A.I.B.D.</a:t>
              </a:r>
              <a:endParaRPr kumimoji="0" lang="fr-FR" sz="1000" b="0" i="0" u="none" strike="noStrike" kern="0" cap="none" spc="0" normalizeH="0" baseline="0" noProof="0" dirty="0">
                <a:ln>
                  <a:noFill/>
                </a:ln>
                <a:solidFill>
                  <a:srgbClr val="808080">
                    <a:lumMod val="50000"/>
                  </a:srgbClr>
                </a:solidFill>
                <a:effectLst/>
                <a:uLnTx/>
                <a:uFillTx/>
                <a:latin typeface="Cambria"/>
              </a:endParaRPr>
            </a:p>
          </p:txBody>
        </p:sp>
        <p:sp>
          <p:nvSpPr>
            <p:cNvPr id="207" name="Rectangle 310273"/>
            <p:cNvSpPr txBox="1"/>
            <p:nvPr>
              <p:custDataLst>
                <p:tags r:id="rId67"/>
              </p:custDataLst>
            </p:nvPr>
          </p:nvSpPr>
          <p:spPr bwMode="gray">
            <a:xfrm>
              <a:off x="1494108" y="3802814"/>
              <a:ext cx="402354"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M’Bour</a:t>
              </a:r>
              <a:endParaRPr lang="fr-FR" sz="1000" dirty="0">
                <a:solidFill>
                  <a:srgbClr val="808080">
                    <a:lumMod val="50000"/>
                  </a:srgbClr>
                </a:solidFill>
                <a:latin typeface="Cambria"/>
              </a:endParaRPr>
            </a:p>
          </p:txBody>
        </p:sp>
        <p:sp>
          <p:nvSpPr>
            <p:cNvPr id="208" name="Oval 128"/>
            <p:cNvSpPr/>
            <p:nvPr>
              <p:custDataLst>
                <p:tags r:id="rId68"/>
              </p:custDataLst>
            </p:nvPr>
          </p:nvSpPr>
          <p:spPr bwMode="gray">
            <a:xfrm>
              <a:off x="1322359" y="3722033"/>
              <a:ext cx="67215" cy="65213"/>
            </a:xfrm>
            <a:prstGeom prst="ellipse">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09" name="Oval 137"/>
            <p:cNvSpPr>
              <a:spLocks/>
            </p:cNvSpPr>
            <p:nvPr>
              <p:custDataLst>
                <p:tags r:id="rId69"/>
              </p:custDataLst>
            </p:nvPr>
          </p:nvSpPr>
          <p:spPr bwMode="gray">
            <a:xfrm>
              <a:off x="1389130" y="3895611"/>
              <a:ext cx="80060" cy="77675"/>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10" name="Oval 123"/>
            <p:cNvSpPr>
              <a:spLocks/>
            </p:cNvSpPr>
            <p:nvPr>
              <p:custDataLst>
                <p:tags r:id="rId70"/>
              </p:custDataLst>
            </p:nvPr>
          </p:nvSpPr>
          <p:spPr bwMode="gray">
            <a:xfrm>
              <a:off x="1482154" y="3953010"/>
              <a:ext cx="80060" cy="77675"/>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11" name="Arc 210"/>
            <p:cNvSpPr/>
            <p:nvPr>
              <p:custDataLst>
                <p:tags r:id="rId71"/>
              </p:custDataLst>
            </p:nvPr>
          </p:nvSpPr>
          <p:spPr>
            <a:xfrm flipH="1">
              <a:off x="2291752" y="3975929"/>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12" name="Arc 211"/>
            <p:cNvSpPr/>
            <p:nvPr>
              <p:custDataLst>
                <p:tags r:id="rId72"/>
              </p:custDataLst>
            </p:nvPr>
          </p:nvSpPr>
          <p:spPr>
            <a:xfrm rot="19859109" flipH="1">
              <a:off x="2446348" y="3847446"/>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13" name="Arc 212"/>
            <p:cNvSpPr/>
            <p:nvPr>
              <p:custDataLst>
                <p:tags r:id="rId73"/>
              </p:custDataLst>
            </p:nvPr>
          </p:nvSpPr>
          <p:spPr>
            <a:xfrm rot="21138610" flipH="1" flipV="1">
              <a:off x="2298895" y="3442085"/>
              <a:ext cx="586700" cy="750018"/>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14" name="Arc 213"/>
            <p:cNvSpPr/>
            <p:nvPr>
              <p:custDataLst>
                <p:tags r:id="rId74"/>
              </p:custDataLst>
            </p:nvPr>
          </p:nvSpPr>
          <p:spPr>
            <a:xfrm rot="1089978" flipH="1" flipV="1">
              <a:off x="2429056" y="3504815"/>
              <a:ext cx="586700" cy="840300"/>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15" name="Oval 120"/>
            <p:cNvSpPr/>
            <p:nvPr>
              <p:custDataLst>
                <p:tags r:id="rId75"/>
              </p:custDataLst>
            </p:nvPr>
          </p:nvSpPr>
          <p:spPr bwMode="gray">
            <a:xfrm>
              <a:off x="2344932" y="4047057"/>
              <a:ext cx="109728" cy="109728"/>
            </a:xfrm>
            <a:prstGeom prst="ellipse">
              <a:avLst/>
            </a:prstGeom>
            <a:solidFill>
              <a:srgbClr val="FFFFFF"/>
            </a:solidFill>
            <a:ln w="28575" cap="flat" cmpd="sng" algn="ctr">
              <a:solidFill>
                <a:srgbClr val="0065C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16" name="Rectangle 310273"/>
            <p:cNvSpPr txBox="1"/>
            <p:nvPr>
              <p:custDataLst>
                <p:tags r:id="rId76"/>
              </p:custDataLst>
            </p:nvPr>
          </p:nvSpPr>
          <p:spPr bwMode="gray">
            <a:xfrm>
              <a:off x="600523" y="3447041"/>
              <a:ext cx="362279"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b="1" dirty="0" smtClean="0">
                  <a:solidFill>
                    <a:srgbClr val="000000"/>
                  </a:solidFill>
                  <a:latin typeface="Cambria"/>
                </a:rPr>
                <a:t>Dakar</a:t>
              </a:r>
              <a:endParaRPr lang="fr-FR" sz="1000" b="1" dirty="0">
                <a:solidFill>
                  <a:srgbClr val="000000"/>
                </a:solidFill>
                <a:latin typeface="Cambria"/>
              </a:endParaRPr>
            </a:p>
          </p:txBody>
        </p:sp>
        <p:sp>
          <p:nvSpPr>
            <p:cNvPr id="217" name="Freeform 101"/>
            <p:cNvSpPr/>
            <p:nvPr>
              <p:custDataLst>
                <p:tags r:id="rId77"/>
              </p:custDataLst>
            </p:nvPr>
          </p:nvSpPr>
          <p:spPr bwMode="gray">
            <a:xfrm>
              <a:off x="747358" y="3399069"/>
              <a:ext cx="548042" cy="52497"/>
            </a:xfrm>
            <a:custGeom>
              <a:avLst/>
              <a:gdLst>
                <a:gd name="connsiteX0" fmla="*/ 0 w 661012"/>
                <a:gd name="connsiteY0" fmla="*/ 72461 h 72566"/>
                <a:gd name="connsiteX1" fmla="*/ 93644 w 661012"/>
                <a:gd name="connsiteY1" fmla="*/ 22885 h 72566"/>
                <a:gd name="connsiteX2" fmla="*/ 352540 w 661012"/>
                <a:gd name="connsiteY2" fmla="*/ 72461 h 72566"/>
                <a:gd name="connsiteX3" fmla="*/ 528810 w 661012"/>
                <a:gd name="connsiteY3" fmla="*/ 6360 h 72566"/>
                <a:gd name="connsiteX4" fmla="*/ 661012 w 661012"/>
                <a:gd name="connsiteY4" fmla="*/ 6360 h 72566"/>
                <a:gd name="connsiteX0" fmla="*/ 0 w 661012"/>
                <a:gd name="connsiteY0" fmla="*/ 83324 h 83324"/>
                <a:gd name="connsiteX1" fmla="*/ 93644 w 661012"/>
                <a:gd name="connsiteY1" fmla="*/ 33748 h 83324"/>
                <a:gd name="connsiteX2" fmla="*/ 346795 w 661012"/>
                <a:gd name="connsiteY2" fmla="*/ 175 h 83324"/>
                <a:gd name="connsiteX3" fmla="*/ 528810 w 661012"/>
                <a:gd name="connsiteY3" fmla="*/ 17223 h 83324"/>
                <a:gd name="connsiteX4" fmla="*/ 661012 w 661012"/>
                <a:gd name="connsiteY4" fmla="*/ 17223 h 8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1012" h="83324">
                  <a:moveTo>
                    <a:pt x="0" y="83324"/>
                  </a:moveTo>
                  <a:cubicBezTo>
                    <a:pt x="17443" y="58536"/>
                    <a:pt x="35845" y="47606"/>
                    <a:pt x="93644" y="33748"/>
                  </a:cubicBezTo>
                  <a:cubicBezTo>
                    <a:pt x="151443" y="19890"/>
                    <a:pt x="274267" y="2929"/>
                    <a:pt x="346795" y="175"/>
                  </a:cubicBezTo>
                  <a:cubicBezTo>
                    <a:pt x="419323" y="-2579"/>
                    <a:pt x="477398" y="28240"/>
                    <a:pt x="528810" y="17223"/>
                  </a:cubicBezTo>
                  <a:cubicBezTo>
                    <a:pt x="580222" y="6206"/>
                    <a:pt x="620617" y="11714"/>
                    <a:pt x="661012" y="17223"/>
                  </a:cubicBezTo>
                </a:path>
              </a:pathLst>
            </a:custGeom>
            <a:noFill/>
            <a:ln w="38100" cap="flat" cmpd="sng" algn="ctr">
              <a:solidFill>
                <a:srgbClr val="597C56"/>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sp>
          <p:nvSpPr>
            <p:cNvPr id="218" name="Oval 48"/>
            <p:cNvSpPr/>
            <p:nvPr>
              <p:custDataLst>
                <p:tags r:id="rId78"/>
              </p:custDataLst>
            </p:nvPr>
          </p:nvSpPr>
          <p:spPr bwMode="gray">
            <a:xfrm>
              <a:off x="2626393" y="3232377"/>
              <a:ext cx="67215" cy="65213"/>
            </a:xfrm>
            <a:prstGeom prst="ellipse">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19" name="Rectangle 310273"/>
            <p:cNvSpPr txBox="1"/>
            <p:nvPr>
              <p:custDataLst>
                <p:tags r:id="rId79"/>
              </p:custDataLst>
            </p:nvPr>
          </p:nvSpPr>
          <p:spPr bwMode="gray">
            <a:xfrm>
              <a:off x="2737698" y="3187037"/>
              <a:ext cx="346249"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Touba</a:t>
              </a:r>
              <a:endParaRPr lang="fr-FR" sz="1000" dirty="0">
                <a:solidFill>
                  <a:srgbClr val="808080">
                    <a:lumMod val="50000"/>
                  </a:srgbClr>
                </a:solidFill>
                <a:latin typeface="Cambria"/>
              </a:endParaRPr>
            </a:p>
          </p:txBody>
        </p:sp>
        <p:sp>
          <p:nvSpPr>
            <p:cNvPr id="220" name="Oval 126"/>
            <p:cNvSpPr/>
            <p:nvPr>
              <p:custDataLst>
                <p:tags r:id="rId80"/>
              </p:custDataLst>
            </p:nvPr>
          </p:nvSpPr>
          <p:spPr bwMode="gray">
            <a:xfrm>
              <a:off x="741815" y="3382387"/>
              <a:ext cx="67215" cy="65213"/>
            </a:xfrm>
            <a:prstGeom prst="ellipse">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21" name="Oval 136"/>
            <p:cNvSpPr>
              <a:spLocks/>
            </p:cNvSpPr>
            <p:nvPr>
              <p:custDataLst>
                <p:tags r:id="rId81"/>
              </p:custDataLst>
            </p:nvPr>
          </p:nvSpPr>
          <p:spPr bwMode="gray">
            <a:xfrm>
              <a:off x="871134" y="3304711"/>
              <a:ext cx="80060" cy="77675"/>
            </a:xfrm>
            <a:prstGeom prst="ellipse">
              <a:avLst/>
            </a:prstGeom>
            <a:solidFill>
              <a:srgbClr val="0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22" name="Arc 221"/>
            <p:cNvSpPr/>
            <p:nvPr>
              <p:custDataLst>
                <p:tags r:id="rId82"/>
              </p:custDataLst>
            </p:nvPr>
          </p:nvSpPr>
          <p:spPr>
            <a:xfrm rot="5222169" flipH="1" flipV="1">
              <a:off x="2716165" y="3528879"/>
              <a:ext cx="586700" cy="1475554"/>
            </a:xfrm>
            <a:prstGeom prst="arc">
              <a:avLst>
                <a:gd name="adj1" fmla="val 17404151"/>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23" name="Rectangle 310273"/>
            <p:cNvSpPr txBox="1"/>
            <p:nvPr>
              <p:custDataLst>
                <p:tags r:id="rId83"/>
              </p:custDataLst>
            </p:nvPr>
          </p:nvSpPr>
          <p:spPr bwMode="gray">
            <a:xfrm>
              <a:off x="6497403" y="5908471"/>
              <a:ext cx="553037"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000000"/>
                  </a:solidFill>
                  <a:latin typeface="Cambria"/>
                </a:rPr>
                <a:t>Kedougou</a:t>
              </a:r>
              <a:endParaRPr lang="fr-FR" sz="1000" dirty="0">
                <a:solidFill>
                  <a:srgbClr val="000000"/>
                </a:solidFill>
                <a:latin typeface="Cambria"/>
              </a:endParaRPr>
            </a:p>
          </p:txBody>
        </p:sp>
        <p:sp>
          <p:nvSpPr>
            <p:cNvPr id="224" name="Arc 223"/>
            <p:cNvSpPr/>
            <p:nvPr>
              <p:custDataLst>
                <p:tags r:id="rId84"/>
              </p:custDataLst>
            </p:nvPr>
          </p:nvSpPr>
          <p:spPr>
            <a:xfrm rot="1269368" flipH="1" flipV="1">
              <a:off x="7158813" y="5462246"/>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25" name="Arc 224"/>
            <p:cNvSpPr/>
            <p:nvPr>
              <p:custDataLst>
                <p:tags r:id="rId85"/>
              </p:custDataLst>
            </p:nvPr>
          </p:nvSpPr>
          <p:spPr>
            <a:xfrm rot="5181795" flipH="1" flipV="1">
              <a:off x="7117191" y="5776248"/>
              <a:ext cx="586700" cy="669782"/>
            </a:xfrm>
            <a:prstGeom prst="arc">
              <a:avLst>
                <a:gd name="adj1" fmla="val 19563512"/>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26" name="Arc 225"/>
            <p:cNvSpPr/>
            <p:nvPr>
              <p:custDataLst>
                <p:tags r:id="rId86"/>
              </p:custDataLst>
            </p:nvPr>
          </p:nvSpPr>
          <p:spPr>
            <a:xfrm flipH="1">
              <a:off x="7116240" y="5804265"/>
              <a:ext cx="586700" cy="669782"/>
            </a:xfrm>
            <a:prstGeom prst="arc">
              <a:avLst>
                <a:gd name="adj1" fmla="val 19356808"/>
                <a:gd name="adj2" fmla="val 2574964"/>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27" name="Arc 226"/>
            <p:cNvSpPr/>
            <p:nvPr>
              <p:custDataLst>
                <p:tags r:id="rId87"/>
              </p:custDataLst>
            </p:nvPr>
          </p:nvSpPr>
          <p:spPr>
            <a:xfrm rot="18554500" flipH="1">
              <a:off x="7209306" y="5515209"/>
              <a:ext cx="586700" cy="669782"/>
            </a:xfrm>
            <a:prstGeom prst="arc">
              <a:avLst>
                <a:gd name="adj1" fmla="val 19918506"/>
                <a:gd name="adj2" fmla="val 5014907"/>
              </a:avLst>
            </a:prstGeom>
            <a:noFill/>
            <a:ln w="28575" cap="flat" cmpd="sng" algn="ctr">
              <a:solidFill>
                <a:srgbClr val="0065CC"/>
              </a:solidFill>
              <a:prstDash val="solid"/>
              <a:headEnd type="none" w="med" len="med"/>
              <a:tailEnd type="arrow"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fr-FR" sz="1600" b="0" i="0" u="none" strike="noStrike" kern="0" cap="none" spc="0" normalizeH="0" baseline="0" noProof="0" dirty="0" smtClean="0">
                <a:ln>
                  <a:noFill/>
                </a:ln>
                <a:solidFill>
                  <a:srgbClr val="000000"/>
                </a:solidFill>
                <a:effectLst/>
                <a:uLnTx/>
                <a:uFillTx/>
                <a:latin typeface="Cambria"/>
              </a:endParaRPr>
            </a:p>
          </p:txBody>
        </p:sp>
        <p:sp>
          <p:nvSpPr>
            <p:cNvPr id="228" name="Oval 122"/>
            <p:cNvSpPr/>
            <p:nvPr>
              <p:custDataLst>
                <p:tags r:id="rId88"/>
              </p:custDataLst>
            </p:nvPr>
          </p:nvSpPr>
          <p:spPr bwMode="gray">
            <a:xfrm>
              <a:off x="7136574" y="5875934"/>
              <a:ext cx="109728" cy="109728"/>
            </a:xfrm>
            <a:prstGeom prst="ellipse">
              <a:avLst/>
            </a:prstGeom>
            <a:solidFill>
              <a:srgbClr val="FFFFFF"/>
            </a:solidFill>
            <a:ln w="28575" cap="flat" cmpd="sng" algn="ctr">
              <a:solidFill>
                <a:srgbClr val="0065C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29" name="Freeform 130"/>
            <p:cNvSpPr/>
            <p:nvPr>
              <p:custDataLst>
                <p:tags r:id="rId89"/>
              </p:custDataLst>
            </p:nvPr>
          </p:nvSpPr>
          <p:spPr>
            <a:xfrm>
              <a:off x="1132514" y="3458133"/>
              <a:ext cx="5892895" cy="268740"/>
            </a:xfrm>
            <a:custGeom>
              <a:avLst/>
              <a:gdLst>
                <a:gd name="connsiteX0" fmla="*/ 0 w 5966460"/>
                <a:gd name="connsiteY0" fmla="*/ 0 h 243840"/>
                <a:gd name="connsiteX1" fmla="*/ 5966460 w 5966460"/>
                <a:gd name="connsiteY1" fmla="*/ 243840 h 243840"/>
                <a:gd name="connsiteX0" fmla="*/ 0 w 5469262"/>
                <a:gd name="connsiteY0" fmla="*/ 0 h 181470"/>
                <a:gd name="connsiteX1" fmla="*/ 5469262 w 5469262"/>
                <a:gd name="connsiteY1" fmla="*/ 181470 h 181470"/>
              </a:gdLst>
              <a:ahLst/>
              <a:cxnLst>
                <a:cxn ang="0">
                  <a:pos x="connsiteX0" y="connsiteY0"/>
                </a:cxn>
                <a:cxn ang="0">
                  <a:pos x="connsiteX1" y="connsiteY1"/>
                </a:cxn>
              </a:cxnLst>
              <a:rect l="l" t="t" r="r" b="b"/>
              <a:pathLst>
                <a:path w="5469262" h="181470">
                  <a:moveTo>
                    <a:pt x="0" y="0"/>
                  </a:moveTo>
                  <a:lnTo>
                    <a:pt x="5469262" y="181470"/>
                  </a:lnTo>
                </a:path>
              </a:pathLst>
            </a:custGeom>
            <a:noFill/>
            <a:ln w="38100" cap="flat" cmpd="sng" algn="ctr">
              <a:solidFill>
                <a:srgbClr val="FFFFFF">
                  <a:lumMod val="75000"/>
                </a:srgbClr>
              </a:solidFill>
              <a:prstDash val="sysDash"/>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230" name="Oval 49"/>
            <p:cNvSpPr/>
            <p:nvPr>
              <p:custDataLst>
                <p:tags r:id="rId90"/>
              </p:custDataLst>
            </p:nvPr>
          </p:nvSpPr>
          <p:spPr bwMode="gray">
            <a:xfrm>
              <a:off x="2220887" y="3447484"/>
              <a:ext cx="67215" cy="65213"/>
            </a:xfrm>
            <a:prstGeom prst="ellipse">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31" name="Rectangle 310273"/>
            <p:cNvSpPr txBox="1"/>
            <p:nvPr>
              <p:custDataLst>
                <p:tags r:id="rId91"/>
              </p:custDataLst>
            </p:nvPr>
          </p:nvSpPr>
          <p:spPr bwMode="gray">
            <a:xfrm>
              <a:off x="2316634" y="3432338"/>
              <a:ext cx="479298"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808080">
                      <a:lumMod val="50000"/>
                    </a:srgbClr>
                  </a:solidFill>
                  <a:latin typeface="Cambria"/>
                </a:rPr>
                <a:t>Diourbel</a:t>
              </a:r>
              <a:endParaRPr lang="fr-FR" sz="1000" dirty="0">
                <a:solidFill>
                  <a:srgbClr val="808080">
                    <a:lumMod val="50000"/>
                  </a:srgbClr>
                </a:solidFill>
                <a:latin typeface="Cambria"/>
              </a:endParaRPr>
            </a:p>
          </p:txBody>
        </p:sp>
        <p:sp>
          <p:nvSpPr>
            <p:cNvPr id="232" name="Rectangle 310273"/>
            <p:cNvSpPr txBox="1"/>
            <p:nvPr>
              <p:custDataLst>
                <p:tags r:id="rId92"/>
              </p:custDataLst>
            </p:nvPr>
          </p:nvSpPr>
          <p:spPr bwMode="gray">
            <a:xfrm>
              <a:off x="974898" y="3488474"/>
              <a:ext cx="394339" cy="153888"/>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algn="r" fontAlgn="base">
                <a:spcBef>
                  <a:spcPct val="0"/>
                </a:spcBef>
                <a:spcAft>
                  <a:spcPct val="0"/>
                </a:spcAft>
                <a:buClr>
                  <a:srgbClr val="000000"/>
                </a:buClr>
              </a:pPr>
              <a:r>
                <a:rPr lang="fr-FR" sz="1000" dirty="0" err="1">
                  <a:solidFill>
                    <a:srgbClr val="808080">
                      <a:lumMod val="50000"/>
                    </a:srgbClr>
                  </a:solidFill>
                  <a:latin typeface="Cambria"/>
                </a:rPr>
                <a:t>Bargny</a:t>
              </a:r>
              <a:endParaRPr lang="fr-FR" sz="1000" dirty="0">
                <a:solidFill>
                  <a:srgbClr val="808080">
                    <a:lumMod val="50000"/>
                  </a:srgbClr>
                </a:solidFill>
                <a:latin typeface="Cambria"/>
              </a:endParaRPr>
            </a:p>
          </p:txBody>
        </p:sp>
        <p:sp>
          <p:nvSpPr>
            <p:cNvPr id="233" name="Oval 125"/>
            <p:cNvSpPr/>
            <p:nvPr>
              <p:custDataLst>
                <p:tags r:id="rId93"/>
              </p:custDataLst>
            </p:nvPr>
          </p:nvSpPr>
          <p:spPr bwMode="gray">
            <a:xfrm>
              <a:off x="1069497" y="3404446"/>
              <a:ext cx="73152" cy="73152"/>
            </a:xfrm>
            <a:prstGeom prst="ellipse">
              <a:avLst/>
            </a:prstGeom>
            <a:gradFill rotWithShape="1">
              <a:gsLst>
                <a:gs pos="0">
                  <a:srgbClr val="000000">
                    <a:shade val="51000"/>
                    <a:satMod val="130000"/>
                  </a:srgbClr>
                </a:gs>
                <a:gs pos="80000">
                  <a:srgbClr val="000000">
                    <a:shade val="93000"/>
                    <a:satMod val="130000"/>
                  </a:srgbClr>
                </a:gs>
                <a:gs pos="100000">
                  <a:srgbClr val="00000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35" name="Rectangle 432139"/>
            <p:cNvSpPr txBox="1">
              <a:spLocks/>
            </p:cNvSpPr>
            <p:nvPr>
              <p:custDataLst>
                <p:tags r:id="rId94"/>
              </p:custDataLst>
            </p:nvPr>
          </p:nvSpPr>
          <p:spPr bwMode="gray">
            <a:xfrm>
              <a:off x="6576991" y="1743364"/>
              <a:ext cx="2069477" cy="2769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900" dirty="0" smtClean="0">
                  <a:solidFill>
                    <a:srgbClr val="000000"/>
                  </a:solidFill>
                  <a:latin typeface="Cambria"/>
                </a:rPr>
                <a:t>Dakar-</a:t>
              </a:r>
              <a:r>
                <a:rPr lang="fr-FR" sz="900" dirty="0" err="1" smtClean="0">
                  <a:solidFill>
                    <a:srgbClr val="000000"/>
                  </a:solidFill>
                  <a:latin typeface="Cambria"/>
                </a:rPr>
                <a:t>Tamba</a:t>
              </a:r>
              <a:r>
                <a:rPr lang="fr-FR" sz="900" dirty="0" smtClean="0">
                  <a:solidFill>
                    <a:srgbClr val="000000"/>
                  </a:solidFill>
                  <a:latin typeface="Cambria"/>
                </a:rPr>
                <a:t>-Kédougou-Bamako : nouvelle voie standard</a:t>
              </a:r>
              <a:endParaRPr lang="fr-FR" sz="900" dirty="0">
                <a:solidFill>
                  <a:srgbClr val="000000"/>
                </a:solidFill>
                <a:latin typeface="Cambria"/>
              </a:endParaRPr>
            </a:p>
          </p:txBody>
        </p:sp>
        <p:sp>
          <p:nvSpPr>
            <p:cNvPr id="236" name="Freeform 141"/>
            <p:cNvSpPr>
              <a:spLocks/>
            </p:cNvSpPr>
            <p:nvPr>
              <p:custDataLst>
                <p:tags r:id="rId95"/>
              </p:custDataLst>
            </p:nvPr>
          </p:nvSpPr>
          <p:spPr bwMode="gray">
            <a:xfrm>
              <a:off x="6276323" y="1564779"/>
              <a:ext cx="242887" cy="0"/>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38100" cap="flat" cmpd="sng" algn="ctr">
              <a:solidFill>
                <a:srgbClr val="597C56"/>
              </a:solidFill>
              <a:prstDash val="soli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37" name="Rectangle 432139"/>
            <p:cNvSpPr txBox="1">
              <a:spLocks/>
            </p:cNvSpPr>
            <p:nvPr>
              <p:custDataLst>
                <p:tags r:id="rId96"/>
              </p:custDataLst>
            </p:nvPr>
          </p:nvSpPr>
          <p:spPr bwMode="gray">
            <a:xfrm>
              <a:off x="6576992" y="1436142"/>
              <a:ext cx="2168863" cy="2769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900" dirty="0" smtClean="0">
                  <a:solidFill>
                    <a:srgbClr val="000000"/>
                  </a:solidFill>
                  <a:latin typeface="Cambria"/>
                </a:rPr>
                <a:t>Dakar-Tamba-Kidira-Bamako – Nord</a:t>
              </a:r>
            </a:p>
            <a:p>
              <a:pPr fontAlgn="base">
                <a:spcBef>
                  <a:spcPct val="0"/>
                </a:spcBef>
                <a:spcAft>
                  <a:spcPct val="0"/>
                </a:spcAft>
                <a:buClr>
                  <a:srgbClr val="000000"/>
                </a:buClr>
              </a:pPr>
              <a:r>
                <a:rPr lang="fr-FR" sz="900" dirty="0" smtClean="0">
                  <a:solidFill>
                    <a:srgbClr val="000000"/>
                  </a:solidFill>
                  <a:latin typeface="Cambria"/>
                </a:rPr>
                <a:t>(rail):</a:t>
              </a:r>
              <a:r>
                <a:rPr lang="fr-FR" sz="900" dirty="0">
                  <a:solidFill>
                    <a:srgbClr val="000000"/>
                  </a:solidFill>
                  <a:latin typeface="Cambria"/>
                </a:rPr>
                <a:t> </a:t>
              </a:r>
              <a:r>
                <a:rPr lang="fr-FR" sz="900" dirty="0" smtClean="0">
                  <a:solidFill>
                    <a:srgbClr val="000000"/>
                  </a:solidFill>
                  <a:latin typeface="Cambria"/>
                </a:rPr>
                <a:t>réhabilitation voie metrique existante</a:t>
              </a:r>
              <a:endParaRPr lang="fr-FR" sz="900" dirty="0">
                <a:solidFill>
                  <a:srgbClr val="000000"/>
                </a:solidFill>
                <a:latin typeface="Cambria"/>
              </a:endParaRPr>
            </a:p>
          </p:txBody>
        </p:sp>
        <p:sp>
          <p:nvSpPr>
            <p:cNvPr id="238" name="Freeform 143"/>
            <p:cNvSpPr>
              <a:spLocks/>
            </p:cNvSpPr>
            <p:nvPr>
              <p:custDataLst>
                <p:tags r:id="rId97"/>
              </p:custDataLst>
            </p:nvPr>
          </p:nvSpPr>
          <p:spPr bwMode="gray">
            <a:xfrm>
              <a:off x="6277385" y="1820306"/>
              <a:ext cx="242887" cy="0"/>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38100" cap="flat" cmpd="sng" algn="ctr">
              <a:solidFill>
                <a:srgbClr val="FF0000"/>
              </a:solidFill>
              <a:prstDash val="solid"/>
              <a:tailEnd type="none" w="lg"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39" name="Rectangle 432139"/>
            <p:cNvSpPr txBox="1">
              <a:spLocks/>
            </p:cNvSpPr>
            <p:nvPr>
              <p:custDataLst>
                <p:tags r:id="rId98"/>
              </p:custDataLst>
            </p:nvPr>
          </p:nvSpPr>
          <p:spPr bwMode="gray">
            <a:xfrm>
              <a:off x="6576991" y="2364225"/>
              <a:ext cx="402354" cy="1384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900" dirty="0" smtClean="0">
                  <a:solidFill>
                    <a:srgbClr val="000000"/>
                  </a:solidFill>
                  <a:latin typeface="Cambria"/>
                </a:rPr>
                <a:t>Pipeline</a:t>
              </a:r>
              <a:endParaRPr lang="fr-FR" sz="900" dirty="0">
                <a:solidFill>
                  <a:srgbClr val="000000"/>
                </a:solidFill>
                <a:latin typeface="Cambria"/>
              </a:endParaRPr>
            </a:p>
          </p:txBody>
        </p:sp>
        <p:sp>
          <p:nvSpPr>
            <p:cNvPr id="240" name="Freeform 148"/>
            <p:cNvSpPr>
              <a:spLocks/>
            </p:cNvSpPr>
            <p:nvPr>
              <p:custDataLst>
                <p:tags r:id="rId99"/>
              </p:custDataLst>
            </p:nvPr>
          </p:nvSpPr>
          <p:spPr bwMode="gray">
            <a:xfrm>
              <a:off x="6277385" y="2441167"/>
              <a:ext cx="242887" cy="0"/>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38100" cap="flat" cmpd="sng" algn="ctr">
              <a:solidFill>
                <a:srgbClr val="FFFFFF">
                  <a:lumMod val="75000"/>
                </a:srgbClr>
              </a:solidFill>
              <a:prstDash val="sysDash"/>
            </a:ln>
            <a:effectLst/>
            <a:ex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41" name="Oval 118"/>
            <p:cNvSpPr>
              <a:spLocks/>
            </p:cNvSpPr>
            <p:nvPr>
              <p:custDataLst>
                <p:tags r:id="rId100"/>
              </p:custDataLst>
            </p:nvPr>
          </p:nvSpPr>
          <p:spPr bwMode="gray">
            <a:xfrm>
              <a:off x="3768788" y="5543091"/>
              <a:ext cx="73152" cy="73152"/>
            </a:xfrm>
            <a:prstGeom prst="ellipse">
              <a:avLst/>
            </a:prstGeom>
            <a:solidFill>
              <a:srgbClr val="0065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sp>
          <p:nvSpPr>
            <p:cNvPr id="242" name="Oval 129"/>
            <p:cNvSpPr>
              <a:spLocks/>
            </p:cNvSpPr>
            <p:nvPr>
              <p:custDataLst>
                <p:tags r:id="rId101"/>
              </p:custDataLst>
            </p:nvPr>
          </p:nvSpPr>
          <p:spPr bwMode="gray">
            <a:xfrm>
              <a:off x="2431040" y="4069875"/>
              <a:ext cx="73152" cy="73152"/>
            </a:xfrm>
            <a:prstGeom prst="ellipse">
              <a:avLst/>
            </a:prstGeom>
            <a:solidFill>
              <a:srgbClr val="0065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sp>
          <p:nvSpPr>
            <p:cNvPr id="243" name="Oval 146"/>
            <p:cNvSpPr/>
            <p:nvPr>
              <p:custDataLst>
                <p:tags r:id="rId102"/>
              </p:custDataLst>
            </p:nvPr>
          </p:nvSpPr>
          <p:spPr bwMode="gray">
            <a:xfrm>
              <a:off x="2349959" y="4019782"/>
              <a:ext cx="93154" cy="93154"/>
            </a:xfrm>
            <a:prstGeom prst="ellipse">
              <a:avLst/>
            </a:prstGeom>
            <a:solidFill>
              <a:srgbClr val="FFFFFF"/>
            </a:solidFill>
            <a:ln w="28575" cap="flat" cmpd="sng" algn="ctr">
              <a:solidFill>
                <a:srgbClr val="0065C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sp>
          <p:nvSpPr>
            <p:cNvPr id="244" name="Oval 149"/>
            <p:cNvSpPr>
              <a:spLocks/>
            </p:cNvSpPr>
            <p:nvPr>
              <p:custDataLst>
                <p:tags r:id="rId103"/>
              </p:custDataLst>
            </p:nvPr>
          </p:nvSpPr>
          <p:spPr bwMode="gray">
            <a:xfrm>
              <a:off x="2357663" y="4102504"/>
              <a:ext cx="73152" cy="73152"/>
            </a:xfrm>
            <a:prstGeom prst="ellipse">
              <a:avLst/>
            </a:prstGeom>
            <a:solidFill>
              <a:srgbClr val="597C56"/>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sp>
          <p:nvSpPr>
            <p:cNvPr id="245" name="Oval 150"/>
            <p:cNvSpPr>
              <a:spLocks/>
            </p:cNvSpPr>
            <p:nvPr>
              <p:custDataLst>
                <p:tags r:id="rId104"/>
              </p:custDataLst>
            </p:nvPr>
          </p:nvSpPr>
          <p:spPr bwMode="gray">
            <a:xfrm>
              <a:off x="2363306" y="4024526"/>
              <a:ext cx="73152" cy="73152"/>
            </a:xfrm>
            <a:prstGeom prst="ellipse">
              <a:avLst/>
            </a:prstGeom>
            <a:solidFill>
              <a:srgbClr val="998700">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sp>
          <p:nvSpPr>
            <p:cNvPr id="246" name="Oval 151"/>
            <p:cNvSpPr>
              <a:spLocks/>
            </p:cNvSpPr>
            <p:nvPr>
              <p:custDataLst>
                <p:tags r:id="rId105"/>
              </p:custDataLst>
            </p:nvPr>
          </p:nvSpPr>
          <p:spPr bwMode="gray">
            <a:xfrm>
              <a:off x="686888" y="3364118"/>
              <a:ext cx="73152" cy="73152"/>
            </a:xfrm>
            <a:prstGeom prst="ellipse">
              <a:avLst/>
            </a:prstGeom>
            <a:solidFill>
              <a:srgbClr val="998700">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smtClean="0">
                <a:ln>
                  <a:noFill/>
                </a:ln>
                <a:solidFill>
                  <a:srgbClr val="FFFFFF"/>
                </a:solidFill>
                <a:effectLst/>
                <a:uLnTx/>
                <a:uFillTx/>
                <a:latin typeface="Cambria"/>
              </a:endParaRPr>
            </a:p>
          </p:txBody>
        </p:sp>
        <p:grpSp>
          <p:nvGrpSpPr>
            <p:cNvPr id="2" name="Group 9"/>
            <p:cNvGrpSpPr/>
            <p:nvPr>
              <p:custDataLst>
                <p:tags r:id="rId106"/>
              </p:custDataLst>
            </p:nvPr>
          </p:nvGrpSpPr>
          <p:grpSpPr>
            <a:xfrm>
              <a:off x="7423510" y="664881"/>
              <a:ext cx="1325701" cy="501660"/>
              <a:chOff x="7423509" y="732661"/>
              <a:chExt cx="1325701" cy="501660"/>
            </a:xfrm>
          </p:grpSpPr>
          <p:sp>
            <p:nvSpPr>
              <p:cNvPr id="248" name="Oval 157"/>
              <p:cNvSpPr>
                <a:spLocks/>
              </p:cNvSpPr>
              <p:nvPr>
                <p:custDataLst>
                  <p:tags r:id="rId124"/>
                </p:custDataLst>
              </p:nvPr>
            </p:nvSpPr>
            <p:spPr bwMode="gray">
              <a:xfrm>
                <a:off x="7423509" y="989995"/>
                <a:ext cx="73152" cy="73152"/>
              </a:xfrm>
              <a:prstGeom prst="ellipse">
                <a:avLst/>
              </a:prstGeom>
              <a:solidFill>
                <a:srgbClr val="FF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49" name="Rectangle 432139"/>
              <p:cNvSpPr txBox="1">
                <a:spLocks/>
              </p:cNvSpPr>
              <p:nvPr>
                <p:custDataLst>
                  <p:tags r:id="rId125"/>
                </p:custDataLst>
              </p:nvPr>
            </p:nvSpPr>
            <p:spPr bwMode="gray">
              <a:xfrm>
                <a:off x="7563604" y="957322"/>
                <a:ext cx="1185606" cy="2769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0" i="0" u="none" strike="noStrike" kern="0" cap="none" spc="0" normalizeH="0" baseline="0" noProof="0" dirty="0" smtClean="0">
                    <a:ln>
                      <a:noFill/>
                    </a:ln>
                    <a:solidFill>
                      <a:srgbClr val="000000"/>
                    </a:solidFill>
                    <a:effectLst/>
                    <a:uLnTx/>
                    <a:uFillTx/>
                    <a:latin typeface="Cambria"/>
                  </a:rPr>
                  <a:t>Plateforme « matériaux de construction »</a:t>
                </a:r>
                <a:endParaRPr kumimoji="0" lang="fr-FR" sz="900" b="0" i="0" u="none" strike="noStrike" kern="0" cap="none" spc="0" normalizeH="0" baseline="0" noProof="0" dirty="0">
                  <a:ln>
                    <a:noFill/>
                  </a:ln>
                  <a:solidFill>
                    <a:srgbClr val="000000"/>
                  </a:solidFill>
                  <a:effectLst/>
                  <a:uLnTx/>
                  <a:uFillTx/>
                  <a:latin typeface="Cambria"/>
                </a:endParaRPr>
              </a:p>
            </p:txBody>
          </p:sp>
          <p:sp>
            <p:nvSpPr>
              <p:cNvPr id="250" name="Rectangle 432139"/>
              <p:cNvSpPr txBox="1">
                <a:spLocks/>
              </p:cNvSpPr>
              <p:nvPr>
                <p:custDataLst>
                  <p:tags r:id="rId126"/>
                </p:custDataLst>
              </p:nvPr>
            </p:nvSpPr>
            <p:spPr bwMode="gray">
              <a:xfrm>
                <a:off x="7563604" y="732661"/>
                <a:ext cx="1185606" cy="1384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0" i="0" u="none" strike="noStrike" kern="0" cap="none" spc="0" normalizeH="0" baseline="0" noProof="0" dirty="0" smtClean="0">
                    <a:ln>
                      <a:noFill/>
                    </a:ln>
                    <a:solidFill>
                      <a:srgbClr val="000000"/>
                    </a:solidFill>
                    <a:effectLst/>
                    <a:uLnTx/>
                    <a:uFillTx/>
                    <a:latin typeface="Cambria"/>
                  </a:rPr>
                  <a:t>Plateforme « céréales »</a:t>
                </a:r>
                <a:endParaRPr kumimoji="0" lang="fr-FR" sz="900" b="0" i="0" u="none" strike="noStrike" kern="0" cap="none" spc="0" normalizeH="0" baseline="0" noProof="0" dirty="0">
                  <a:ln>
                    <a:noFill/>
                  </a:ln>
                  <a:solidFill>
                    <a:srgbClr val="000000"/>
                  </a:solidFill>
                  <a:effectLst/>
                  <a:uLnTx/>
                  <a:uFillTx/>
                  <a:latin typeface="Cambria"/>
                </a:endParaRPr>
              </a:p>
            </p:txBody>
          </p:sp>
          <p:sp>
            <p:nvSpPr>
              <p:cNvPr id="251" name="Oval 159"/>
              <p:cNvSpPr>
                <a:spLocks/>
              </p:cNvSpPr>
              <p:nvPr>
                <p:custDataLst>
                  <p:tags r:id="rId127"/>
                </p:custDataLst>
              </p:nvPr>
            </p:nvSpPr>
            <p:spPr bwMode="gray">
              <a:xfrm>
                <a:off x="7423509" y="765334"/>
                <a:ext cx="73152" cy="73152"/>
              </a:xfrm>
              <a:prstGeom prst="ellipse">
                <a:avLst/>
              </a:prstGeom>
              <a:solidFill>
                <a:srgbClr val="597C56"/>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grpSp>
        <p:grpSp>
          <p:nvGrpSpPr>
            <p:cNvPr id="3" name="Group 8"/>
            <p:cNvGrpSpPr/>
            <p:nvPr>
              <p:custDataLst>
                <p:tags r:id="rId107"/>
              </p:custDataLst>
            </p:nvPr>
          </p:nvGrpSpPr>
          <p:grpSpPr>
            <a:xfrm>
              <a:off x="5624591" y="664882"/>
              <a:ext cx="1613967" cy="709801"/>
              <a:chOff x="4213466" y="514844"/>
              <a:chExt cx="1613967" cy="709801"/>
            </a:xfrm>
          </p:grpSpPr>
          <p:sp>
            <p:nvSpPr>
              <p:cNvPr id="253" name="Rectangle 432139"/>
              <p:cNvSpPr txBox="1">
                <a:spLocks/>
              </p:cNvSpPr>
              <p:nvPr>
                <p:custDataLst>
                  <p:tags r:id="rId119"/>
                </p:custDataLst>
              </p:nvPr>
            </p:nvSpPr>
            <p:spPr bwMode="gray">
              <a:xfrm>
                <a:off x="4395009" y="947646"/>
                <a:ext cx="1431158" cy="2769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0" i="0" u="none" strike="noStrike" kern="0" cap="none" spc="0" normalizeH="0" baseline="0" noProof="0" dirty="0" smtClean="0">
                    <a:ln>
                      <a:noFill/>
                    </a:ln>
                    <a:solidFill>
                      <a:srgbClr val="000000"/>
                    </a:solidFill>
                    <a:effectLst/>
                    <a:uLnTx/>
                    <a:uFillTx/>
                    <a:latin typeface="Cambria"/>
                  </a:rPr>
                  <a:t>Plateforme « </a:t>
                </a:r>
                <a:r>
                  <a:rPr kumimoji="0" lang="fr-FR" sz="900" b="0" i="0" u="none" strike="noStrike" kern="0" cap="none" spc="0" normalizeH="0" baseline="0" noProof="0" dirty="0" err="1" smtClean="0">
                    <a:ln>
                      <a:noFill/>
                    </a:ln>
                    <a:solidFill>
                      <a:srgbClr val="000000"/>
                    </a:solidFill>
                    <a:effectLst/>
                    <a:uLnTx/>
                    <a:uFillTx/>
                    <a:latin typeface="Cambria"/>
                  </a:rPr>
                  <a:t>agrocommer-cialisation</a:t>
                </a:r>
                <a:r>
                  <a:rPr kumimoji="0" lang="fr-FR" sz="900" b="0" i="0" u="none" strike="noStrike" kern="0" cap="none" spc="0" normalizeH="0" baseline="0" noProof="0" dirty="0" smtClean="0">
                    <a:ln>
                      <a:noFill/>
                    </a:ln>
                    <a:solidFill>
                      <a:srgbClr val="000000"/>
                    </a:solidFill>
                    <a:effectLst/>
                    <a:uLnTx/>
                    <a:uFillTx/>
                    <a:latin typeface="Cambria"/>
                  </a:rPr>
                  <a:t> »</a:t>
                </a:r>
                <a:endParaRPr kumimoji="0" lang="fr-FR" sz="900" b="0" i="0" u="none" strike="noStrike" kern="0" cap="none" spc="0" normalizeH="0" baseline="0" noProof="0" dirty="0">
                  <a:ln>
                    <a:noFill/>
                  </a:ln>
                  <a:solidFill>
                    <a:srgbClr val="000000"/>
                  </a:solidFill>
                  <a:effectLst/>
                  <a:uLnTx/>
                  <a:uFillTx/>
                  <a:latin typeface="Cambria"/>
                </a:endParaRPr>
              </a:p>
            </p:txBody>
          </p:sp>
          <p:sp>
            <p:nvSpPr>
              <p:cNvPr id="254" name="Oval 155"/>
              <p:cNvSpPr/>
              <p:nvPr/>
            </p:nvSpPr>
            <p:spPr bwMode="gray">
              <a:xfrm>
                <a:off x="4213466" y="984221"/>
                <a:ext cx="109728" cy="109728"/>
              </a:xfrm>
              <a:prstGeom prst="ellipse">
                <a:avLst/>
              </a:prstGeom>
              <a:solidFill>
                <a:srgbClr val="FFFFFF"/>
              </a:solidFill>
              <a:ln w="28575" cap="flat" cmpd="sng" algn="ctr">
                <a:solidFill>
                  <a:srgbClr val="0065CC"/>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55" name="Rectangle 432139"/>
              <p:cNvSpPr txBox="1">
                <a:spLocks/>
              </p:cNvSpPr>
              <p:nvPr>
                <p:custDataLst>
                  <p:tags r:id="rId120"/>
                </p:custDataLst>
              </p:nvPr>
            </p:nvSpPr>
            <p:spPr bwMode="gray">
              <a:xfrm>
                <a:off x="4396275" y="717430"/>
                <a:ext cx="1431158" cy="1384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0" i="0" u="none" strike="noStrike" kern="0" cap="none" spc="0" normalizeH="0" baseline="0" noProof="0" dirty="0" smtClean="0">
                    <a:ln>
                      <a:noFill/>
                    </a:ln>
                    <a:solidFill>
                      <a:srgbClr val="000000"/>
                    </a:solidFill>
                    <a:effectLst/>
                    <a:uLnTx/>
                    <a:uFillTx/>
                    <a:latin typeface="Cambria"/>
                  </a:rPr>
                  <a:t>Plateforme « distribution »</a:t>
                </a:r>
                <a:endParaRPr kumimoji="0" lang="fr-FR" sz="900" b="0" i="0" u="none" strike="noStrike" kern="0" cap="none" spc="0" normalizeH="0" baseline="0" noProof="0" dirty="0">
                  <a:ln>
                    <a:noFill/>
                  </a:ln>
                  <a:solidFill>
                    <a:srgbClr val="000000"/>
                  </a:solidFill>
                  <a:effectLst/>
                  <a:uLnTx/>
                  <a:uFillTx/>
                  <a:latin typeface="Cambria"/>
                </a:endParaRPr>
              </a:p>
            </p:txBody>
          </p:sp>
          <p:sp>
            <p:nvSpPr>
              <p:cNvPr id="256" name="Oval 153"/>
              <p:cNvSpPr>
                <a:spLocks/>
              </p:cNvSpPr>
              <p:nvPr>
                <p:custDataLst>
                  <p:tags r:id="rId121"/>
                </p:custDataLst>
              </p:nvPr>
            </p:nvSpPr>
            <p:spPr bwMode="gray">
              <a:xfrm>
                <a:off x="4233021" y="750103"/>
                <a:ext cx="73152" cy="73152"/>
              </a:xfrm>
              <a:prstGeom prst="ellipse">
                <a:avLst/>
              </a:prstGeom>
              <a:solidFill>
                <a:srgbClr val="0065CC"/>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sp>
            <p:nvSpPr>
              <p:cNvPr id="257" name="Rectangle 432139"/>
              <p:cNvSpPr txBox="1">
                <a:spLocks/>
              </p:cNvSpPr>
              <p:nvPr>
                <p:custDataLst>
                  <p:tags r:id="rId122"/>
                </p:custDataLst>
              </p:nvPr>
            </p:nvSpPr>
            <p:spPr bwMode="gray">
              <a:xfrm>
                <a:off x="4396275" y="514844"/>
                <a:ext cx="1431158" cy="1384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0" i="0" u="none" strike="noStrike" kern="0" cap="none" spc="0" normalizeH="0" baseline="0" noProof="0" dirty="0" smtClean="0">
                    <a:ln>
                      <a:noFill/>
                    </a:ln>
                    <a:solidFill>
                      <a:srgbClr val="000000"/>
                    </a:solidFill>
                    <a:effectLst/>
                    <a:uLnTx/>
                    <a:uFillTx/>
                    <a:latin typeface="Cambria"/>
                  </a:rPr>
                  <a:t>Plateforme « conteneurs »</a:t>
                </a:r>
                <a:endParaRPr kumimoji="0" lang="fr-FR" sz="900" b="0" i="0" u="none" strike="noStrike" kern="0" cap="none" spc="0" normalizeH="0" baseline="0" noProof="0" dirty="0">
                  <a:ln>
                    <a:noFill/>
                  </a:ln>
                  <a:solidFill>
                    <a:srgbClr val="000000"/>
                  </a:solidFill>
                  <a:effectLst/>
                  <a:uLnTx/>
                  <a:uFillTx/>
                  <a:latin typeface="Cambria"/>
                </a:endParaRPr>
              </a:p>
            </p:txBody>
          </p:sp>
          <p:sp>
            <p:nvSpPr>
              <p:cNvPr id="258" name="Oval 161"/>
              <p:cNvSpPr>
                <a:spLocks/>
              </p:cNvSpPr>
              <p:nvPr>
                <p:custDataLst>
                  <p:tags r:id="rId123"/>
                </p:custDataLst>
              </p:nvPr>
            </p:nvSpPr>
            <p:spPr bwMode="gray">
              <a:xfrm>
                <a:off x="4233021" y="547517"/>
                <a:ext cx="73152" cy="73152"/>
              </a:xfrm>
              <a:prstGeom prst="ellipse">
                <a:avLst/>
              </a:prstGeom>
              <a:solidFill>
                <a:srgbClr val="998700">
                  <a:lumMod val="40000"/>
                  <a:lumOff val="60000"/>
                </a:srgb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grpSp>
        <p:pic>
          <p:nvPicPr>
            <p:cNvPr id="259" name="Picture 34"/>
            <p:cNvPicPr>
              <a:picLocks noChangeAspect="1" noChangeArrowheads="1"/>
            </p:cNvPicPr>
            <p:nvPr>
              <p:custDataLst>
                <p:tags r:id="rId108"/>
              </p:custDataLst>
            </p:nvPr>
          </p:nvPicPr>
          <p:blipFill>
            <a:blip r:embed="rId130" cstate="print">
              <a:extLst>
                <a:ext uri="{28A0092B-C50C-407E-A947-70E740481C1C}">
                  <a14:useLocalDpi xmlns="" xmlns:a14="http://schemas.microsoft.com/office/drawing/2010/main" val="0"/>
                </a:ext>
              </a:extLst>
            </a:blip>
            <a:srcRect/>
            <a:stretch>
              <a:fillRect/>
            </a:stretch>
          </p:blipFill>
          <p:spPr bwMode="auto">
            <a:xfrm>
              <a:off x="950824" y="3755389"/>
              <a:ext cx="410528" cy="4165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60" name="Picture 34"/>
            <p:cNvPicPr>
              <a:picLocks noChangeAspect="1" noChangeArrowheads="1"/>
            </p:cNvPicPr>
            <p:nvPr>
              <p:custDataLst>
                <p:tags r:id="rId109"/>
              </p:custDataLst>
            </p:nvPr>
          </p:nvPicPr>
          <p:blipFill rotWithShape="1">
            <a:blip r:embed="rId130" cstate="print">
              <a:extLst>
                <a:ext uri="{28A0092B-C50C-407E-A947-70E740481C1C}">
                  <a14:useLocalDpi xmlns="" xmlns:a14="http://schemas.microsoft.com/office/drawing/2010/main" val="0"/>
                </a:ext>
              </a:extLst>
            </a:blip>
            <a:srcRect l="8482"/>
            <a:stretch/>
          </p:blipFill>
          <p:spPr bwMode="auto">
            <a:xfrm>
              <a:off x="227429" y="3459118"/>
              <a:ext cx="375707" cy="4165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61" name="Rectangle 3"/>
            <p:cNvSpPr txBox="1"/>
            <p:nvPr>
              <p:custDataLst>
                <p:tags r:id="rId110"/>
              </p:custDataLst>
            </p:nvPr>
          </p:nvSpPr>
          <p:spPr>
            <a:xfrm>
              <a:off x="131013" y="4228649"/>
              <a:ext cx="1298147" cy="443163"/>
            </a:xfrm>
            <a:prstGeom prst="rect">
              <a:avLst/>
            </a:prstGeom>
            <a:solidFill>
              <a:srgbClr val="998700"/>
            </a:solidFill>
            <a:ln w="19050">
              <a:solidFill>
                <a:srgbClr val="FFFFFF">
                  <a:lumMod val="85000"/>
                </a:srgbClr>
              </a:solid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Port minéralier de </a:t>
              </a:r>
              <a:r>
                <a:rPr kumimoji="0" lang="fr-FR" sz="1000" b="1" i="0" u="none" strike="noStrike" kern="0" cap="none" spc="0" normalizeH="0" baseline="0" noProof="0" dirty="0" err="1" smtClean="0">
                  <a:ln>
                    <a:noFill/>
                  </a:ln>
                  <a:solidFill>
                    <a:srgbClr val="FFFFFF"/>
                  </a:solidFill>
                  <a:effectLst/>
                  <a:uLnTx/>
                  <a:uFillTx/>
                  <a:latin typeface="Cambria"/>
                </a:rPr>
                <a:t>Bargny</a:t>
              </a:r>
              <a:endParaRPr kumimoji="0" lang="fr-FR" sz="1000" b="1" i="0" u="none" strike="noStrike" kern="0" cap="none" spc="0" normalizeH="0" baseline="0" noProof="0" dirty="0" smtClean="0">
                <a:ln>
                  <a:noFill/>
                </a:ln>
                <a:solidFill>
                  <a:srgbClr val="FFFFFF"/>
                </a:solidFill>
                <a:effectLst/>
                <a:uLnTx/>
                <a:uFillTx/>
                <a:latin typeface="Cambria"/>
              </a:endParaRPr>
            </a:p>
          </p:txBody>
        </p:sp>
        <p:cxnSp>
          <p:nvCxnSpPr>
            <p:cNvPr id="262" name="Straight Connector 165"/>
            <p:cNvCxnSpPr>
              <a:stCxn id="261" idx="0"/>
            </p:cNvCxnSpPr>
            <p:nvPr>
              <p:custDataLst>
                <p:tags r:id="rId111"/>
              </p:custDataLst>
            </p:nvPr>
          </p:nvCxnSpPr>
          <p:spPr>
            <a:xfrm flipV="1">
              <a:off x="780087" y="3732877"/>
              <a:ext cx="170738" cy="495770"/>
            </a:xfrm>
            <a:prstGeom prst="line">
              <a:avLst/>
            </a:prstGeom>
            <a:noFill/>
            <a:ln w="9525" cap="flat" cmpd="sng" algn="ctr">
              <a:solidFill>
                <a:srgbClr val="808080"/>
              </a:solidFill>
              <a:prstDash val="solid"/>
              <a:tailEnd type="oval"/>
            </a:ln>
            <a:effectLst/>
          </p:spPr>
        </p:cxnSp>
        <p:sp>
          <p:nvSpPr>
            <p:cNvPr id="263" name="Rectangle 3"/>
            <p:cNvSpPr txBox="1"/>
            <p:nvPr>
              <p:custDataLst>
                <p:tags r:id="rId112"/>
              </p:custDataLst>
            </p:nvPr>
          </p:nvSpPr>
          <p:spPr>
            <a:xfrm>
              <a:off x="131012" y="2668342"/>
              <a:ext cx="890367" cy="443163"/>
            </a:xfrm>
            <a:prstGeom prst="rect">
              <a:avLst/>
            </a:prstGeom>
            <a:solidFill>
              <a:srgbClr val="998700"/>
            </a:solidFill>
            <a:ln w="19050">
              <a:solidFill>
                <a:srgbClr val="FFFFFF">
                  <a:lumMod val="85000"/>
                </a:srgbClr>
              </a:solid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Port du futur</a:t>
              </a:r>
            </a:p>
          </p:txBody>
        </p:sp>
        <p:cxnSp>
          <p:nvCxnSpPr>
            <p:cNvPr id="264" name="Straight Connector 167"/>
            <p:cNvCxnSpPr>
              <a:stCxn id="263" idx="2"/>
            </p:cNvCxnSpPr>
            <p:nvPr>
              <p:custDataLst>
                <p:tags r:id="rId113"/>
              </p:custDataLst>
            </p:nvPr>
          </p:nvCxnSpPr>
          <p:spPr>
            <a:xfrm>
              <a:off x="576196" y="3111503"/>
              <a:ext cx="24326" cy="212720"/>
            </a:xfrm>
            <a:prstGeom prst="line">
              <a:avLst/>
            </a:prstGeom>
            <a:noFill/>
            <a:ln w="9525" cap="flat" cmpd="sng" algn="ctr">
              <a:solidFill>
                <a:srgbClr val="808080"/>
              </a:solidFill>
              <a:prstDash val="solid"/>
              <a:tailEnd type="oval"/>
            </a:ln>
            <a:effectLst/>
          </p:spPr>
        </p:cxnSp>
        <p:sp>
          <p:nvSpPr>
            <p:cNvPr id="266" name="Freeform 131"/>
            <p:cNvSpPr/>
            <p:nvPr/>
          </p:nvSpPr>
          <p:spPr bwMode="gray">
            <a:xfrm>
              <a:off x="5284787" y="2264433"/>
              <a:ext cx="473300" cy="2266619"/>
            </a:xfrm>
            <a:custGeom>
              <a:avLst/>
              <a:gdLst>
                <a:gd name="connsiteX0" fmla="*/ 0 w 440675"/>
                <a:gd name="connsiteY0" fmla="*/ 176270 h 176270"/>
                <a:gd name="connsiteX1" fmla="*/ 440675 w 440675"/>
                <a:gd name="connsiteY1" fmla="*/ 0 h 176270"/>
              </a:gdLst>
              <a:ahLst/>
              <a:cxnLst>
                <a:cxn ang="0">
                  <a:pos x="connsiteX0" y="connsiteY0"/>
                </a:cxn>
                <a:cxn ang="0">
                  <a:pos x="connsiteX1" y="connsiteY1"/>
                </a:cxn>
              </a:cxnLst>
              <a:rect l="l" t="t" r="r" b="b"/>
              <a:pathLst>
                <a:path w="440675" h="176270">
                  <a:moveTo>
                    <a:pt x="0" y="176270"/>
                  </a:moveTo>
                  <a:lnTo>
                    <a:pt x="440675" y="0"/>
                  </a:lnTo>
                </a:path>
              </a:pathLst>
            </a:custGeom>
            <a:noFill/>
            <a:ln w="38100" cap="flat" cmpd="sng" algn="ctr">
              <a:solidFill>
                <a:srgbClr val="00000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grpSp>
          <p:nvGrpSpPr>
            <p:cNvPr id="4" name="Group 1"/>
            <p:cNvGrpSpPr/>
            <p:nvPr/>
          </p:nvGrpSpPr>
          <p:grpSpPr>
            <a:xfrm>
              <a:off x="6277385" y="2024511"/>
              <a:ext cx="1307896" cy="138499"/>
              <a:chOff x="6277384" y="2003166"/>
              <a:chExt cx="1307896" cy="138499"/>
            </a:xfrm>
          </p:grpSpPr>
          <p:sp>
            <p:nvSpPr>
              <p:cNvPr id="268" name="Rectangle 432139"/>
              <p:cNvSpPr txBox="1">
                <a:spLocks/>
              </p:cNvSpPr>
              <p:nvPr>
                <p:custDataLst>
                  <p:tags r:id="rId117"/>
                </p:custDataLst>
              </p:nvPr>
            </p:nvSpPr>
            <p:spPr bwMode="gray">
              <a:xfrm>
                <a:off x="6576991" y="2003166"/>
                <a:ext cx="1008289" cy="1384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0" i="0" u="none" strike="noStrike" kern="0" cap="none" spc="0" normalizeH="0" baseline="0" noProof="0" dirty="0" smtClean="0">
                    <a:ln>
                      <a:noFill/>
                    </a:ln>
                    <a:solidFill>
                      <a:srgbClr val="000000"/>
                    </a:solidFill>
                    <a:effectLst/>
                    <a:uLnTx/>
                    <a:uFillTx/>
                    <a:latin typeface="Cambria"/>
                  </a:rPr>
                  <a:t>Rail Matam – </a:t>
                </a:r>
                <a:r>
                  <a:rPr kumimoji="0" lang="fr-FR" sz="900" b="0" i="0" u="none" strike="noStrike" kern="0" cap="none" spc="0" normalizeH="0" baseline="0" noProof="0" dirty="0" err="1" smtClean="0">
                    <a:ln>
                      <a:noFill/>
                    </a:ln>
                    <a:solidFill>
                      <a:srgbClr val="000000"/>
                    </a:solidFill>
                    <a:effectLst/>
                    <a:uLnTx/>
                    <a:uFillTx/>
                    <a:latin typeface="Cambria"/>
                  </a:rPr>
                  <a:t>Tamba</a:t>
                </a:r>
                <a:endParaRPr kumimoji="0" lang="fr-FR" sz="900" b="0" i="0" u="none" strike="noStrike" kern="0" cap="none" spc="0" normalizeH="0" baseline="0" noProof="0" dirty="0">
                  <a:ln>
                    <a:noFill/>
                  </a:ln>
                  <a:solidFill>
                    <a:srgbClr val="000000"/>
                  </a:solidFill>
                  <a:effectLst/>
                  <a:uLnTx/>
                  <a:uFillTx/>
                  <a:latin typeface="Cambria"/>
                </a:endParaRPr>
              </a:p>
            </p:txBody>
          </p:sp>
          <p:sp>
            <p:nvSpPr>
              <p:cNvPr id="269" name="Freeform 169"/>
              <p:cNvSpPr>
                <a:spLocks/>
              </p:cNvSpPr>
              <p:nvPr>
                <p:custDataLst>
                  <p:tags r:id="rId118"/>
                </p:custDataLst>
              </p:nvPr>
            </p:nvSpPr>
            <p:spPr bwMode="gray">
              <a:xfrm>
                <a:off x="6277384" y="2080110"/>
                <a:ext cx="242887" cy="0"/>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38100" cap="flat" cmpd="sng" algn="ctr">
                <a:solidFill>
                  <a:srgbClr val="000000"/>
                </a:solidFill>
                <a:prstDash val="solid"/>
              </a:ln>
              <a:effectLst/>
              <a:ex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grpSp>
        <p:sp>
          <p:nvSpPr>
            <p:cNvPr id="270" name="Freeform 170"/>
            <p:cNvSpPr/>
            <p:nvPr>
              <p:custDataLst>
                <p:tags r:id="rId114"/>
              </p:custDataLst>
            </p:nvPr>
          </p:nvSpPr>
          <p:spPr bwMode="gray">
            <a:xfrm>
              <a:off x="5353592" y="2264433"/>
              <a:ext cx="473300" cy="2266619"/>
            </a:xfrm>
            <a:custGeom>
              <a:avLst/>
              <a:gdLst>
                <a:gd name="connsiteX0" fmla="*/ 0 w 440675"/>
                <a:gd name="connsiteY0" fmla="*/ 176270 h 176270"/>
                <a:gd name="connsiteX1" fmla="*/ 440675 w 440675"/>
                <a:gd name="connsiteY1" fmla="*/ 0 h 176270"/>
              </a:gdLst>
              <a:ahLst/>
              <a:cxnLst>
                <a:cxn ang="0">
                  <a:pos x="connsiteX0" y="connsiteY0"/>
                </a:cxn>
                <a:cxn ang="0">
                  <a:pos x="connsiteX1" y="connsiteY1"/>
                </a:cxn>
              </a:cxnLst>
              <a:rect l="l" t="t" r="r" b="b"/>
              <a:pathLst>
                <a:path w="440675" h="176270">
                  <a:moveTo>
                    <a:pt x="0" y="176270"/>
                  </a:moveTo>
                  <a:lnTo>
                    <a:pt x="440675" y="0"/>
                  </a:lnTo>
                </a:path>
              </a:pathLst>
            </a:custGeom>
            <a:noFill/>
            <a:ln w="38100" cap="flat" cmpd="sng" algn="ctr">
              <a:solidFill>
                <a:srgbClr val="FFFFFF">
                  <a:lumMod val="75000"/>
                </a:srgbClr>
              </a:solidFill>
              <a:prstDash val="sysDash"/>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latin typeface="Cambria"/>
              </a:endParaRPr>
            </a:p>
          </p:txBody>
        </p:sp>
        <p:grpSp>
          <p:nvGrpSpPr>
            <p:cNvPr id="5" name="Group 12"/>
            <p:cNvGrpSpPr/>
            <p:nvPr/>
          </p:nvGrpSpPr>
          <p:grpSpPr>
            <a:xfrm>
              <a:off x="1436151" y="1800318"/>
              <a:ext cx="596267" cy="1455312"/>
              <a:chOff x="1436150" y="1800318"/>
              <a:chExt cx="596267" cy="1455312"/>
            </a:xfrm>
          </p:grpSpPr>
          <p:cxnSp>
            <p:nvCxnSpPr>
              <p:cNvPr id="272" name="Straight Connector 4"/>
              <p:cNvCxnSpPr>
                <a:stCxn id="187" idx="5"/>
              </p:cNvCxnSpPr>
              <p:nvPr/>
            </p:nvCxnSpPr>
            <p:spPr>
              <a:xfrm>
                <a:off x="1995283" y="1800318"/>
                <a:ext cx="34640" cy="319888"/>
              </a:xfrm>
              <a:prstGeom prst="line">
                <a:avLst/>
              </a:prstGeom>
              <a:noFill/>
              <a:ln w="38100" cap="flat" cmpd="sng" algn="ctr">
                <a:solidFill>
                  <a:srgbClr val="C00000"/>
                </a:solidFill>
                <a:prstDash val="solid"/>
              </a:ln>
              <a:effectLst/>
            </p:spPr>
          </p:cxnSp>
          <p:cxnSp>
            <p:nvCxnSpPr>
              <p:cNvPr id="273" name="Straight Connector 139"/>
              <p:cNvCxnSpPr/>
              <p:nvPr/>
            </p:nvCxnSpPr>
            <p:spPr>
              <a:xfrm flipH="1">
                <a:off x="1436150" y="2105425"/>
                <a:ext cx="596267" cy="1150205"/>
              </a:xfrm>
              <a:prstGeom prst="line">
                <a:avLst/>
              </a:prstGeom>
              <a:noFill/>
              <a:ln w="38100" cap="flat" cmpd="sng" algn="ctr">
                <a:solidFill>
                  <a:srgbClr val="C00000"/>
                </a:solidFill>
                <a:prstDash val="solid"/>
              </a:ln>
              <a:effectLst/>
            </p:spPr>
          </p:cxnSp>
        </p:grpSp>
        <p:grpSp>
          <p:nvGrpSpPr>
            <p:cNvPr id="6" name="Group 140"/>
            <p:cNvGrpSpPr/>
            <p:nvPr/>
          </p:nvGrpSpPr>
          <p:grpSpPr>
            <a:xfrm>
              <a:off x="6277385" y="2192843"/>
              <a:ext cx="1434533" cy="138499"/>
              <a:chOff x="6277384" y="2003166"/>
              <a:chExt cx="1434532" cy="138499"/>
            </a:xfrm>
          </p:grpSpPr>
          <p:sp>
            <p:nvSpPr>
              <p:cNvPr id="275" name="Rectangle 432139"/>
              <p:cNvSpPr txBox="1">
                <a:spLocks/>
              </p:cNvSpPr>
              <p:nvPr>
                <p:custDataLst>
                  <p:tags r:id="rId115"/>
                </p:custDataLst>
              </p:nvPr>
            </p:nvSpPr>
            <p:spPr bwMode="gray">
              <a:xfrm>
                <a:off x="6576991" y="2003166"/>
                <a:ext cx="1134925" cy="138499"/>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0" i="0" u="none" strike="noStrike" kern="0" cap="none" spc="0" normalizeH="0" baseline="0" noProof="0" dirty="0" smtClean="0">
                    <a:ln>
                      <a:noFill/>
                    </a:ln>
                    <a:solidFill>
                      <a:srgbClr val="000000"/>
                    </a:solidFill>
                    <a:effectLst/>
                    <a:uLnTx/>
                    <a:uFillTx/>
                    <a:latin typeface="Cambria"/>
                  </a:rPr>
                  <a:t>Rail Thiès - Saint-Louis</a:t>
                </a:r>
                <a:endParaRPr kumimoji="0" lang="fr-FR" sz="900" b="0" i="0" u="none" strike="noStrike" kern="0" cap="none" spc="0" normalizeH="0" baseline="0" noProof="0" dirty="0">
                  <a:ln>
                    <a:noFill/>
                  </a:ln>
                  <a:solidFill>
                    <a:srgbClr val="000000"/>
                  </a:solidFill>
                  <a:effectLst/>
                  <a:uLnTx/>
                  <a:uFillTx/>
                  <a:latin typeface="Cambria"/>
                </a:endParaRPr>
              </a:p>
            </p:txBody>
          </p:sp>
          <p:sp>
            <p:nvSpPr>
              <p:cNvPr id="276" name="Freeform 171"/>
              <p:cNvSpPr>
                <a:spLocks/>
              </p:cNvSpPr>
              <p:nvPr>
                <p:custDataLst>
                  <p:tags r:id="rId116"/>
                </p:custDataLst>
              </p:nvPr>
            </p:nvSpPr>
            <p:spPr bwMode="gray">
              <a:xfrm>
                <a:off x="6277384" y="2080110"/>
                <a:ext cx="242887" cy="0"/>
              </a:xfrm>
              <a:custGeom>
                <a:avLst/>
                <a:gdLst>
                  <a:gd name="connsiteX0" fmla="*/ 0 w 219075"/>
                  <a:gd name="connsiteY0" fmla="*/ 0 h 0"/>
                  <a:gd name="connsiteX1" fmla="*/ 219075 w 219075"/>
                  <a:gd name="connsiteY1" fmla="*/ 0 h 0"/>
                </a:gdLst>
                <a:ahLst/>
                <a:cxnLst>
                  <a:cxn ang="0">
                    <a:pos x="connsiteX0" y="connsiteY0"/>
                  </a:cxn>
                  <a:cxn ang="0">
                    <a:pos x="connsiteX1" y="connsiteY1"/>
                  </a:cxn>
                </a:cxnLst>
                <a:rect l="l" t="t" r="r" b="b"/>
                <a:pathLst>
                  <a:path w="219075">
                    <a:moveTo>
                      <a:pt x="0" y="0"/>
                    </a:moveTo>
                    <a:lnTo>
                      <a:pt x="219075" y="0"/>
                    </a:lnTo>
                  </a:path>
                </a:pathLst>
              </a:custGeom>
              <a:noFill/>
              <a:ln w="38100" cap="flat" cmpd="sng" algn="ctr">
                <a:solidFill>
                  <a:srgbClr val="C00000"/>
                </a:solidFill>
                <a:prstDash val="solid"/>
              </a:ln>
              <a:effectLst/>
              <a:ex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smtClean="0">
                  <a:ln>
                    <a:noFill/>
                  </a:ln>
                  <a:solidFill>
                    <a:srgbClr val="FFFFFF"/>
                  </a:solidFill>
                  <a:effectLst/>
                  <a:uLnTx/>
                  <a:uFillTx/>
                  <a:latin typeface="Cambria"/>
                </a:endParaRPr>
              </a:p>
            </p:txBody>
          </p:sp>
        </p:grpSp>
      </p:grpSp>
      <p:sp>
        <p:nvSpPr>
          <p:cNvPr id="137" name="Rectangle 136"/>
          <p:cNvSpPr/>
          <p:nvPr/>
        </p:nvSpPr>
        <p:spPr>
          <a:xfrm flipV="1">
            <a:off x="622667" y="181969"/>
            <a:ext cx="6003343"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Tree>
    <p:extLst>
      <p:ext uri="{BB962C8B-B14F-4D97-AF65-F5344CB8AC3E}">
        <p14:creationId xmlns="" xmlns:p14="http://schemas.microsoft.com/office/powerpoint/2010/main" val="3396237170"/>
      </p:ext>
    </p:extLst>
  </p:cSld>
  <p:clrMapOvr>
    <a:masterClrMapping/>
  </p:clrMapOvr>
  <p:transition spd="med"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nodeType="withEffect">
                                  <p:stCondLst>
                                    <p:cond delay="0"/>
                                  </p:stCondLst>
                                  <p:childTnLst>
                                    <p:set>
                                      <p:cBhvr>
                                        <p:cTn id="6" dur="1" fill="hold">
                                          <p:stCondLst>
                                            <p:cond delay="0"/>
                                          </p:stCondLst>
                                        </p:cTn>
                                        <p:tgtEl>
                                          <p:spTgt spid="277"/>
                                        </p:tgtEl>
                                        <p:attrNameLst>
                                          <p:attrName>style.visibility</p:attrName>
                                        </p:attrNameLst>
                                      </p:cBhvr>
                                      <p:to>
                                        <p:strVal val="visible"/>
                                      </p:to>
                                    </p:set>
                                    <p:animEffect transition="in" filter="checkerboard(across)">
                                      <p:cBhvr>
                                        <p:cTn id="7" dur="500"/>
                                        <p:tgtEl>
                                          <p:spTgt spid="2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3"/>
          <p:cNvSpPr txBox="1"/>
          <p:nvPr>
            <p:custDataLst>
              <p:tags r:id="rId1"/>
            </p:custDataLst>
          </p:nvPr>
        </p:nvSpPr>
        <p:spPr bwMode="gray">
          <a:xfrm>
            <a:off x="100018" y="798555"/>
            <a:ext cx="8712968" cy="5853271"/>
          </a:xfrm>
          <a:prstGeom prst="rect">
            <a:avLst/>
          </a:prstGeom>
          <a:solidFill>
            <a:srgbClr val="FFFFFF"/>
          </a:solidFill>
          <a:ln w="9525">
            <a:solidFill>
              <a:srgbClr val="94B492"/>
            </a:solidFill>
            <a:miter lim="800000"/>
            <a:headEnd/>
            <a:tailEnd/>
          </a:ln>
          <a:effectLst>
            <a:outerShdw blurRad="50800" dist="12700" dir="2700000" algn="tl" rotWithShape="0">
              <a:prstClr val="black">
                <a:alpha val="40000"/>
              </a:prstClr>
            </a:outerShdw>
          </a:effectLst>
        </p:spPr>
        <p:txBody>
          <a:bodyPr vert="horz" wrap="square" lIns="72000" tIns="72000" rIns="36000" bIns="73471" numCol="1" anchor="ctr" anchorCtr="0" compatLnSpc="1">
            <a:prstTxWarp prst="textNoShape">
              <a:avLst/>
            </a:prstTxWarp>
            <a:noAutofit/>
          </a:bodyPr>
          <a:lstStyle>
            <a:defPPr>
              <a:defRPr lang="en-US"/>
            </a:defPPr>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sz="1400">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93675" marR="0" lvl="1" indent="-192088" defTabSz="895350" eaLnBrk="1" fontAlgn="base" latinLnBrk="0" hangingPunct="1">
              <a:lnSpc>
                <a:spcPct val="100000"/>
              </a:lnSpc>
              <a:spcBef>
                <a:spcPct val="0"/>
              </a:spcBef>
              <a:spcAft>
                <a:spcPct val="0"/>
              </a:spcAft>
              <a:buClr>
                <a:srgbClr val="000000"/>
              </a:buClr>
              <a:buSzPct val="125000"/>
              <a:buFont typeface="Arial" charset="0"/>
              <a:buChar char="▪"/>
              <a:tabLst/>
              <a:defRPr/>
            </a:pPr>
            <a:endParaRPr kumimoji="0" lang="fr-FR" sz="1400" b="1" i="0" u="none" strike="noStrike" kern="0" cap="none" spc="0" normalizeH="0" baseline="0" noProof="0" dirty="0">
              <a:ln>
                <a:noFill/>
              </a:ln>
              <a:solidFill>
                <a:srgbClr val="2F422E"/>
              </a:solidFill>
              <a:effectLst/>
              <a:uLnTx/>
              <a:uFillTx/>
              <a:latin typeface="Cambria"/>
            </a:endParaRPr>
          </a:p>
        </p:txBody>
      </p:sp>
      <p:sp>
        <p:nvSpPr>
          <p:cNvPr id="98" name="McK 4. Footnote"/>
          <p:cNvSpPr txBox="1">
            <a:spLocks noChangeArrowheads="1"/>
          </p:cNvSpPr>
          <p:nvPr>
            <p:custDataLst>
              <p:tags r:id="rId2"/>
            </p:custDataLst>
          </p:nvPr>
        </p:nvSpPr>
        <p:spPr bwMode="auto">
          <a:xfrm>
            <a:off x="137530" y="6665160"/>
            <a:ext cx="7904510"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98425" indent="-98425" defTabSz="895350">
              <a:defRPr sz="1000">
                <a:solidFill>
                  <a:srgbClr val="000000"/>
                </a:solidFill>
                <a:latin typeface="Cambria"/>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8425" marR="0" lvl="0" indent="-98425" defTabSz="895350" eaLnBrk="1" fontAlgn="base" latinLnBrk="0" hangingPunct="1">
              <a:lnSpc>
                <a:spcPct val="100000"/>
              </a:lnSpc>
              <a:spcBef>
                <a:spcPct val="0"/>
              </a:spcBef>
              <a:spcAft>
                <a:spcPct val="0"/>
              </a:spcAft>
              <a:buClrTx/>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1 </a:t>
            </a:r>
            <a:r>
              <a:rPr kumimoji="0" lang="fr-FR" sz="1000" b="0" i="0" u="none" strike="noStrike" kern="0" cap="none" spc="0" normalizeH="0" baseline="0" noProof="0" dirty="0">
                <a:ln>
                  <a:noFill/>
                </a:ln>
                <a:solidFill>
                  <a:srgbClr val="000000"/>
                </a:solidFill>
                <a:effectLst/>
                <a:uLnTx/>
                <a:uFillTx/>
                <a:latin typeface="Cambria"/>
              </a:rPr>
              <a:t>Part affectée au </a:t>
            </a:r>
            <a:r>
              <a:rPr kumimoji="0" lang="fr-FR" sz="1000" b="0" i="0" u="none" strike="noStrike" kern="0" cap="none" spc="0" normalizeH="0" baseline="0" noProof="0" dirty="0" smtClean="0">
                <a:ln>
                  <a:noFill/>
                </a:ln>
                <a:solidFill>
                  <a:srgbClr val="000000"/>
                </a:solidFill>
                <a:effectLst/>
                <a:uLnTx/>
                <a:uFillTx/>
                <a:latin typeface="Cambria"/>
              </a:rPr>
              <a:t>Sénégal</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99" name="Title 1"/>
          <p:cNvSpPr txBox="1">
            <a:spLocks/>
          </p:cNvSpPr>
          <p:nvPr>
            <p:custDataLst>
              <p:tags r:id="rId3"/>
            </p:custDataLst>
          </p:nvPr>
        </p:nvSpPr>
        <p:spPr bwMode="gray">
          <a:xfrm>
            <a:off x="639555" y="360970"/>
            <a:ext cx="8678442" cy="369332"/>
          </a:xfrm>
          <a:prstGeom prst="rect">
            <a:avLst/>
          </a:prstGeom>
          <a:noFill/>
          <a:ln w="9525">
            <a:noFill/>
            <a:miter lim="800000"/>
            <a:headEnd/>
            <a:tailEnd/>
          </a:ln>
          <a:extLst/>
        </p:spPr>
        <p:txBody>
          <a:bodyPr vert="horz" lIns="91440" tIns="45720" rIns="91440" bIns="45720" rtlCol="0" anchor="ctr">
            <a:noAutofit/>
          </a:bodyPr>
          <a:lstStyle>
            <a:lvl1pPr eaLnBrk="0" hangingPunct="0">
              <a:spcBef>
                <a:spcPct val="0"/>
              </a:spcBef>
              <a:buNone/>
              <a:defRPr sz="2400" b="1">
                <a:latin typeface="Cambria" panose="02040503050406030204" pitchFamily="18" charset="0"/>
                <a:ea typeface="+mj-ea"/>
                <a:cs typeface="+mj-cs"/>
              </a:defRPr>
            </a:lvl1pPr>
          </a:lstStyle>
          <a:p>
            <a:r>
              <a:rPr lang="fr-FR" sz="3200" dirty="0"/>
              <a:t>2020- </a:t>
            </a:r>
            <a:r>
              <a:rPr lang="fr-FR" sz="3200" dirty="0" smtClean="0"/>
              <a:t>2025 </a:t>
            </a:r>
            <a:r>
              <a:rPr lang="fr-FR" sz="3200" dirty="0" err="1" smtClean="0">
                <a:solidFill>
                  <a:srgbClr val="AB0000"/>
                </a:solidFill>
              </a:rPr>
              <a:t>Energy</a:t>
            </a:r>
            <a:r>
              <a:rPr lang="fr-FR" sz="3200" dirty="0" smtClean="0">
                <a:solidFill>
                  <a:srgbClr val="AB0000"/>
                </a:solidFill>
              </a:rPr>
              <a:t> Vision</a:t>
            </a:r>
            <a:endParaRPr lang="fr-FR" sz="3200" dirty="0">
              <a:solidFill>
                <a:srgbClr val="AB0000"/>
              </a:solidFill>
            </a:endParaRPr>
          </a:p>
        </p:txBody>
      </p:sp>
      <p:pic>
        <p:nvPicPr>
          <p:cNvPr id="100" name="Picture 61"/>
          <p:cNvPicPr>
            <a:picLocks noChangeAspect="1" noChangeArrowheads="1"/>
          </p:cNvPicPr>
          <p:nvPr>
            <p:custDataLst>
              <p:tags r:id="rId4"/>
            </p:custDataLst>
          </p:nvPr>
        </p:nvPicPr>
        <p:blipFill>
          <a:blip r:embed="rId88" cstate="print">
            <a:extLst>
              <a:ext uri="{28A0092B-C50C-407E-A947-70E740481C1C}">
                <a14:useLocalDpi xmlns="" xmlns:a14="http://schemas.microsoft.com/office/drawing/2010/main" val="0"/>
              </a:ext>
            </a:extLst>
          </a:blip>
          <a:srcRect/>
          <a:stretch>
            <a:fillRect/>
          </a:stretch>
        </p:blipFill>
        <p:spPr bwMode="gray">
          <a:xfrm>
            <a:off x="844041" y="992673"/>
            <a:ext cx="7479732" cy="51624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1" name="Rectangle 316"/>
          <p:cNvSpPr txBox="1"/>
          <p:nvPr>
            <p:custDataLst>
              <p:tags r:id="rId5"/>
            </p:custDataLst>
          </p:nvPr>
        </p:nvSpPr>
        <p:spPr bwMode="gray">
          <a:xfrm>
            <a:off x="3071208" y="908293"/>
            <a:ext cx="929742"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000000"/>
                </a:solidFill>
                <a:latin typeface="Cambria"/>
              </a:rPr>
              <a:t>Vers </a:t>
            </a:r>
            <a:r>
              <a:rPr lang="fr-FR" sz="1000" b="1" dirty="0" smtClean="0">
                <a:solidFill>
                  <a:srgbClr val="000000"/>
                </a:solidFill>
                <a:latin typeface="Cambria"/>
              </a:rPr>
              <a:t>Mauritanie</a:t>
            </a:r>
            <a:endParaRPr lang="fr-FR" sz="1000" b="1" dirty="0">
              <a:solidFill>
                <a:srgbClr val="000000"/>
              </a:solidFill>
              <a:latin typeface="Cambria"/>
            </a:endParaRPr>
          </a:p>
        </p:txBody>
      </p:sp>
      <p:sp>
        <p:nvSpPr>
          <p:cNvPr id="102" name="Rectangle 316"/>
          <p:cNvSpPr txBox="1"/>
          <p:nvPr>
            <p:custDataLst>
              <p:tags r:id="rId6"/>
            </p:custDataLst>
          </p:nvPr>
        </p:nvSpPr>
        <p:spPr bwMode="gray">
          <a:xfrm>
            <a:off x="7331052" y="4273922"/>
            <a:ext cx="694101" cy="138499"/>
          </a:xfrm>
          <a:prstGeom prst="rect">
            <a:avLst/>
          </a:prstGeom>
          <a:solidFill>
            <a:srgbClr val="FFFFFF"/>
          </a:solidFill>
          <a:ln w="9525">
            <a:noFill/>
            <a:miter lim="800000"/>
            <a:headEnd/>
            <a:tailEnd/>
          </a:ln>
          <a:effec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900" b="1" i="0" u="none" strike="noStrike" kern="0" cap="none" spc="0" normalizeH="0" baseline="0" noProof="0" dirty="0" smtClean="0">
                <a:ln>
                  <a:noFill/>
                </a:ln>
                <a:solidFill>
                  <a:srgbClr val="000000"/>
                </a:solidFill>
                <a:effectLst/>
                <a:uLnTx/>
                <a:uFillTx/>
                <a:latin typeface="Cambria"/>
              </a:rPr>
              <a:t>Mali</a:t>
            </a:r>
            <a:r>
              <a:rPr kumimoji="0" lang="fr-FR" sz="900" b="0" i="0" u="none" strike="noStrike" kern="0" cap="none" spc="0" normalizeH="0" baseline="0" noProof="0" dirty="0" smtClean="0">
                <a:ln>
                  <a:noFill/>
                </a:ln>
                <a:solidFill>
                  <a:srgbClr val="FF0000"/>
                </a:solidFill>
                <a:effectLst/>
                <a:uLnTx/>
                <a:uFillTx/>
                <a:latin typeface="Cambria"/>
              </a:rPr>
              <a:t> </a:t>
            </a:r>
            <a:r>
              <a:rPr kumimoji="0" lang="fr-FR" sz="900" b="1" i="0" u="none" strike="noStrike" kern="0" cap="none" spc="0" normalizeH="0" baseline="0" noProof="0" dirty="0" smtClean="0">
                <a:ln>
                  <a:noFill/>
                </a:ln>
                <a:solidFill>
                  <a:srgbClr val="FF0000"/>
                </a:solidFill>
                <a:effectLst/>
                <a:uLnTx/>
                <a:uFillTx/>
                <a:latin typeface="Cambria"/>
              </a:rPr>
              <a:t>                 </a:t>
            </a:r>
            <a:endParaRPr kumimoji="0" lang="fr-FR" sz="900" b="1" i="0" u="none" strike="noStrike" kern="0" cap="none" spc="0" normalizeH="0" baseline="0" noProof="0" dirty="0">
              <a:ln>
                <a:noFill/>
              </a:ln>
              <a:solidFill>
                <a:srgbClr val="FF0000"/>
              </a:solidFill>
              <a:effectLst/>
              <a:uLnTx/>
              <a:uFillTx/>
              <a:latin typeface="Cambria"/>
            </a:endParaRPr>
          </a:p>
        </p:txBody>
      </p:sp>
      <p:sp>
        <p:nvSpPr>
          <p:cNvPr id="103" name="Freeform 347"/>
          <p:cNvSpPr/>
          <p:nvPr>
            <p:custDataLst>
              <p:tags r:id="rId7"/>
            </p:custDataLst>
          </p:nvPr>
        </p:nvSpPr>
        <p:spPr bwMode="gray">
          <a:xfrm>
            <a:off x="4198146" y="5531393"/>
            <a:ext cx="271462" cy="33338"/>
          </a:xfrm>
          <a:custGeom>
            <a:avLst/>
            <a:gdLst>
              <a:gd name="connsiteX0" fmla="*/ 271462 w 271462"/>
              <a:gd name="connsiteY0" fmla="*/ 33338 h 33338"/>
              <a:gd name="connsiteX1" fmla="*/ 0 w 271462"/>
              <a:gd name="connsiteY1" fmla="*/ 0 h 33338"/>
            </a:gdLst>
            <a:ahLst/>
            <a:cxnLst>
              <a:cxn ang="0">
                <a:pos x="connsiteX0" y="connsiteY0"/>
              </a:cxn>
              <a:cxn ang="0">
                <a:pos x="connsiteX1" y="connsiteY1"/>
              </a:cxn>
            </a:cxnLst>
            <a:rect l="l" t="t" r="r" b="b"/>
            <a:pathLst>
              <a:path w="271462" h="33338">
                <a:moveTo>
                  <a:pt x="271462" y="33338"/>
                </a:moveTo>
                <a:lnTo>
                  <a:pt x="0"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04" name="Freeform 319"/>
          <p:cNvSpPr/>
          <p:nvPr>
            <p:custDataLst>
              <p:tags r:id="rId8"/>
            </p:custDataLst>
          </p:nvPr>
        </p:nvSpPr>
        <p:spPr bwMode="gray">
          <a:xfrm>
            <a:off x="3450504" y="1160809"/>
            <a:ext cx="24982" cy="512132"/>
          </a:xfrm>
          <a:custGeom>
            <a:avLst/>
            <a:gdLst>
              <a:gd name="connsiteX0" fmla="*/ 0 w 28575"/>
              <a:gd name="connsiteY0" fmla="*/ 585787 h 585787"/>
              <a:gd name="connsiteX1" fmla="*/ 28575 w 28575"/>
              <a:gd name="connsiteY1" fmla="*/ 0 h 585787"/>
            </a:gdLst>
            <a:ahLst/>
            <a:cxnLst>
              <a:cxn ang="0">
                <a:pos x="connsiteX0" y="connsiteY0"/>
              </a:cxn>
              <a:cxn ang="0">
                <a:pos x="connsiteX1" y="connsiteY1"/>
              </a:cxn>
            </a:cxnLst>
            <a:rect l="l" t="t" r="r" b="b"/>
            <a:pathLst>
              <a:path w="28575" h="585787">
                <a:moveTo>
                  <a:pt x="0" y="585787"/>
                </a:moveTo>
                <a:lnTo>
                  <a:pt x="28575" y="0"/>
                </a:lnTo>
              </a:path>
            </a:pathLst>
          </a:custGeom>
          <a:noFill/>
          <a:ln w="28575" cap="flat" cmpd="sng" algn="ctr">
            <a:solidFill>
              <a:srgbClr val="002060"/>
            </a:solidFill>
            <a:prstDash val="solid"/>
            <a:headEnd type="none" w="med" len="med"/>
            <a:tailEnd type="triangle"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05" name="Freeform 332"/>
          <p:cNvSpPr/>
          <p:nvPr>
            <p:custDataLst>
              <p:tags r:id="rId9"/>
            </p:custDataLst>
          </p:nvPr>
        </p:nvSpPr>
        <p:spPr bwMode="gray">
          <a:xfrm>
            <a:off x="5315832" y="4887301"/>
            <a:ext cx="408040" cy="399713"/>
          </a:xfrm>
          <a:custGeom>
            <a:avLst/>
            <a:gdLst>
              <a:gd name="connsiteX0" fmla="*/ 128588 w 466725"/>
              <a:gd name="connsiteY0" fmla="*/ 0 h 457200"/>
              <a:gd name="connsiteX1" fmla="*/ 466725 w 466725"/>
              <a:gd name="connsiteY1" fmla="*/ 419100 h 457200"/>
              <a:gd name="connsiteX2" fmla="*/ 0 w 466725"/>
              <a:gd name="connsiteY2" fmla="*/ 457200 h 457200"/>
            </a:gdLst>
            <a:ahLst/>
            <a:cxnLst>
              <a:cxn ang="0">
                <a:pos x="connsiteX0" y="connsiteY0"/>
              </a:cxn>
              <a:cxn ang="0">
                <a:pos x="connsiteX1" y="connsiteY1"/>
              </a:cxn>
              <a:cxn ang="0">
                <a:pos x="connsiteX2" y="connsiteY2"/>
              </a:cxn>
            </a:cxnLst>
            <a:rect l="l" t="t" r="r" b="b"/>
            <a:pathLst>
              <a:path w="466725" h="457200">
                <a:moveTo>
                  <a:pt x="128588" y="0"/>
                </a:moveTo>
                <a:lnTo>
                  <a:pt x="466725" y="419100"/>
                </a:lnTo>
                <a:lnTo>
                  <a:pt x="0" y="45720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06" name="Freeform 333"/>
          <p:cNvSpPr/>
          <p:nvPr>
            <p:custDataLst>
              <p:tags r:id="rId10"/>
            </p:custDataLst>
          </p:nvPr>
        </p:nvSpPr>
        <p:spPr bwMode="gray">
          <a:xfrm>
            <a:off x="5790491" y="5303668"/>
            <a:ext cx="503805" cy="487151"/>
          </a:xfrm>
          <a:custGeom>
            <a:avLst/>
            <a:gdLst>
              <a:gd name="connsiteX0" fmla="*/ 0 w 576263"/>
              <a:gd name="connsiteY0" fmla="*/ 0 h 557213"/>
              <a:gd name="connsiteX1" fmla="*/ 576263 w 576263"/>
              <a:gd name="connsiteY1" fmla="*/ 557213 h 557213"/>
            </a:gdLst>
            <a:ahLst/>
            <a:cxnLst>
              <a:cxn ang="0">
                <a:pos x="connsiteX0" y="connsiteY0"/>
              </a:cxn>
              <a:cxn ang="0">
                <a:pos x="connsiteX1" y="connsiteY1"/>
              </a:cxn>
            </a:cxnLst>
            <a:rect l="l" t="t" r="r" b="b"/>
            <a:pathLst>
              <a:path w="576263" h="557213">
                <a:moveTo>
                  <a:pt x="0" y="0"/>
                </a:moveTo>
                <a:lnTo>
                  <a:pt x="576263" y="557213"/>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07" name="Freeform 334"/>
          <p:cNvSpPr/>
          <p:nvPr>
            <p:custDataLst>
              <p:tags r:id="rId11"/>
            </p:custDataLst>
          </p:nvPr>
        </p:nvSpPr>
        <p:spPr bwMode="gray">
          <a:xfrm>
            <a:off x="6365078" y="5836617"/>
            <a:ext cx="353913" cy="124910"/>
          </a:xfrm>
          <a:custGeom>
            <a:avLst/>
            <a:gdLst>
              <a:gd name="connsiteX0" fmla="*/ 0 w 404813"/>
              <a:gd name="connsiteY0" fmla="*/ 0 h 142875"/>
              <a:gd name="connsiteX1" fmla="*/ 404813 w 404813"/>
              <a:gd name="connsiteY1" fmla="*/ 142875 h 142875"/>
            </a:gdLst>
            <a:ahLst/>
            <a:cxnLst>
              <a:cxn ang="0">
                <a:pos x="connsiteX0" y="connsiteY0"/>
              </a:cxn>
              <a:cxn ang="0">
                <a:pos x="connsiteX1" y="connsiteY1"/>
              </a:cxn>
            </a:cxnLst>
            <a:rect l="l" t="t" r="r" b="b"/>
            <a:pathLst>
              <a:path w="404813" h="142875">
                <a:moveTo>
                  <a:pt x="0" y="0"/>
                </a:moveTo>
                <a:lnTo>
                  <a:pt x="404813" y="142875"/>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08" name="Freeform 335"/>
          <p:cNvSpPr/>
          <p:nvPr>
            <p:custDataLst>
              <p:tags r:id="rId12"/>
            </p:custDataLst>
          </p:nvPr>
        </p:nvSpPr>
        <p:spPr bwMode="gray">
          <a:xfrm>
            <a:off x="6789773" y="5940711"/>
            <a:ext cx="79110" cy="33309"/>
          </a:xfrm>
          <a:custGeom>
            <a:avLst/>
            <a:gdLst>
              <a:gd name="connsiteX0" fmla="*/ 0 w 90488"/>
              <a:gd name="connsiteY0" fmla="*/ 38100 h 38100"/>
              <a:gd name="connsiteX1" fmla="*/ 90488 w 90488"/>
              <a:gd name="connsiteY1" fmla="*/ 0 h 38100"/>
            </a:gdLst>
            <a:ahLst/>
            <a:cxnLst>
              <a:cxn ang="0">
                <a:pos x="connsiteX0" y="connsiteY0"/>
              </a:cxn>
              <a:cxn ang="0">
                <a:pos x="connsiteX1" y="connsiteY1"/>
              </a:cxn>
            </a:cxnLst>
            <a:rect l="l" t="t" r="r" b="b"/>
            <a:pathLst>
              <a:path w="90488" h="38100">
                <a:moveTo>
                  <a:pt x="0" y="38100"/>
                </a:moveTo>
                <a:lnTo>
                  <a:pt x="90488"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09" name="Freeform 336"/>
          <p:cNvSpPr/>
          <p:nvPr>
            <p:custDataLst>
              <p:tags r:id="rId13"/>
            </p:custDataLst>
          </p:nvPr>
        </p:nvSpPr>
        <p:spPr bwMode="gray">
          <a:xfrm>
            <a:off x="6935502" y="5915727"/>
            <a:ext cx="303948" cy="49964"/>
          </a:xfrm>
          <a:custGeom>
            <a:avLst/>
            <a:gdLst>
              <a:gd name="connsiteX0" fmla="*/ 0 w 347662"/>
              <a:gd name="connsiteY0" fmla="*/ 0 h 57150"/>
              <a:gd name="connsiteX1" fmla="*/ 347662 w 347662"/>
              <a:gd name="connsiteY1" fmla="*/ 57150 h 57150"/>
            </a:gdLst>
            <a:ahLst/>
            <a:cxnLst>
              <a:cxn ang="0">
                <a:pos x="connsiteX0" y="connsiteY0"/>
              </a:cxn>
              <a:cxn ang="0">
                <a:pos x="connsiteX1" y="connsiteY1"/>
              </a:cxn>
            </a:cxnLst>
            <a:rect l="l" t="t" r="r" b="b"/>
            <a:pathLst>
              <a:path w="347662" h="57150">
                <a:moveTo>
                  <a:pt x="0" y="0"/>
                </a:moveTo>
                <a:lnTo>
                  <a:pt x="347662" y="5715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0" name="Freeform 337"/>
          <p:cNvSpPr/>
          <p:nvPr>
            <p:custDataLst>
              <p:tags r:id="rId14"/>
            </p:custDataLst>
          </p:nvPr>
        </p:nvSpPr>
        <p:spPr bwMode="gray">
          <a:xfrm>
            <a:off x="7301907" y="5645090"/>
            <a:ext cx="95764" cy="303949"/>
          </a:xfrm>
          <a:custGeom>
            <a:avLst/>
            <a:gdLst>
              <a:gd name="connsiteX0" fmla="*/ 0 w 109537"/>
              <a:gd name="connsiteY0" fmla="*/ 347663 h 347663"/>
              <a:gd name="connsiteX1" fmla="*/ 109537 w 109537"/>
              <a:gd name="connsiteY1" fmla="*/ 0 h 347663"/>
            </a:gdLst>
            <a:ahLst/>
            <a:cxnLst>
              <a:cxn ang="0">
                <a:pos x="connsiteX0" y="connsiteY0"/>
              </a:cxn>
              <a:cxn ang="0">
                <a:pos x="connsiteX1" y="connsiteY1"/>
              </a:cxn>
            </a:cxnLst>
            <a:rect l="l" t="t" r="r" b="b"/>
            <a:pathLst>
              <a:path w="109537" h="347663">
                <a:moveTo>
                  <a:pt x="0" y="347663"/>
                </a:moveTo>
                <a:lnTo>
                  <a:pt x="109537"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1" name="Freeform 338"/>
          <p:cNvSpPr/>
          <p:nvPr>
            <p:custDataLst>
              <p:tags r:id="rId15"/>
            </p:custDataLst>
          </p:nvPr>
        </p:nvSpPr>
        <p:spPr bwMode="gray">
          <a:xfrm>
            <a:off x="5086353" y="5324485"/>
            <a:ext cx="645848" cy="616224"/>
          </a:xfrm>
          <a:custGeom>
            <a:avLst/>
            <a:gdLst>
              <a:gd name="connsiteX0" fmla="*/ 371475 w 371475"/>
              <a:gd name="connsiteY0" fmla="*/ 0 h 671512"/>
              <a:gd name="connsiteX1" fmla="*/ 0 w 371475"/>
              <a:gd name="connsiteY1" fmla="*/ 671512 h 671512"/>
            </a:gdLst>
            <a:ahLst/>
            <a:cxnLst>
              <a:cxn ang="0">
                <a:pos x="connsiteX0" y="connsiteY0"/>
              </a:cxn>
              <a:cxn ang="0">
                <a:pos x="connsiteX1" y="connsiteY1"/>
              </a:cxn>
            </a:cxnLst>
            <a:rect l="l" t="t" r="r" b="b"/>
            <a:pathLst>
              <a:path w="371475" h="671512">
                <a:moveTo>
                  <a:pt x="371475" y="0"/>
                </a:moveTo>
                <a:lnTo>
                  <a:pt x="0" y="671512"/>
                </a:lnTo>
              </a:path>
            </a:pathLst>
          </a:custGeom>
          <a:noFill/>
          <a:ln w="28575" cap="flat" cmpd="sng" algn="ctr">
            <a:solidFill>
              <a:srgbClr val="002060"/>
            </a:solidFill>
            <a:prstDash val="solid"/>
            <a:headEnd type="none" w="med" len="med"/>
            <a:tailEnd type="triangle" w="med" len="me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2" name="Freeform 345"/>
          <p:cNvSpPr/>
          <p:nvPr>
            <p:custDataLst>
              <p:tags r:id="rId16"/>
            </p:custDataLst>
          </p:nvPr>
        </p:nvSpPr>
        <p:spPr bwMode="gray">
          <a:xfrm>
            <a:off x="4936333" y="5288506"/>
            <a:ext cx="300038" cy="4762"/>
          </a:xfrm>
          <a:custGeom>
            <a:avLst/>
            <a:gdLst>
              <a:gd name="connsiteX0" fmla="*/ 300038 w 300038"/>
              <a:gd name="connsiteY0" fmla="*/ 0 h 4762"/>
              <a:gd name="connsiteX1" fmla="*/ 0 w 300038"/>
              <a:gd name="connsiteY1" fmla="*/ 4762 h 4762"/>
            </a:gdLst>
            <a:ahLst/>
            <a:cxnLst>
              <a:cxn ang="0">
                <a:pos x="connsiteX0" y="connsiteY0"/>
              </a:cxn>
              <a:cxn ang="0">
                <a:pos x="connsiteX1" y="connsiteY1"/>
              </a:cxn>
            </a:cxnLst>
            <a:rect l="l" t="t" r="r" b="b"/>
            <a:pathLst>
              <a:path w="300038" h="4762">
                <a:moveTo>
                  <a:pt x="300038" y="0"/>
                </a:moveTo>
                <a:lnTo>
                  <a:pt x="0" y="4762"/>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3" name="Freeform 346"/>
          <p:cNvSpPr/>
          <p:nvPr>
            <p:custDataLst>
              <p:tags r:id="rId17"/>
            </p:custDataLst>
          </p:nvPr>
        </p:nvSpPr>
        <p:spPr bwMode="gray">
          <a:xfrm>
            <a:off x="4541046" y="5507583"/>
            <a:ext cx="366712" cy="52387"/>
          </a:xfrm>
          <a:custGeom>
            <a:avLst/>
            <a:gdLst>
              <a:gd name="connsiteX0" fmla="*/ 366712 w 366712"/>
              <a:gd name="connsiteY0" fmla="*/ 0 h 52387"/>
              <a:gd name="connsiteX1" fmla="*/ 0 w 366712"/>
              <a:gd name="connsiteY1" fmla="*/ 52387 h 52387"/>
            </a:gdLst>
            <a:ahLst/>
            <a:cxnLst>
              <a:cxn ang="0">
                <a:pos x="connsiteX0" y="connsiteY0"/>
              </a:cxn>
              <a:cxn ang="0">
                <a:pos x="connsiteX1" y="connsiteY1"/>
              </a:cxn>
            </a:cxnLst>
            <a:rect l="l" t="t" r="r" b="b"/>
            <a:pathLst>
              <a:path w="366712" h="52387">
                <a:moveTo>
                  <a:pt x="366712" y="0"/>
                </a:moveTo>
                <a:lnTo>
                  <a:pt x="0" y="52387"/>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4" name="Freeform 348"/>
          <p:cNvSpPr/>
          <p:nvPr>
            <p:custDataLst>
              <p:tags r:id="rId18"/>
            </p:custDataLst>
          </p:nvPr>
        </p:nvSpPr>
        <p:spPr bwMode="gray">
          <a:xfrm>
            <a:off x="3555208" y="5702843"/>
            <a:ext cx="500063" cy="109538"/>
          </a:xfrm>
          <a:custGeom>
            <a:avLst/>
            <a:gdLst>
              <a:gd name="connsiteX0" fmla="*/ 0 w 500063"/>
              <a:gd name="connsiteY0" fmla="*/ 109538 h 109538"/>
              <a:gd name="connsiteX1" fmla="*/ 185738 w 500063"/>
              <a:gd name="connsiteY1" fmla="*/ 14288 h 109538"/>
              <a:gd name="connsiteX2" fmla="*/ 500063 w 500063"/>
              <a:gd name="connsiteY2" fmla="*/ 0 h 109538"/>
            </a:gdLst>
            <a:ahLst/>
            <a:cxnLst>
              <a:cxn ang="0">
                <a:pos x="connsiteX0" y="connsiteY0"/>
              </a:cxn>
              <a:cxn ang="0">
                <a:pos x="connsiteX1" y="connsiteY1"/>
              </a:cxn>
              <a:cxn ang="0">
                <a:pos x="connsiteX2" y="connsiteY2"/>
              </a:cxn>
            </a:cxnLst>
            <a:rect l="l" t="t" r="r" b="b"/>
            <a:pathLst>
              <a:path w="500063" h="109538">
                <a:moveTo>
                  <a:pt x="0" y="109538"/>
                </a:moveTo>
                <a:lnTo>
                  <a:pt x="185738" y="14288"/>
                </a:lnTo>
                <a:lnTo>
                  <a:pt x="500063"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5" name="Freeform 349"/>
          <p:cNvSpPr/>
          <p:nvPr>
            <p:custDataLst>
              <p:tags r:id="rId19"/>
            </p:custDataLst>
          </p:nvPr>
        </p:nvSpPr>
        <p:spPr bwMode="gray">
          <a:xfrm>
            <a:off x="4026696" y="5159920"/>
            <a:ext cx="223837" cy="347663"/>
          </a:xfrm>
          <a:custGeom>
            <a:avLst/>
            <a:gdLst>
              <a:gd name="connsiteX0" fmla="*/ 0 w 223837"/>
              <a:gd name="connsiteY0" fmla="*/ 347663 h 347663"/>
              <a:gd name="connsiteX1" fmla="*/ 223837 w 223837"/>
              <a:gd name="connsiteY1" fmla="*/ 0 h 347663"/>
            </a:gdLst>
            <a:ahLst/>
            <a:cxnLst>
              <a:cxn ang="0">
                <a:pos x="connsiteX0" y="connsiteY0"/>
              </a:cxn>
              <a:cxn ang="0">
                <a:pos x="connsiteX1" y="connsiteY1"/>
              </a:cxn>
            </a:cxnLst>
            <a:rect l="l" t="t" r="r" b="b"/>
            <a:pathLst>
              <a:path w="223837" h="347663">
                <a:moveTo>
                  <a:pt x="0" y="347663"/>
                </a:moveTo>
                <a:lnTo>
                  <a:pt x="223837"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6" name="Freeform 350"/>
          <p:cNvSpPr/>
          <p:nvPr>
            <p:custDataLst>
              <p:tags r:id="rId20"/>
            </p:custDataLst>
          </p:nvPr>
        </p:nvSpPr>
        <p:spPr bwMode="gray">
          <a:xfrm>
            <a:off x="3940970" y="4393156"/>
            <a:ext cx="428625" cy="4762"/>
          </a:xfrm>
          <a:custGeom>
            <a:avLst/>
            <a:gdLst>
              <a:gd name="connsiteX0" fmla="*/ 0 w 428625"/>
              <a:gd name="connsiteY0" fmla="*/ 0 h 4762"/>
              <a:gd name="connsiteX1" fmla="*/ 428625 w 428625"/>
              <a:gd name="connsiteY1" fmla="*/ 4762 h 4762"/>
            </a:gdLst>
            <a:ahLst/>
            <a:cxnLst>
              <a:cxn ang="0">
                <a:pos x="connsiteX0" y="connsiteY0"/>
              </a:cxn>
              <a:cxn ang="0">
                <a:pos x="connsiteX1" y="connsiteY1"/>
              </a:cxn>
            </a:cxnLst>
            <a:rect l="l" t="t" r="r" b="b"/>
            <a:pathLst>
              <a:path w="428625" h="4762">
                <a:moveTo>
                  <a:pt x="0" y="0"/>
                </a:moveTo>
                <a:lnTo>
                  <a:pt x="428625" y="4762"/>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7" name="Freeform 351"/>
          <p:cNvSpPr/>
          <p:nvPr>
            <p:custDataLst>
              <p:tags r:id="rId21"/>
            </p:custDataLst>
          </p:nvPr>
        </p:nvSpPr>
        <p:spPr bwMode="gray">
          <a:xfrm>
            <a:off x="4445796" y="4431256"/>
            <a:ext cx="261937" cy="309562"/>
          </a:xfrm>
          <a:custGeom>
            <a:avLst/>
            <a:gdLst>
              <a:gd name="connsiteX0" fmla="*/ 0 w 261937"/>
              <a:gd name="connsiteY0" fmla="*/ 0 h 309562"/>
              <a:gd name="connsiteX1" fmla="*/ 261937 w 261937"/>
              <a:gd name="connsiteY1" fmla="*/ 309562 h 309562"/>
            </a:gdLst>
            <a:ahLst/>
            <a:cxnLst>
              <a:cxn ang="0">
                <a:pos x="connsiteX0" y="connsiteY0"/>
              </a:cxn>
              <a:cxn ang="0">
                <a:pos x="connsiteX1" y="connsiteY1"/>
              </a:cxn>
            </a:cxnLst>
            <a:rect l="l" t="t" r="r" b="b"/>
            <a:pathLst>
              <a:path w="261937" h="309562">
                <a:moveTo>
                  <a:pt x="0" y="0"/>
                </a:moveTo>
                <a:lnTo>
                  <a:pt x="261937" y="309562"/>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8" name="Freeform 352"/>
          <p:cNvSpPr/>
          <p:nvPr>
            <p:custDataLst>
              <p:tags r:id="rId22"/>
            </p:custDataLst>
          </p:nvPr>
        </p:nvSpPr>
        <p:spPr bwMode="gray">
          <a:xfrm>
            <a:off x="3126583" y="4616995"/>
            <a:ext cx="223838" cy="142875"/>
          </a:xfrm>
          <a:custGeom>
            <a:avLst/>
            <a:gdLst>
              <a:gd name="connsiteX0" fmla="*/ 0 w 223838"/>
              <a:gd name="connsiteY0" fmla="*/ 0 h 142875"/>
              <a:gd name="connsiteX1" fmla="*/ 219075 w 223838"/>
              <a:gd name="connsiteY1" fmla="*/ 133350 h 142875"/>
              <a:gd name="connsiteX2" fmla="*/ 219075 w 223838"/>
              <a:gd name="connsiteY2" fmla="*/ 133350 h 142875"/>
              <a:gd name="connsiteX3" fmla="*/ 223838 w 223838"/>
              <a:gd name="connsiteY3" fmla="*/ 142875 h 142875"/>
            </a:gdLst>
            <a:ahLst/>
            <a:cxnLst>
              <a:cxn ang="0">
                <a:pos x="connsiteX0" y="connsiteY0"/>
              </a:cxn>
              <a:cxn ang="0">
                <a:pos x="connsiteX1" y="connsiteY1"/>
              </a:cxn>
              <a:cxn ang="0">
                <a:pos x="connsiteX2" y="connsiteY2"/>
              </a:cxn>
              <a:cxn ang="0">
                <a:pos x="connsiteX3" y="connsiteY3"/>
              </a:cxn>
            </a:cxnLst>
            <a:rect l="l" t="t" r="r" b="b"/>
            <a:pathLst>
              <a:path w="223838" h="142875">
                <a:moveTo>
                  <a:pt x="0" y="0"/>
                </a:moveTo>
                <a:lnTo>
                  <a:pt x="219075" y="133350"/>
                </a:lnTo>
                <a:lnTo>
                  <a:pt x="219075" y="133350"/>
                </a:lnTo>
                <a:lnTo>
                  <a:pt x="223838" y="142875"/>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19" name="Freeform 353"/>
          <p:cNvSpPr/>
          <p:nvPr>
            <p:custDataLst>
              <p:tags r:id="rId23"/>
            </p:custDataLst>
          </p:nvPr>
        </p:nvSpPr>
        <p:spPr bwMode="gray">
          <a:xfrm>
            <a:off x="3307558" y="4802733"/>
            <a:ext cx="85725" cy="261937"/>
          </a:xfrm>
          <a:custGeom>
            <a:avLst/>
            <a:gdLst>
              <a:gd name="connsiteX0" fmla="*/ 0 w 85725"/>
              <a:gd name="connsiteY0" fmla="*/ 261937 h 261937"/>
              <a:gd name="connsiteX1" fmla="*/ 85725 w 85725"/>
              <a:gd name="connsiteY1" fmla="*/ 0 h 261937"/>
            </a:gdLst>
            <a:ahLst/>
            <a:cxnLst>
              <a:cxn ang="0">
                <a:pos x="connsiteX0" y="connsiteY0"/>
              </a:cxn>
              <a:cxn ang="0">
                <a:pos x="connsiteX1" y="connsiteY1"/>
              </a:cxn>
            </a:cxnLst>
            <a:rect l="l" t="t" r="r" b="b"/>
            <a:pathLst>
              <a:path w="85725" h="261937">
                <a:moveTo>
                  <a:pt x="0" y="261937"/>
                </a:moveTo>
                <a:lnTo>
                  <a:pt x="85725"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20" name="Freeform 354"/>
          <p:cNvSpPr/>
          <p:nvPr>
            <p:custDataLst>
              <p:tags r:id="rId24"/>
            </p:custDataLst>
          </p:nvPr>
        </p:nvSpPr>
        <p:spPr bwMode="gray">
          <a:xfrm>
            <a:off x="3417096" y="4586039"/>
            <a:ext cx="90487" cy="150019"/>
          </a:xfrm>
          <a:custGeom>
            <a:avLst/>
            <a:gdLst>
              <a:gd name="connsiteX0" fmla="*/ 0 w 119062"/>
              <a:gd name="connsiteY0" fmla="*/ 142875 h 142875"/>
              <a:gd name="connsiteX1" fmla="*/ 119062 w 119062"/>
              <a:gd name="connsiteY1" fmla="*/ 0 h 142875"/>
            </a:gdLst>
            <a:ahLst/>
            <a:cxnLst>
              <a:cxn ang="0">
                <a:pos x="connsiteX0" y="connsiteY0"/>
              </a:cxn>
              <a:cxn ang="0">
                <a:pos x="connsiteX1" y="connsiteY1"/>
              </a:cxn>
            </a:cxnLst>
            <a:rect l="l" t="t" r="r" b="b"/>
            <a:pathLst>
              <a:path w="119062" h="142875">
                <a:moveTo>
                  <a:pt x="0" y="142875"/>
                </a:moveTo>
                <a:lnTo>
                  <a:pt x="119062"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21" name="Rectangle 120"/>
          <p:cNvSpPr/>
          <p:nvPr>
            <p:custDataLst>
              <p:tags r:id="rId25"/>
            </p:custDataLst>
          </p:nvPr>
        </p:nvSpPr>
        <p:spPr bwMode="gray">
          <a:xfrm>
            <a:off x="1468392" y="3679550"/>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22" name="Rectangle 121"/>
          <p:cNvSpPr/>
          <p:nvPr>
            <p:custDataLst>
              <p:tags r:id="rId26"/>
            </p:custDataLst>
          </p:nvPr>
        </p:nvSpPr>
        <p:spPr bwMode="gray">
          <a:xfrm>
            <a:off x="1844192" y="3168175"/>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23" name="Rectangle 122"/>
          <p:cNvSpPr/>
          <p:nvPr>
            <p:custDataLst>
              <p:tags r:id="rId27"/>
            </p:custDataLst>
          </p:nvPr>
        </p:nvSpPr>
        <p:spPr bwMode="gray">
          <a:xfrm>
            <a:off x="5315832" y="4456658"/>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24" name="Rectangle 123"/>
          <p:cNvSpPr/>
          <p:nvPr>
            <p:custDataLst>
              <p:tags r:id="rId28"/>
            </p:custDataLst>
          </p:nvPr>
        </p:nvSpPr>
        <p:spPr bwMode="gray">
          <a:xfrm>
            <a:off x="2895224" y="4166843"/>
            <a:ext cx="101317" cy="94377"/>
          </a:xfrm>
          <a:prstGeom prst="rect">
            <a:avLst/>
          </a:prstGeom>
          <a:solidFill>
            <a:srgbClr val="FF0000"/>
          </a:solidFill>
          <a:ln w="3175"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25" name="Rectangle 3"/>
          <p:cNvSpPr txBox="1"/>
          <p:nvPr>
            <p:custDataLst>
              <p:tags r:id="rId29"/>
            </p:custDataLst>
          </p:nvPr>
        </p:nvSpPr>
        <p:spPr>
          <a:xfrm>
            <a:off x="4094804" y="860883"/>
            <a:ext cx="1285063" cy="555993"/>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Importation de 80 à 250 MW via une centrale au gaz</a:t>
            </a:r>
            <a:endParaRPr kumimoji="0" lang="fr-FR" sz="1000" b="1" i="0" u="none" strike="noStrike" kern="0" cap="none" spc="0" normalizeH="0" baseline="0" noProof="0" dirty="0">
              <a:ln>
                <a:noFill/>
              </a:ln>
              <a:solidFill>
                <a:srgbClr val="FFFFFF"/>
              </a:solidFill>
              <a:effectLst/>
              <a:uLnTx/>
              <a:uFillTx/>
              <a:latin typeface="Cambria"/>
            </a:endParaRPr>
          </a:p>
        </p:txBody>
      </p:sp>
      <p:sp>
        <p:nvSpPr>
          <p:cNvPr id="126" name="Rectangle 3"/>
          <p:cNvSpPr txBox="1"/>
          <p:nvPr>
            <p:custDataLst>
              <p:tags r:id="rId30"/>
            </p:custDataLst>
          </p:nvPr>
        </p:nvSpPr>
        <p:spPr>
          <a:xfrm>
            <a:off x="152691" y="1109470"/>
            <a:ext cx="1281220" cy="466454"/>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err="1" smtClean="0">
                <a:ln>
                  <a:noFill/>
                </a:ln>
                <a:solidFill>
                  <a:srgbClr val="FFFFFF"/>
                </a:solidFill>
                <a:effectLst/>
                <a:uLnTx/>
                <a:uFillTx/>
                <a:latin typeface="Cambria"/>
              </a:rPr>
              <a:t>Taiba</a:t>
            </a:r>
            <a:r>
              <a:rPr kumimoji="0" lang="fr-FR" sz="1000" b="1" i="0" u="none" strike="noStrike" kern="0" cap="none" spc="0" normalizeH="0" baseline="0" noProof="0" dirty="0" smtClean="0">
                <a:ln>
                  <a:noFill/>
                </a:ln>
                <a:solidFill>
                  <a:srgbClr val="FFFFFF"/>
                </a:solidFill>
                <a:effectLst/>
                <a:uLnTx/>
                <a:uFillTx/>
                <a:latin typeface="Cambria"/>
              </a:rPr>
              <a:t> </a:t>
            </a:r>
            <a:r>
              <a:rPr kumimoji="0" lang="fr-FR" sz="1000" b="1" i="0" u="none" strike="noStrike" kern="0" cap="none" spc="0" normalizeH="0" baseline="0" noProof="0" dirty="0" err="1" smtClean="0">
                <a:ln>
                  <a:noFill/>
                </a:ln>
                <a:solidFill>
                  <a:srgbClr val="FFFFFF"/>
                </a:solidFill>
                <a:effectLst/>
                <a:uLnTx/>
                <a:uFillTx/>
                <a:latin typeface="Cambria"/>
              </a:rPr>
              <a:t>Ndiaye</a:t>
            </a:r>
            <a:r>
              <a:rPr kumimoji="0" lang="fr-FR" sz="1000" b="1" i="0" u="none" strike="noStrike" kern="0" cap="none" spc="0" normalizeH="0" baseline="0" noProof="0" dirty="0" smtClean="0">
                <a:ln>
                  <a:noFill/>
                </a:ln>
                <a:solidFill>
                  <a:srgbClr val="FFFFFF"/>
                </a:solidFill>
                <a:effectLst/>
                <a:uLnTx/>
                <a:uFillTx/>
                <a:latin typeface="Cambria"/>
              </a:rPr>
              <a:t> : </a:t>
            </a:r>
            <a:r>
              <a:rPr kumimoji="0" lang="fr-FR" sz="1000" b="1" i="0" u="none" strike="noStrike" kern="0" cap="none" spc="0" normalizeH="0" baseline="0" noProof="0" dirty="0">
                <a:ln>
                  <a:noFill/>
                </a:ln>
                <a:solidFill>
                  <a:srgbClr val="FFFFFF"/>
                </a:solidFill>
                <a:effectLst/>
                <a:uLnTx/>
                <a:uFillTx/>
                <a:latin typeface="Cambria"/>
              </a:rPr>
              <a:t>p</a:t>
            </a:r>
            <a:r>
              <a:rPr kumimoji="0" lang="fr-FR" sz="1000" b="1" i="0" u="none" strike="noStrike" kern="0" cap="none" spc="0" normalizeH="0" baseline="0" noProof="0" dirty="0" smtClean="0">
                <a:ln>
                  <a:noFill/>
                </a:ln>
                <a:solidFill>
                  <a:srgbClr val="FFFFFF"/>
                </a:solidFill>
                <a:effectLst/>
                <a:uLnTx/>
                <a:uFillTx/>
                <a:latin typeface="Cambria"/>
              </a:rPr>
              <a:t>rojet éolien</a:t>
            </a: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50 MW)</a:t>
            </a:r>
            <a:endParaRPr kumimoji="0" lang="fr-FR" sz="1000" b="1" i="0" u="none" strike="noStrike" kern="0" cap="none" spc="0" normalizeH="0" baseline="0" noProof="0" dirty="0">
              <a:ln>
                <a:noFill/>
              </a:ln>
              <a:solidFill>
                <a:srgbClr val="FFFFFF"/>
              </a:solidFill>
              <a:effectLst/>
              <a:uLnTx/>
              <a:uFillTx/>
              <a:latin typeface="Cambria"/>
            </a:endParaRPr>
          </a:p>
        </p:txBody>
      </p:sp>
      <p:sp>
        <p:nvSpPr>
          <p:cNvPr id="127" name="Rectangle 3"/>
          <p:cNvSpPr txBox="1"/>
          <p:nvPr>
            <p:custDataLst>
              <p:tags r:id="rId31"/>
            </p:custDataLst>
          </p:nvPr>
        </p:nvSpPr>
        <p:spPr>
          <a:xfrm>
            <a:off x="152691" y="2379980"/>
            <a:ext cx="1381080" cy="417265"/>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err="1" smtClean="0">
                <a:ln>
                  <a:noFill/>
                </a:ln>
                <a:solidFill>
                  <a:srgbClr val="FFFFFF"/>
                </a:solidFill>
                <a:effectLst/>
                <a:uLnTx/>
                <a:uFillTx/>
                <a:latin typeface="Cambria"/>
              </a:rPr>
              <a:t>Mboro</a:t>
            </a:r>
            <a:r>
              <a:rPr kumimoji="0" lang="fr-FR" sz="1000" b="1" i="0" u="none" strike="noStrike" kern="0" cap="none" spc="0" normalizeH="0" baseline="0" noProof="0" dirty="0" smtClean="0">
                <a:ln>
                  <a:noFill/>
                </a:ln>
                <a:solidFill>
                  <a:srgbClr val="FFFFFF"/>
                </a:solidFill>
                <a:effectLst/>
                <a:uLnTx/>
                <a:uFillTx/>
                <a:latin typeface="Cambria"/>
              </a:rPr>
              <a:t> : </a:t>
            </a: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270 MW charbon</a:t>
            </a:r>
            <a:endParaRPr kumimoji="0" lang="fr-FR" sz="1000" b="1" i="0" u="none" strike="noStrike" kern="0" cap="none" spc="0" normalizeH="0" baseline="0" noProof="0" dirty="0">
              <a:ln>
                <a:noFill/>
              </a:ln>
              <a:solidFill>
                <a:srgbClr val="FFFFFF"/>
              </a:solidFill>
              <a:effectLst/>
              <a:uLnTx/>
              <a:uFillTx/>
              <a:latin typeface="Cambria"/>
            </a:endParaRPr>
          </a:p>
        </p:txBody>
      </p:sp>
      <p:sp>
        <p:nvSpPr>
          <p:cNvPr id="128" name="Rectangle 3"/>
          <p:cNvSpPr txBox="1"/>
          <p:nvPr>
            <p:custDataLst>
              <p:tags r:id="rId32"/>
            </p:custDataLst>
          </p:nvPr>
        </p:nvSpPr>
        <p:spPr>
          <a:xfrm>
            <a:off x="152691" y="5020082"/>
            <a:ext cx="1298147" cy="878990"/>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err="1" smtClean="0">
                <a:ln>
                  <a:noFill/>
                </a:ln>
                <a:solidFill>
                  <a:srgbClr val="FFFFFF"/>
                </a:solidFill>
                <a:effectLst/>
                <a:uLnTx/>
                <a:uFillTx/>
                <a:latin typeface="Cambria"/>
              </a:rPr>
              <a:t>Sendou</a:t>
            </a:r>
            <a:r>
              <a:rPr kumimoji="0" lang="fr-FR" sz="1000" b="1" i="0" u="none" strike="noStrike" kern="0" cap="none" spc="0" normalizeH="0" baseline="0" noProof="0" dirty="0" smtClean="0">
                <a:ln>
                  <a:noFill/>
                </a:ln>
                <a:solidFill>
                  <a:srgbClr val="FFFFFF"/>
                </a:solidFill>
                <a:effectLst/>
                <a:uLnTx/>
                <a:uFillTx/>
                <a:latin typeface="Cambria"/>
              </a:rPr>
              <a:t> : </a:t>
            </a:r>
          </a:p>
          <a:p>
            <a:pPr marL="197607" marR="0" lvl="1" indent="-195987" defTabSz="913526" eaLnBrk="1" fontAlgn="base" latinLnBrk="0" hangingPunct="1">
              <a:lnSpc>
                <a:spcPct val="100000"/>
              </a:lnSpc>
              <a:spcBef>
                <a:spcPct val="0"/>
              </a:spcBef>
              <a:spcAft>
                <a:spcPct val="0"/>
              </a:spcAft>
              <a:buClr>
                <a:srgbClr val="000000"/>
              </a:buClr>
              <a:buSzPct val="125000"/>
              <a:buFont typeface="Arial" charset="0"/>
              <a:buChar char="▪"/>
              <a:tabLst/>
              <a:defRPr/>
            </a:pPr>
            <a:r>
              <a:rPr kumimoji="0" lang="fr-FR" sz="1000" b="1" i="0" u="none" strike="noStrike" kern="0" cap="none" spc="0" normalizeH="0" baseline="0" noProof="0" dirty="0" smtClean="0">
                <a:ln>
                  <a:noFill/>
                </a:ln>
                <a:solidFill>
                  <a:srgbClr val="FFFFFF"/>
                </a:solidFill>
                <a:effectLst/>
                <a:uLnTx/>
                <a:uFillTx/>
                <a:latin typeface="Cambria"/>
              </a:rPr>
              <a:t>125 MW (</a:t>
            </a:r>
            <a:r>
              <a:rPr kumimoji="0" lang="fr-FR" sz="1000" b="1" i="0" u="none" strike="noStrike" kern="0" cap="none" spc="0" normalizeH="0" baseline="0" noProof="0" dirty="0" err="1" smtClean="0">
                <a:ln>
                  <a:noFill/>
                </a:ln>
                <a:solidFill>
                  <a:srgbClr val="FFFFFF"/>
                </a:solidFill>
                <a:effectLst/>
                <a:uLnTx/>
                <a:uFillTx/>
                <a:latin typeface="Cambria"/>
              </a:rPr>
              <a:t>Nycomb</a:t>
            </a:r>
            <a:r>
              <a:rPr kumimoji="0" lang="fr-FR" sz="1000" b="1" i="0" u="none" strike="noStrike" kern="0" cap="none" spc="0" normalizeH="0" baseline="0" noProof="0" dirty="0" smtClean="0">
                <a:ln>
                  <a:noFill/>
                </a:ln>
                <a:solidFill>
                  <a:srgbClr val="FFFFFF"/>
                </a:solidFill>
                <a:effectLst/>
                <a:uLnTx/>
                <a:uFillTx/>
                <a:latin typeface="Cambria"/>
              </a:rPr>
              <a:t>)</a:t>
            </a:r>
          </a:p>
          <a:p>
            <a:pPr marL="197607" marR="0" lvl="1" indent="-195987" defTabSz="913526" eaLnBrk="1" fontAlgn="base" latinLnBrk="0" hangingPunct="1">
              <a:lnSpc>
                <a:spcPct val="100000"/>
              </a:lnSpc>
              <a:spcBef>
                <a:spcPct val="0"/>
              </a:spcBef>
              <a:spcAft>
                <a:spcPct val="0"/>
              </a:spcAft>
              <a:buClr>
                <a:srgbClr val="000000"/>
              </a:buClr>
              <a:buSzPct val="125000"/>
              <a:buFont typeface="Arial" charset="0"/>
              <a:buChar char="▪"/>
              <a:tabLst/>
              <a:defRPr/>
            </a:pPr>
            <a:r>
              <a:rPr kumimoji="0" lang="fr-FR" sz="1000" b="1" i="0" u="none" strike="noStrike" kern="0" cap="none" spc="0" normalizeH="0" baseline="0" noProof="0" dirty="0" smtClean="0">
                <a:ln>
                  <a:noFill/>
                </a:ln>
                <a:solidFill>
                  <a:srgbClr val="FFFFFF"/>
                </a:solidFill>
                <a:effectLst/>
                <a:uLnTx/>
                <a:uFillTx/>
                <a:latin typeface="Cambria"/>
              </a:rPr>
              <a:t>250 MW (</a:t>
            </a:r>
            <a:r>
              <a:rPr kumimoji="0" lang="fr-FR" sz="1000" b="1" i="0" u="none" strike="noStrike" kern="0" cap="none" spc="0" normalizeH="0" baseline="0" noProof="0" dirty="0" err="1" smtClean="0">
                <a:ln>
                  <a:noFill/>
                </a:ln>
                <a:solidFill>
                  <a:srgbClr val="FFFFFF"/>
                </a:solidFill>
                <a:effectLst/>
                <a:uLnTx/>
                <a:uFillTx/>
                <a:latin typeface="Cambria"/>
              </a:rPr>
              <a:t>Kepco</a:t>
            </a:r>
            <a:r>
              <a:rPr kumimoji="0" lang="fr-FR" sz="1000" b="1" i="0" u="none" strike="noStrike" kern="0" cap="none" spc="0" normalizeH="0" baseline="0" noProof="0" dirty="0" smtClean="0">
                <a:ln>
                  <a:noFill/>
                </a:ln>
                <a:solidFill>
                  <a:srgbClr val="FFFFFF"/>
                </a:solidFill>
                <a:effectLst/>
                <a:uLnTx/>
                <a:uFillTx/>
                <a:latin typeface="Cambria"/>
              </a:rPr>
              <a:t>)</a:t>
            </a:r>
          </a:p>
        </p:txBody>
      </p:sp>
      <p:sp>
        <p:nvSpPr>
          <p:cNvPr id="129" name="Rectangle 3"/>
          <p:cNvSpPr txBox="1"/>
          <p:nvPr>
            <p:custDataLst>
              <p:tags r:id="rId33"/>
            </p:custDataLst>
          </p:nvPr>
        </p:nvSpPr>
        <p:spPr>
          <a:xfrm>
            <a:off x="7658495" y="3557317"/>
            <a:ext cx="1118867" cy="481530"/>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Barrage de </a:t>
            </a:r>
            <a:r>
              <a:rPr kumimoji="0" lang="fr-FR" sz="1000" b="1" i="0" u="none" strike="noStrike" kern="0" cap="none" spc="0" normalizeH="0" baseline="0" noProof="0" dirty="0">
                <a:ln>
                  <a:noFill/>
                </a:ln>
                <a:solidFill>
                  <a:srgbClr val="FFFFFF"/>
                </a:solidFill>
                <a:effectLst/>
                <a:uLnTx/>
                <a:uFillTx/>
                <a:latin typeface="Cambria"/>
              </a:rPr>
              <a:t> </a:t>
            </a:r>
            <a:r>
              <a:rPr kumimoji="0" lang="fr-FR" sz="1000" b="1" i="0" u="none" strike="noStrike" kern="0" cap="none" spc="0" normalizeH="0" baseline="0" noProof="0" dirty="0" err="1" smtClean="0">
                <a:ln>
                  <a:noFill/>
                </a:ln>
                <a:solidFill>
                  <a:srgbClr val="FFFFFF"/>
                </a:solidFill>
                <a:effectLst/>
                <a:uLnTx/>
                <a:uFillTx/>
                <a:latin typeface="Cambria"/>
              </a:rPr>
              <a:t>Felou</a:t>
            </a:r>
            <a:r>
              <a:rPr kumimoji="0" lang="fr-FR" sz="1000" b="1" i="0" u="none" strike="noStrike" kern="0" cap="none" spc="0" normalizeH="0" baseline="0" noProof="0" dirty="0" smtClean="0">
                <a:ln>
                  <a:noFill/>
                </a:ln>
                <a:solidFill>
                  <a:srgbClr val="FFFFFF"/>
                </a:solidFill>
                <a:effectLst/>
                <a:uLnTx/>
                <a:uFillTx/>
                <a:latin typeface="Cambria"/>
              </a:rPr>
              <a:t> </a:t>
            </a:r>
            <a:r>
              <a:rPr kumimoji="0" lang="fr-FR" sz="1000" b="1" i="0" u="none" strike="noStrike" kern="0" cap="none" spc="0" normalizeH="0" baseline="0" noProof="0" dirty="0">
                <a:ln>
                  <a:noFill/>
                </a:ln>
                <a:solidFill>
                  <a:srgbClr val="FFFFFF"/>
                </a:solidFill>
                <a:effectLst/>
                <a:uLnTx/>
                <a:uFillTx/>
                <a:latin typeface="Cambria"/>
              </a:rPr>
              <a:t>(15 </a:t>
            </a:r>
            <a:r>
              <a:rPr kumimoji="0" lang="fr-FR" sz="1000" b="1" i="0" u="none" strike="noStrike" kern="0" cap="none" spc="0" normalizeH="0" baseline="0" noProof="0" dirty="0" smtClean="0">
                <a:ln>
                  <a:noFill/>
                </a:ln>
                <a:solidFill>
                  <a:srgbClr val="FFFFFF"/>
                </a:solidFill>
                <a:effectLst/>
                <a:uLnTx/>
                <a:uFillTx/>
                <a:latin typeface="Cambria"/>
              </a:rPr>
              <a:t>MW</a:t>
            </a:r>
            <a:r>
              <a:rPr kumimoji="0" lang="fr-FR" sz="1000" b="1" i="0" u="none" strike="noStrike" kern="0" cap="none" spc="0" normalizeH="0" baseline="30000" noProof="0" dirty="0" smtClean="0">
                <a:ln>
                  <a:noFill/>
                </a:ln>
                <a:solidFill>
                  <a:srgbClr val="FFFFFF"/>
                </a:solidFill>
                <a:effectLst/>
                <a:uLnTx/>
                <a:uFillTx/>
                <a:latin typeface="Cambria"/>
              </a:rPr>
              <a:t>1</a:t>
            </a:r>
            <a:r>
              <a:rPr kumimoji="0" lang="fr-FR" sz="1000" b="1" i="0" u="none" strike="noStrike" kern="0" cap="none" spc="0" normalizeH="0" baseline="0" noProof="0" dirty="0" smtClean="0">
                <a:ln>
                  <a:noFill/>
                </a:ln>
                <a:solidFill>
                  <a:srgbClr val="FFFFFF"/>
                </a:solidFill>
                <a:effectLst/>
                <a:uLnTx/>
                <a:uFillTx/>
                <a:latin typeface="Cambria"/>
              </a:rPr>
              <a:t>)</a:t>
            </a:r>
            <a:endParaRPr kumimoji="0" lang="fr-FR" sz="1000" b="1" i="0" u="none" strike="noStrike" kern="0" cap="none" spc="0" normalizeH="0" baseline="0" noProof="0" dirty="0">
              <a:ln>
                <a:noFill/>
              </a:ln>
              <a:solidFill>
                <a:srgbClr val="FFFFFF"/>
              </a:solidFill>
              <a:effectLst/>
              <a:uLnTx/>
              <a:uFillTx/>
              <a:latin typeface="Cambria"/>
            </a:endParaRPr>
          </a:p>
        </p:txBody>
      </p:sp>
      <p:sp>
        <p:nvSpPr>
          <p:cNvPr id="130" name="Rectangle 3"/>
          <p:cNvSpPr txBox="1"/>
          <p:nvPr>
            <p:custDataLst>
              <p:tags r:id="rId34"/>
            </p:custDataLst>
          </p:nvPr>
        </p:nvSpPr>
        <p:spPr>
          <a:xfrm>
            <a:off x="3389498" y="6163286"/>
            <a:ext cx="1443705" cy="468000"/>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Barrage de </a:t>
            </a:r>
            <a:r>
              <a:rPr kumimoji="0" lang="fr-FR" sz="1000" b="1" i="0" u="none" strike="noStrike" kern="0" cap="none" spc="0" normalizeH="0" baseline="0" noProof="0" dirty="0" err="1" smtClean="0">
                <a:ln>
                  <a:noFill/>
                </a:ln>
                <a:solidFill>
                  <a:srgbClr val="FFFFFF"/>
                </a:solidFill>
                <a:effectLst/>
                <a:uLnTx/>
                <a:uFillTx/>
                <a:latin typeface="Cambria"/>
              </a:rPr>
              <a:t>Kaléta</a:t>
            </a:r>
            <a:endParaRPr kumimoji="0" lang="fr-FR" sz="1000" b="1" i="0" u="none" strike="noStrike" kern="0" cap="none" spc="0" normalizeH="0" baseline="0" noProof="0" dirty="0" smtClean="0">
              <a:ln>
                <a:noFill/>
              </a:ln>
              <a:solidFill>
                <a:srgbClr val="FFFFFF"/>
              </a:solidFill>
              <a:effectLst/>
              <a:uLnTx/>
              <a:uFillTx/>
              <a:latin typeface="Cambria"/>
            </a:endParaRP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48 MW</a:t>
            </a:r>
            <a:r>
              <a:rPr kumimoji="0" lang="fr-FR" sz="1000" b="1" i="0" u="none" strike="noStrike" kern="0" cap="none" spc="0" normalizeH="0" baseline="30000" noProof="0" dirty="0" smtClean="0">
                <a:ln>
                  <a:noFill/>
                </a:ln>
                <a:solidFill>
                  <a:srgbClr val="FFFFFF"/>
                </a:solidFill>
                <a:effectLst/>
                <a:uLnTx/>
                <a:uFillTx/>
                <a:latin typeface="Cambria"/>
              </a:rPr>
              <a:t>1</a:t>
            </a:r>
            <a:r>
              <a:rPr kumimoji="0" lang="fr-FR" sz="1000" b="1" i="0" u="none" strike="noStrike" kern="0" cap="none" spc="0" normalizeH="0" baseline="0" noProof="0" dirty="0" smtClean="0">
                <a:ln>
                  <a:noFill/>
                </a:ln>
                <a:solidFill>
                  <a:srgbClr val="FFFFFF"/>
                </a:solidFill>
                <a:effectLst/>
                <a:uLnTx/>
                <a:uFillTx/>
                <a:latin typeface="Cambria"/>
              </a:rPr>
              <a:t>)</a:t>
            </a:r>
            <a:endParaRPr kumimoji="0" lang="fr-FR" sz="1000" b="1" i="0" u="none" strike="noStrike" kern="0" cap="none" spc="0" normalizeH="0" baseline="0" noProof="0" dirty="0">
              <a:ln>
                <a:noFill/>
              </a:ln>
              <a:solidFill>
                <a:srgbClr val="FFFFFF"/>
              </a:solidFill>
              <a:effectLst/>
              <a:uLnTx/>
              <a:uFillTx/>
              <a:latin typeface="Cambria"/>
            </a:endParaRPr>
          </a:p>
        </p:txBody>
      </p:sp>
      <p:sp>
        <p:nvSpPr>
          <p:cNvPr id="131" name="Rectangle 316"/>
          <p:cNvSpPr txBox="1"/>
          <p:nvPr>
            <p:custDataLst>
              <p:tags r:id="rId35"/>
            </p:custDataLst>
          </p:nvPr>
        </p:nvSpPr>
        <p:spPr bwMode="gray">
          <a:xfrm>
            <a:off x="4715398" y="5970809"/>
            <a:ext cx="687689"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fr-FR" sz="1000" dirty="0" smtClean="0">
                <a:solidFill>
                  <a:srgbClr val="000000"/>
                </a:solidFill>
                <a:latin typeface="Cambria"/>
              </a:rPr>
              <a:t>Vers </a:t>
            </a:r>
            <a:r>
              <a:rPr lang="fr-FR" sz="1000" b="1" dirty="0" smtClean="0">
                <a:solidFill>
                  <a:srgbClr val="000000"/>
                </a:solidFill>
                <a:latin typeface="Cambria"/>
              </a:rPr>
              <a:t>Guinée</a:t>
            </a:r>
            <a:endParaRPr lang="fr-FR" sz="1000" b="1" dirty="0">
              <a:solidFill>
                <a:srgbClr val="000000"/>
              </a:solidFill>
              <a:latin typeface="Cambria"/>
            </a:endParaRPr>
          </a:p>
        </p:txBody>
      </p:sp>
      <p:cxnSp>
        <p:nvCxnSpPr>
          <p:cNvPr id="132" name="Straight Connector 5"/>
          <p:cNvCxnSpPr>
            <a:stCxn id="126" idx="3"/>
          </p:cNvCxnSpPr>
          <p:nvPr>
            <p:custDataLst>
              <p:tags r:id="rId36"/>
            </p:custDataLst>
          </p:nvPr>
        </p:nvCxnSpPr>
        <p:spPr>
          <a:xfrm>
            <a:off x="1433912" y="1342697"/>
            <a:ext cx="559413" cy="1959238"/>
          </a:xfrm>
          <a:prstGeom prst="line">
            <a:avLst/>
          </a:prstGeom>
          <a:noFill/>
          <a:ln w="9525" cap="flat" cmpd="sng" algn="ctr">
            <a:solidFill>
              <a:srgbClr val="808080"/>
            </a:solidFill>
            <a:prstDash val="solid"/>
            <a:tailEnd type="oval"/>
          </a:ln>
          <a:effectLst/>
        </p:spPr>
      </p:cxnSp>
      <p:cxnSp>
        <p:nvCxnSpPr>
          <p:cNvPr id="133" name="Straight Connector 67"/>
          <p:cNvCxnSpPr/>
          <p:nvPr>
            <p:custDataLst>
              <p:tags r:id="rId37"/>
            </p:custDataLst>
          </p:nvPr>
        </p:nvCxnSpPr>
        <p:spPr>
          <a:xfrm>
            <a:off x="838135" y="2797509"/>
            <a:ext cx="1006056" cy="415734"/>
          </a:xfrm>
          <a:prstGeom prst="line">
            <a:avLst/>
          </a:prstGeom>
          <a:noFill/>
          <a:ln w="9525" cap="flat" cmpd="sng" algn="ctr">
            <a:solidFill>
              <a:srgbClr val="808080"/>
            </a:solidFill>
            <a:prstDash val="solid"/>
            <a:tailEnd type="oval"/>
          </a:ln>
          <a:effectLst/>
        </p:spPr>
      </p:cxnSp>
      <p:cxnSp>
        <p:nvCxnSpPr>
          <p:cNvPr id="134" name="Straight Connector 69"/>
          <p:cNvCxnSpPr/>
          <p:nvPr>
            <p:custDataLst>
              <p:tags r:id="rId38"/>
            </p:custDataLst>
          </p:nvPr>
        </p:nvCxnSpPr>
        <p:spPr>
          <a:xfrm flipV="1">
            <a:off x="1032375" y="3924021"/>
            <a:ext cx="343093" cy="1159646"/>
          </a:xfrm>
          <a:prstGeom prst="line">
            <a:avLst/>
          </a:prstGeom>
          <a:noFill/>
          <a:ln w="9525" cap="flat" cmpd="sng" algn="ctr">
            <a:solidFill>
              <a:srgbClr val="808080"/>
            </a:solidFill>
            <a:prstDash val="solid"/>
            <a:tailEnd type="oval"/>
          </a:ln>
          <a:effectLst/>
        </p:spPr>
      </p:cxnSp>
      <p:sp>
        <p:nvSpPr>
          <p:cNvPr id="135" name="Rectangle 3"/>
          <p:cNvSpPr txBox="1"/>
          <p:nvPr>
            <p:custDataLst>
              <p:tags r:id="rId39"/>
            </p:custDataLst>
          </p:nvPr>
        </p:nvSpPr>
        <p:spPr>
          <a:xfrm>
            <a:off x="152691" y="3058590"/>
            <a:ext cx="746902" cy="1222642"/>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Port de Dakar  rénové pour les produits pétroliers importés</a:t>
            </a:r>
          </a:p>
        </p:txBody>
      </p:sp>
      <p:cxnSp>
        <p:nvCxnSpPr>
          <p:cNvPr id="136" name="Straight Connector 74"/>
          <p:cNvCxnSpPr>
            <a:stCxn id="100" idx="1"/>
          </p:cNvCxnSpPr>
          <p:nvPr>
            <p:custDataLst>
              <p:tags r:id="rId40"/>
            </p:custDataLst>
          </p:nvPr>
        </p:nvCxnSpPr>
        <p:spPr>
          <a:xfrm flipV="1">
            <a:off x="844041" y="3573907"/>
            <a:ext cx="359880" cy="1"/>
          </a:xfrm>
          <a:prstGeom prst="line">
            <a:avLst/>
          </a:prstGeom>
          <a:noFill/>
          <a:ln w="9525" cap="flat" cmpd="sng" algn="ctr">
            <a:solidFill>
              <a:srgbClr val="808080"/>
            </a:solidFill>
            <a:prstDash val="solid"/>
            <a:tailEnd type="oval"/>
          </a:ln>
          <a:effectLst/>
        </p:spPr>
      </p:cxnSp>
      <p:sp>
        <p:nvSpPr>
          <p:cNvPr id="137" name="Rectangle 136"/>
          <p:cNvSpPr/>
          <p:nvPr>
            <p:custDataLst>
              <p:tags r:id="rId41"/>
            </p:custDataLst>
          </p:nvPr>
        </p:nvSpPr>
        <p:spPr bwMode="gray">
          <a:xfrm>
            <a:off x="6208713" y="917308"/>
            <a:ext cx="2375729" cy="1276889"/>
          </a:xfrm>
          <a:prstGeom prst="rect">
            <a:avLst/>
          </a:prstGeom>
          <a:solidFill>
            <a:srgbClr val="FFFFFF"/>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err="1" smtClean="0">
              <a:ln>
                <a:noFill/>
              </a:ln>
              <a:solidFill>
                <a:srgbClr val="000000"/>
              </a:solidFill>
              <a:effectLst/>
              <a:uLnTx/>
              <a:uFillTx/>
              <a:latin typeface="Cambria"/>
            </a:endParaRPr>
          </a:p>
        </p:txBody>
      </p:sp>
      <p:grpSp>
        <p:nvGrpSpPr>
          <p:cNvPr id="2" name="Group 4"/>
          <p:cNvGrpSpPr/>
          <p:nvPr>
            <p:custDataLst>
              <p:tags r:id="rId42"/>
            </p:custDataLst>
          </p:nvPr>
        </p:nvGrpSpPr>
        <p:grpSpPr>
          <a:xfrm>
            <a:off x="6637862" y="1092454"/>
            <a:ext cx="2084739" cy="1678467"/>
            <a:chOff x="9692441" y="222956"/>
            <a:chExt cx="2084739" cy="1678467"/>
          </a:xfrm>
        </p:grpSpPr>
        <p:sp>
          <p:nvSpPr>
            <p:cNvPr id="139" name="Rectangle 138"/>
            <p:cNvSpPr>
              <a:spLocks/>
            </p:cNvSpPr>
            <p:nvPr>
              <p:custDataLst>
                <p:tags r:id="rId72"/>
              </p:custDataLst>
            </p:nvPr>
          </p:nvSpPr>
          <p:spPr bwMode="gray">
            <a:xfrm>
              <a:off x="9966588" y="1470982"/>
              <a:ext cx="100584" cy="91440"/>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err="1" smtClean="0">
                <a:ln>
                  <a:noFill/>
                </a:ln>
                <a:solidFill>
                  <a:srgbClr val="000000"/>
                </a:solidFill>
                <a:effectLst/>
                <a:uLnTx/>
                <a:uFillTx/>
                <a:latin typeface="Cambria"/>
              </a:endParaRPr>
            </a:p>
          </p:txBody>
        </p:sp>
        <p:sp>
          <p:nvSpPr>
            <p:cNvPr id="140" name="Rectangle 316"/>
            <p:cNvSpPr txBox="1"/>
            <p:nvPr>
              <p:custDataLst>
                <p:tags r:id="rId73"/>
              </p:custDataLst>
            </p:nvPr>
          </p:nvSpPr>
          <p:spPr bwMode="gray">
            <a:xfrm>
              <a:off x="10137307" y="1439758"/>
              <a:ext cx="1221488" cy="46166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Nouvelles centrales</a:t>
              </a: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plan de production et</a:t>
              </a: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projets régionaux)</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141" name="Rectangle 316"/>
            <p:cNvSpPr txBox="1"/>
            <p:nvPr>
              <p:custDataLst>
                <p:tags r:id="rId74"/>
              </p:custDataLst>
            </p:nvPr>
          </p:nvSpPr>
          <p:spPr bwMode="gray">
            <a:xfrm>
              <a:off x="10137307" y="222956"/>
              <a:ext cx="1639873"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Nouvelles lignes (hypothèses)</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142" name="Freeform 318"/>
            <p:cNvSpPr/>
            <p:nvPr>
              <p:custDataLst>
                <p:tags r:id="rId75"/>
              </p:custDataLst>
            </p:nvPr>
          </p:nvSpPr>
          <p:spPr bwMode="gray">
            <a:xfrm>
              <a:off x="9692441" y="309277"/>
              <a:ext cx="374731" cy="0"/>
            </a:xfrm>
            <a:custGeom>
              <a:avLst/>
              <a:gdLst>
                <a:gd name="connsiteX0" fmla="*/ 428625 w 428625"/>
                <a:gd name="connsiteY0" fmla="*/ 0 h 0"/>
                <a:gd name="connsiteX1" fmla="*/ 0 w 428625"/>
                <a:gd name="connsiteY1" fmla="*/ 0 h 0"/>
              </a:gdLst>
              <a:ahLst/>
              <a:cxnLst>
                <a:cxn ang="0">
                  <a:pos x="connsiteX0" y="connsiteY0"/>
                </a:cxn>
                <a:cxn ang="0">
                  <a:pos x="connsiteX1" y="connsiteY1"/>
                </a:cxn>
              </a:cxnLst>
              <a:rect l="l" t="t" r="r" b="b"/>
              <a:pathLst>
                <a:path w="428625">
                  <a:moveTo>
                    <a:pt x="428625" y="0"/>
                  </a:moveTo>
                  <a:lnTo>
                    <a:pt x="0" y="0"/>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43" name="Rectangle 142"/>
            <p:cNvSpPr>
              <a:spLocks/>
            </p:cNvSpPr>
            <p:nvPr>
              <p:custDataLst>
                <p:tags r:id="rId76"/>
              </p:custDataLst>
            </p:nvPr>
          </p:nvSpPr>
          <p:spPr bwMode="gray">
            <a:xfrm>
              <a:off x="9966588" y="1271223"/>
              <a:ext cx="100584" cy="91440"/>
            </a:xfrm>
            <a:prstGeom prst="rect">
              <a:avLst/>
            </a:prstGeom>
            <a:solidFill>
              <a:srgbClr val="00B05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err="1" smtClean="0">
                <a:ln>
                  <a:noFill/>
                </a:ln>
                <a:solidFill>
                  <a:srgbClr val="000000"/>
                </a:solidFill>
                <a:effectLst/>
                <a:uLnTx/>
                <a:uFillTx/>
                <a:latin typeface="Cambria"/>
              </a:endParaRPr>
            </a:p>
          </p:txBody>
        </p:sp>
        <p:sp>
          <p:nvSpPr>
            <p:cNvPr id="144" name="Rectangle 316"/>
            <p:cNvSpPr txBox="1"/>
            <p:nvPr>
              <p:custDataLst>
                <p:tags r:id="rId77"/>
              </p:custDataLst>
            </p:nvPr>
          </p:nvSpPr>
          <p:spPr bwMode="gray">
            <a:xfrm>
              <a:off x="10137309" y="1236956"/>
              <a:ext cx="1115690"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Centrales régionales</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145" name="Rectangle 144"/>
            <p:cNvSpPr>
              <a:spLocks/>
            </p:cNvSpPr>
            <p:nvPr>
              <p:custDataLst>
                <p:tags r:id="rId78"/>
              </p:custDataLst>
            </p:nvPr>
          </p:nvSpPr>
          <p:spPr bwMode="gray">
            <a:xfrm>
              <a:off x="9977438" y="1068423"/>
              <a:ext cx="89734" cy="91440"/>
            </a:xfrm>
            <a:prstGeom prst="rect">
              <a:avLst/>
            </a:prstGeom>
            <a:noFill/>
            <a:ln w="9525" cap="flat" cmpd="sng" algn="ctr">
              <a:solidFill>
                <a:srgbClr val="FF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err="1" smtClean="0">
                <a:ln>
                  <a:noFill/>
                </a:ln>
                <a:solidFill>
                  <a:srgbClr val="000000"/>
                </a:solidFill>
                <a:effectLst/>
                <a:uLnTx/>
                <a:uFillTx/>
                <a:latin typeface="Cambria"/>
              </a:endParaRPr>
            </a:p>
          </p:txBody>
        </p:sp>
        <p:sp>
          <p:nvSpPr>
            <p:cNvPr id="146" name="Rectangle 316"/>
            <p:cNvSpPr txBox="1"/>
            <p:nvPr>
              <p:custDataLst>
                <p:tags r:id="rId79"/>
              </p:custDataLst>
            </p:nvPr>
          </p:nvSpPr>
          <p:spPr bwMode="gray">
            <a:xfrm>
              <a:off x="10137309" y="1034156"/>
              <a:ext cx="1396216"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Poste HT interconnectées</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147" name="Rectangle 146"/>
            <p:cNvSpPr>
              <a:spLocks/>
            </p:cNvSpPr>
            <p:nvPr>
              <p:custDataLst>
                <p:tags r:id="rId80"/>
              </p:custDataLst>
            </p:nvPr>
          </p:nvSpPr>
          <p:spPr bwMode="gray">
            <a:xfrm>
              <a:off x="9966588" y="862580"/>
              <a:ext cx="100584" cy="91440"/>
            </a:xfrm>
            <a:prstGeom prst="rect">
              <a:avLst/>
            </a:prstGeom>
            <a:solidFill>
              <a:srgbClr val="FF0000"/>
            </a:solidFill>
            <a:ln w="9525"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err="1" smtClean="0">
                <a:ln>
                  <a:noFill/>
                </a:ln>
                <a:solidFill>
                  <a:srgbClr val="000000"/>
                </a:solidFill>
                <a:effectLst/>
                <a:uLnTx/>
                <a:uFillTx/>
                <a:latin typeface="Cambria"/>
              </a:endParaRPr>
            </a:p>
          </p:txBody>
        </p:sp>
        <p:sp>
          <p:nvSpPr>
            <p:cNvPr id="148" name="Rectangle 316"/>
            <p:cNvSpPr txBox="1"/>
            <p:nvPr>
              <p:custDataLst>
                <p:tags r:id="rId81"/>
              </p:custDataLst>
            </p:nvPr>
          </p:nvSpPr>
          <p:spPr bwMode="gray">
            <a:xfrm>
              <a:off x="10137309" y="831356"/>
              <a:ext cx="1421864"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Centrales interconnectées</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149" name="Rectangle 316"/>
            <p:cNvSpPr txBox="1"/>
            <p:nvPr>
              <p:custDataLst>
                <p:tags r:id="rId82"/>
              </p:custDataLst>
            </p:nvPr>
          </p:nvSpPr>
          <p:spPr bwMode="gray">
            <a:xfrm>
              <a:off x="10137309" y="425756"/>
              <a:ext cx="1325684"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Ligne HT (225 et 90 KV)</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150" name="Freeform 68"/>
            <p:cNvSpPr/>
            <p:nvPr>
              <p:custDataLst>
                <p:tags r:id="rId83"/>
              </p:custDataLst>
            </p:nvPr>
          </p:nvSpPr>
          <p:spPr bwMode="gray">
            <a:xfrm>
              <a:off x="9692441" y="512077"/>
              <a:ext cx="374731" cy="0"/>
            </a:xfrm>
            <a:custGeom>
              <a:avLst/>
              <a:gdLst>
                <a:gd name="connsiteX0" fmla="*/ 428625 w 428625"/>
                <a:gd name="connsiteY0" fmla="*/ 0 h 0"/>
                <a:gd name="connsiteX1" fmla="*/ 0 w 428625"/>
                <a:gd name="connsiteY1" fmla="*/ 0 h 0"/>
              </a:gdLst>
              <a:ahLst/>
              <a:cxnLst>
                <a:cxn ang="0">
                  <a:pos x="connsiteX0" y="connsiteY0"/>
                </a:cxn>
                <a:cxn ang="0">
                  <a:pos x="connsiteX1" y="connsiteY1"/>
                </a:cxn>
              </a:cxnLst>
              <a:rect l="l" t="t" r="r" b="b"/>
              <a:pathLst>
                <a:path w="428625">
                  <a:moveTo>
                    <a:pt x="428625" y="0"/>
                  </a:moveTo>
                  <a:lnTo>
                    <a:pt x="0" y="0"/>
                  </a:lnTo>
                </a:path>
              </a:pathLst>
            </a:custGeom>
            <a:noFill/>
            <a:ln w="28575" cap="flat" cmpd="sng" algn="ctr">
              <a:solidFill>
                <a:srgbClr val="FF000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51" name="Rectangle 316"/>
            <p:cNvSpPr txBox="1"/>
            <p:nvPr>
              <p:custDataLst>
                <p:tags r:id="rId84"/>
              </p:custDataLst>
            </p:nvPr>
          </p:nvSpPr>
          <p:spPr bwMode="gray">
            <a:xfrm>
              <a:off x="10137307" y="628556"/>
              <a:ext cx="851195" cy="153888"/>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0" i="0" u="none" strike="noStrike" kern="0" cap="none" spc="0" normalizeH="0" baseline="0" noProof="0" dirty="0" smtClean="0">
                  <a:ln>
                    <a:noFill/>
                  </a:ln>
                  <a:solidFill>
                    <a:srgbClr val="000000"/>
                  </a:solidFill>
                  <a:effectLst/>
                  <a:uLnTx/>
                  <a:uFillTx/>
                  <a:latin typeface="Cambria"/>
                </a:rPr>
                <a:t>Ligne HT 30 KV</a:t>
              </a:r>
              <a:endParaRPr kumimoji="0" lang="fr-FR" sz="1000" b="0" i="0" u="none" strike="noStrike" kern="0" cap="none" spc="0" normalizeH="0" baseline="0" noProof="0" dirty="0">
                <a:ln>
                  <a:noFill/>
                </a:ln>
                <a:solidFill>
                  <a:srgbClr val="000000"/>
                </a:solidFill>
                <a:effectLst/>
                <a:uLnTx/>
                <a:uFillTx/>
                <a:latin typeface="Cambria"/>
              </a:endParaRPr>
            </a:p>
          </p:txBody>
        </p:sp>
        <p:sp>
          <p:nvSpPr>
            <p:cNvPr id="152" name="Freeform 71"/>
            <p:cNvSpPr/>
            <p:nvPr>
              <p:custDataLst>
                <p:tags r:id="rId85"/>
              </p:custDataLst>
            </p:nvPr>
          </p:nvSpPr>
          <p:spPr bwMode="gray">
            <a:xfrm>
              <a:off x="9692441" y="714877"/>
              <a:ext cx="374731" cy="0"/>
            </a:xfrm>
            <a:custGeom>
              <a:avLst/>
              <a:gdLst>
                <a:gd name="connsiteX0" fmla="*/ 428625 w 428625"/>
                <a:gd name="connsiteY0" fmla="*/ 0 h 0"/>
                <a:gd name="connsiteX1" fmla="*/ 0 w 428625"/>
                <a:gd name="connsiteY1" fmla="*/ 0 h 0"/>
              </a:gdLst>
              <a:ahLst/>
              <a:cxnLst>
                <a:cxn ang="0">
                  <a:pos x="connsiteX0" y="connsiteY0"/>
                </a:cxn>
                <a:cxn ang="0">
                  <a:pos x="connsiteX1" y="connsiteY1"/>
                </a:cxn>
              </a:cxnLst>
              <a:rect l="l" t="t" r="r" b="b"/>
              <a:pathLst>
                <a:path w="428625">
                  <a:moveTo>
                    <a:pt x="428625" y="0"/>
                  </a:moveTo>
                  <a:lnTo>
                    <a:pt x="0" y="0"/>
                  </a:lnTo>
                </a:path>
              </a:pathLst>
            </a:custGeom>
            <a:noFill/>
            <a:ln w="19050" cap="flat" cmpd="sng" algn="ctr">
              <a:solidFill>
                <a:srgbClr val="00B05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grpSp>
      <p:sp>
        <p:nvSpPr>
          <p:cNvPr id="153" name="Freeform 65"/>
          <p:cNvSpPr/>
          <p:nvPr>
            <p:custDataLst>
              <p:tags r:id="rId43"/>
            </p:custDataLst>
          </p:nvPr>
        </p:nvSpPr>
        <p:spPr bwMode="gray">
          <a:xfrm>
            <a:off x="6829328" y="5333750"/>
            <a:ext cx="319185" cy="451511"/>
          </a:xfrm>
          <a:custGeom>
            <a:avLst/>
            <a:gdLst>
              <a:gd name="connsiteX0" fmla="*/ 260350 w 457200"/>
              <a:gd name="connsiteY0" fmla="*/ 12700 h 609600"/>
              <a:gd name="connsiteX1" fmla="*/ 260350 w 457200"/>
              <a:gd name="connsiteY1" fmla="*/ 12700 h 609600"/>
              <a:gd name="connsiteX2" fmla="*/ 209550 w 457200"/>
              <a:gd name="connsiteY2" fmla="*/ 133350 h 609600"/>
              <a:gd name="connsiteX3" fmla="*/ 190500 w 457200"/>
              <a:gd name="connsiteY3" fmla="*/ 158750 h 609600"/>
              <a:gd name="connsiteX4" fmla="*/ 127000 w 457200"/>
              <a:gd name="connsiteY4" fmla="*/ 273050 h 609600"/>
              <a:gd name="connsiteX5" fmla="*/ 101600 w 457200"/>
              <a:gd name="connsiteY5" fmla="*/ 311150 h 609600"/>
              <a:gd name="connsiteX6" fmla="*/ 82550 w 457200"/>
              <a:gd name="connsiteY6" fmla="*/ 342900 h 609600"/>
              <a:gd name="connsiteX7" fmla="*/ 63500 w 457200"/>
              <a:gd name="connsiteY7" fmla="*/ 368300 h 609600"/>
              <a:gd name="connsiteX8" fmla="*/ 19050 w 457200"/>
              <a:gd name="connsiteY8" fmla="*/ 444500 h 609600"/>
              <a:gd name="connsiteX9" fmla="*/ 0 w 457200"/>
              <a:gd name="connsiteY9" fmla="*/ 482600 h 609600"/>
              <a:gd name="connsiteX10" fmla="*/ 57150 w 457200"/>
              <a:gd name="connsiteY10" fmla="*/ 577850 h 609600"/>
              <a:gd name="connsiteX11" fmla="*/ 88900 w 457200"/>
              <a:gd name="connsiteY11" fmla="*/ 584200 h 609600"/>
              <a:gd name="connsiteX12" fmla="*/ 107950 w 457200"/>
              <a:gd name="connsiteY12" fmla="*/ 596900 h 609600"/>
              <a:gd name="connsiteX13" fmla="*/ 184150 w 457200"/>
              <a:gd name="connsiteY13" fmla="*/ 609600 h 609600"/>
              <a:gd name="connsiteX14" fmla="*/ 247650 w 457200"/>
              <a:gd name="connsiteY14" fmla="*/ 603250 h 609600"/>
              <a:gd name="connsiteX15" fmla="*/ 266700 w 457200"/>
              <a:gd name="connsiteY15" fmla="*/ 596900 h 609600"/>
              <a:gd name="connsiteX16" fmla="*/ 285750 w 457200"/>
              <a:gd name="connsiteY16" fmla="*/ 577850 h 609600"/>
              <a:gd name="connsiteX17" fmla="*/ 304800 w 457200"/>
              <a:gd name="connsiteY17" fmla="*/ 571500 h 609600"/>
              <a:gd name="connsiteX18" fmla="*/ 323850 w 457200"/>
              <a:gd name="connsiteY18" fmla="*/ 558800 h 609600"/>
              <a:gd name="connsiteX19" fmla="*/ 349250 w 457200"/>
              <a:gd name="connsiteY19" fmla="*/ 546100 h 609600"/>
              <a:gd name="connsiteX20" fmla="*/ 361950 w 457200"/>
              <a:gd name="connsiteY20" fmla="*/ 527050 h 609600"/>
              <a:gd name="connsiteX21" fmla="*/ 381000 w 457200"/>
              <a:gd name="connsiteY21" fmla="*/ 482600 h 609600"/>
              <a:gd name="connsiteX22" fmla="*/ 400050 w 457200"/>
              <a:gd name="connsiteY22" fmla="*/ 463550 h 609600"/>
              <a:gd name="connsiteX23" fmla="*/ 406400 w 457200"/>
              <a:gd name="connsiteY23" fmla="*/ 425450 h 609600"/>
              <a:gd name="connsiteX24" fmla="*/ 419100 w 457200"/>
              <a:gd name="connsiteY24" fmla="*/ 406400 h 609600"/>
              <a:gd name="connsiteX25" fmla="*/ 425450 w 457200"/>
              <a:gd name="connsiteY25" fmla="*/ 361950 h 609600"/>
              <a:gd name="connsiteX26" fmla="*/ 438150 w 457200"/>
              <a:gd name="connsiteY26" fmla="*/ 323850 h 609600"/>
              <a:gd name="connsiteX27" fmla="*/ 444500 w 457200"/>
              <a:gd name="connsiteY27" fmla="*/ 285750 h 609600"/>
              <a:gd name="connsiteX28" fmla="*/ 450850 w 457200"/>
              <a:gd name="connsiteY28" fmla="*/ 266700 h 609600"/>
              <a:gd name="connsiteX29" fmla="*/ 457200 w 457200"/>
              <a:gd name="connsiteY29" fmla="*/ 241300 h 609600"/>
              <a:gd name="connsiteX30" fmla="*/ 450850 w 457200"/>
              <a:gd name="connsiteY30" fmla="*/ 76200 h 609600"/>
              <a:gd name="connsiteX31" fmla="*/ 444500 w 457200"/>
              <a:gd name="connsiteY31" fmla="*/ 57150 h 609600"/>
              <a:gd name="connsiteX32" fmla="*/ 425450 w 457200"/>
              <a:gd name="connsiteY32" fmla="*/ 44450 h 609600"/>
              <a:gd name="connsiteX33" fmla="*/ 400050 w 457200"/>
              <a:gd name="connsiteY33" fmla="*/ 25400 h 609600"/>
              <a:gd name="connsiteX34" fmla="*/ 374650 w 457200"/>
              <a:gd name="connsiteY34" fmla="*/ 12700 h 609600"/>
              <a:gd name="connsiteX35" fmla="*/ 342900 w 457200"/>
              <a:gd name="connsiteY35" fmla="*/ 6350 h 609600"/>
              <a:gd name="connsiteX36" fmla="*/ 317500 w 457200"/>
              <a:gd name="connsiteY36" fmla="*/ 0 h 609600"/>
              <a:gd name="connsiteX37" fmla="*/ 279400 w 457200"/>
              <a:gd name="connsiteY37" fmla="*/ 6350 h 609600"/>
              <a:gd name="connsiteX38" fmla="*/ 260350 w 457200"/>
              <a:gd name="connsiteY38" fmla="*/ 127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57200" h="609600">
                <a:moveTo>
                  <a:pt x="260350" y="12700"/>
                </a:moveTo>
                <a:lnTo>
                  <a:pt x="260350" y="12700"/>
                </a:lnTo>
                <a:cubicBezTo>
                  <a:pt x="243417" y="52917"/>
                  <a:pt x="228377" y="93984"/>
                  <a:pt x="209550" y="133350"/>
                </a:cubicBezTo>
                <a:cubicBezTo>
                  <a:pt x="204984" y="142898"/>
                  <a:pt x="195884" y="149639"/>
                  <a:pt x="190500" y="158750"/>
                </a:cubicBezTo>
                <a:cubicBezTo>
                  <a:pt x="168327" y="196273"/>
                  <a:pt x="151177" y="236785"/>
                  <a:pt x="127000" y="273050"/>
                </a:cubicBezTo>
                <a:cubicBezTo>
                  <a:pt x="118533" y="285750"/>
                  <a:pt x="109795" y="298273"/>
                  <a:pt x="101600" y="311150"/>
                </a:cubicBezTo>
                <a:cubicBezTo>
                  <a:pt x="94974" y="321563"/>
                  <a:pt x="89396" y="332631"/>
                  <a:pt x="82550" y="342900"/>
                </a:cubicBezTo>
                <a:cubicBezTo>
                  <a:pt x="76679" y="351706"/>
                  <a:pt x="69109" y="359325"/>
                  <a:pt x="63500" y="368300"/>
                </a:cubicBezTo>
                <a:cubicBezTo>
                  <a:pt x="47915" y="393236"/>
                  <a:pt x="32888" y="418554"/>
                  <a:pt x="19050" y="444500"/>
                </a:cubicBezTo>
                <a:cubicBezTo>
                  <a:pt x="-16003" y="510225"/>
                  <a:pt x="46388" y="413018"/>
                  <a:pt x="0" y="482600"/>
                </a:cubicBezTo>
                <a:cubicBezTo>
                  <a:pt x="16559" y="522341"/>
                  <a:pt x="17145" y="560070"/>
                  <a:pt x="57150" y="577850"/>
                </a:cubicBezTo>
                <a:cubicBezTo>
                  <a:pt x="67013" y="582233"/>
                  <a:pt x="78317" y="582083"/>
                  <a:pt x="88900" y="584200"/>
                </a:cubicBezTo>
                <a:cubicBezTo>
                  <a:pt x="95250" y="588433"/>
                  <a:pt x="101124" y="593487"/>
                  <a:pt x="107950" y="596900"/>
                </a:cubicBezTo>
                <a:cubicBezTo>
                  <a:pt x="129226" y="607538"/>
                  <a:pt x="166042" y="607588"/>
                  <a:pt x="184150" y="609600"/>
                </a:cubicBezTo>
                <a:cubicBezTo>
                  <a:pt x="205317" y="607483"/>
                  <a:pt x="226625" y="606485"/>
                  <a:pt x="247650" y="603250"/>
                </a:cubicBezTo>
                <a:cubicBezTo>
                  <a:pt x="254266" y="602232"/>
                  <a:pt x="261131" y="600613"/>
                  <a:pt x="266700" y="596900"/>
                </a:cubicBezTo>
                <a:cubicBezTo>
                  <a:pt x="274172" y="591919"/>
                  <a:pt x="278278" y="582831"/>
                  <a:pt x="285750" y="577850"/>
                </a:cubicBezTo>
                <a:cubicBezTo>
                  <a:pt x="291319" y="574137"/>
                  <a:pt x="298813" y="574493"/>
                  <a:pt x="304800" y="571500"/>
                </a:cubicBezTo>
                <a:cubicBezTo>
                  <a:pt x="311626" y="568087"/>
                  <a:pt x="317224" y="562586"/>
                  <a:pt x="323850" y="558800"/>
                </a:cubicBezTo>
                <a:cubicBezTo>
                  <a:pt x="332069" y="554104"/>
                  <a:pt x="340783" y="550333"/>
                  <a:pt x="349250" y="546100"/>
                </a:cubicBezTo>
                <a:cubicBezTo>
                  <a:pt x="353483" y="539750"/>
                  <a:pt x="358537" y="533876"/>
                  <a:pt x="361950" y="527050"/>
                </a:cubicBezTo>
                <a:cubicBezTo>
                  <a:pt x="375769" y="499412"/>
                  <a:pt x="358977" y="513432"/>
                  <a:pt x="381000" y="482600"/>
                </a:cubicBezTo>
                <a:cubicBezTo>
                  <a:pt x="386220" y="475292"/>
                  <a:pt x="393700" y="469900"/>
                  <a:pt x="400050" y="463550"/>
                </a:cubicBezTo>
                <a:cubicBezTo>
                  <a:pt x="402167" y="450850"/>
                  <a:pt x="402329" y="437664"/>
                  <a:pt x="406400" y="425450"/>
                </a:cubicBezTo>
                <a:cubicBezTo>
                  <a:pt x="408813" y="418210"/>
                  <a:pt x="416907" y="413710"/>
                  <a:pt x="419100" y="406400"/>
                </a:cubicBezTo>
                <a:cubicBezTo>
                  <a:pt x="423401" y="392064"/>
                  <a:pt x="422085" y="376534"/>
                  <a:pt x="425450" y="361950"/>
                </a:cubicBezTo>
                <a:cubicBezTo>
                  <a:pt x="428460" y="348906"/>
                  <a:pt x="434903" y="336837"/>
                  <a:pt x="438150" y="323850"/>
                </a:cubicBezTo>
                <a:cubicBezTo>
                  <a:pt x="441273" y="311359"/>
                  <a:pt x="441707" y="298319"/>
                  <a:pt x="444500" y="285750"/>
                </a:cubicBezTo>
                <a:cubicBezTo>
                  <a:pt x="445952" y="279216"/>
                  <a:pt x="449011" y="273136"/>
                  <a:pt x="450850" y="266700"/>
                </a:cubicBezTo>
                <a:cubicBezTo>
                  <a:pt x="453248" y="258309"/>
                  <a:pt x="455083" y="249767"/>
                  <a:pt x="457200" y="241300"/>
                </a:cubicBezTo>
                <a:cubicBezTo>
                  <a:pt x="455083" y="186267"/>
                  <a:pt x="454639" y="131144"/>
                  <a:pt x="450850" y="76200"/>
                </a:cubicBezTo>
                <a:cubicBezTo>
                  <a:pt x="450389" y="69522"/>
                  <a:pt x="448681" y="62377"/>
                  <a:pt x="444500" y="57150"/>
                </a:cubicBezTo>
                <a:cubicBezTo>
                  <a:pt x="439732" y="51191"/>
                  <a:pt x="431660" y="48886"/>
                  <a:pt x="425450" y="44450"/>
                </a:cubicBezTo>
                <a:cubicBezTo>
                  <a:pt x="416838" y="38299"/>
                  <a:pt x="409025" y="31009"/>
                  <a:pt x="400050" y="25400"/>
                </a:cubicBezTo>
                <a:cubicBezTo>
                  <a:pt x="392023" y="20383"/>
                  <a:pt x="383630" y="15693"/>
                  <a:pt x="374650" y="12700"/>
                </a:cubicBezTo>
                <a:cubicBezTo>
                  <a:pt x="364411" y="9287"/>
                  <a:pt x="353436" y="8691"/>
                  <a:pt x="342900" y="6350"/>
                </a:cubicBezTo>
                <a:cubicBezTo>
                  <a:pt x="334381" y="4457"/>
                  <a:pt x="325967" y="2117"/>
                  <a:pt x="317500" y="0"/>
                </a:cubicBezTo>
                <a:cubicBezTo>
                  <a:pt x="304800" y="2117"/>
                  <a:pt x="289877" y="-1134"/>
                  <a:pt x="279400" y="6350"/>
                </a:cubicBezTo>
                <a:cubicBezTo>
                  <a:pt x="272298" y="11423"/>
                  <a:pt x="263525" y="11642"/>
                  <a:pt x="260350" y="12700"/>
                </a:cubicBezTo>
                <a:close/>
              </a:path>
            </a:pathLst>
          </a:custGeom>
          <a:noFill/>
          <a:ln w="19050" cap="flat" cmpd="sng" algn="ctr">
            <a:solidFill>
              <a:srgbClr val="BBD0BA">
                <a:lumMod val="50000"/>
              </a:srgbClr>
            </a:solidFill>
            <a:prstDash val="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54" name="Rectangle 3"/>
          <p:cNvSpPr txBox="1"/>
          <p:nvPr>
            <p:custDataLst>
              <p:tags r:id="rId44"/>
            </p:custDataLst>
          </p:nvPr>
        </p:nvSpPr>
        <p:spPr>
          <a:xfrm>
            <a:off x="7127398" y="6163286"/>
            <a:ext cx="1394695" cy="468000"/>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Centrales solaires</a:t>
            </a:r>
            <a:endParaRPr kumimoji="0" lang="fr-FR" sz="1000" b="1" i="0" u="none" strike="noStrike" kern="0" cap="none" spc="0" normalizeH="0" baseline="0" noProof="0" dirty="0">
              <a:ln>
                <a:noFill/>
              </a:ln>
              <a:solidFill>
                <a:srgbClr val="FFFFFF"/>
              </a:solidFill>
              <a:effectLst/>
              <a:uLnTx/>
              <a:uFillTx/>
              <a:latin typeface="Cambria"/>
            </a:endParaRPr>
          </a:p>
        </p:txBody>
      </p:sp>
      <p:cxnSp>
        <p:nvCxnSpPr>
          <p:cNvPr id="155" name="Straight Connector 77"/>
          <p:cNvCxnSpPr>
            <a:stCxn id="154" idx="0"/>
          </p:cNvCxnSpPr>
          <p:nvPr>
            <p:custDataLst>
              <p:tags r:id="rId45"/>
            </p:custDataLst>
          </p:nvPr>
        </p:nvCxnSpPr>
        <p:spPr>
          <a:xfrm flipH="1" flipV="1">
            <a:off x="7127400" y="5836618"/>
            <a:ext cx="697346" cy="326668"/>
          </a:xfrm>
          <a:prstGeom prst="line">
            <a:avLst/>
          </a:prstGeom>
          <a:noFill/>
          <a:ln w="9525" cap="flat" cmpd="sng" algn="ctr">
            <a:solidFill>
              <a:srgbClr val="808080"/>
            </a:solidFill>
            <a:prstDash val="solid"/>
            <a:tailEnd type="oval"/>
          </a:ln>
          <a:effectLst/>
        </p:spPr>
      </p:cxnSp>
      <p:sp>
        <p:nvSpPr>
          <p:cNvPr id="156" name="Rectangle 155"/>
          <p:cNvSpPr/>
          <p:nvPr>
            <p:custDataLst>
              <p:tags r:id="rId46"/>
            </p:custDataLst>
          </p:nvPr>
        </p:nvSpPr>
        <p:spPr bwMode="gray">
          <a:xfrm>
            <a:off x="3172371" y="6322130"/>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57" name="Rectangle 156"/>
          <p:cNvSpPr/>
          <p:nvPr>
            <p:custDataLst>
              <p:tags r:id="rId47"/>
            </p:custDataLst>
          </p:nvPr>
        </p:nvSpPr>
        <p:spPr bwMode="gray">
          <a:xfrm>
            <a:off x="7480168" y="3750896"/>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58" name="Rectangle 3"/>
          <p:cNvSpPr txBox="1"/>
          <p:nvPr>
            <p:custDataLst>
              <p:tags r:id="rId48"/>
            </p:custDataLst>
          </p:nvPr>
        </p:nvSpPr>
        <p:spPr>
          <a:xfrm>
            <a:off x="7658495" y="4273922"/>
            <a:ext cx="1118867" cy="473705"/>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Barrage </a:t>
            </a: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de  Gouina </a:t>
            </a: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46 MW</a:t>
            </a:r>
            <a:r>
              <a:rPr kumimoji="0" lang="fr-FR" sz="1000" b="1" i="0" u="none" strike="noStrike" kern="0" cap="none" spc="0" normalizeH="0" baseline="30000" noProof="0" dirty="0" smtClean="0">
                <a:ln>
                  <a:noFill/>
                </a:ln>
                <a:solidFill>
                  <a:srgbClr val="FFFFFF"/>
                </a:solidFill>
                <a:effectLst/>
                <a:uLnTx/>
                <a:uFillTx/>
                <a:latin typeface="Cambria"/>
              </a:rPr>
              <a:t>1</a:t>
            </a:r>
            <a:r>
              <a:rPr kumimoji="0" lang="fr-FR" sz="1000" b="1" i="0" u="none" strike="noStrike" kern="0" cap="none" spc="0" normalizeH="0" baseline="0" noProof="0" dirty="0" smtClean="0">
                <a:ln>
                  <a:noFill/>
                </a:ln>
                <a:solidFill>
                  <a:srgbClr val="FFFFFF"/>
                </a:solidFill>
                <a:effectLst/>
                <a:uLnTx/>
                <a:uFillTx/>
                <a:latin typeface="Cambria"/>
              </a:rPr>
              <a:t>)</a:t>
            </a:r>
            <a:endParaRPr kumimoji="0" lang="fr-FR" sz="1000" b="1" i="0" u="none" strike="noStrike" kern="0" cap="none" spc="0" normalizeH="0" baseline="0" noProof="0" dirty="0">
              <a:ln>
                <a:noFill/>
              </a:ln>
              <a:solidFill>
                <a:srgbClr val="FFFFFF"/>
              </a:solidFill>
              <a:effectLst/>
              <a:uLnTx/>
              <a:uFillTx/>
              <a:latin typeface="Cambria"/>
            </a:endParaRPr>
          </a:p>
        </p:txBody>
      </p:sp>
      <p:sp>
        <p:nvSpPr>
          <p:cNvPr id="159" name="Rectangle 158"/>
          <p:cNvSpPr/>
          <p:nvPr>
            <p:custDataLst>
              <p:tags r:id="rId49"/>
            </p:custDataLst>
          </p:nvPr>
        </p:nvSpPr>
        <p:spPr bwMode="gray">
          <a:xfrm>
            <a:off x="7480168" y="4463586"/>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60" name="Rectangle 159"/>
          <p:cNvSpPr/>
          <p:nvPr>
            <p:custDataLst>
              <p:tags r:id="rId50"/>
            </p:custDataLst>
          </p:nvPr>
        </p:nvSpPr>
        <p:spPr bwMode="gray">
          <a:xfrm>
            <a:off x="3439802" y="1076228"/>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pic>
        <p:nvPicPr>
          <p:cNvPr id="161" name="Picture 14"/>
          <p:cNvPicPr>
            <a:picLocks noChangeAspect="1" noChangeArrowheads="1"/>
          </p:cNvPicPr>
          <p:nvPr>
            <p:custDataLst>
              <p:tags r:id="rId51"/>
            </p:custDataLst>
          </p:nvPr>
        </p:nvPicPr>
        <p:blipFill rotWithShape="1">
          <a:blip r:embed="rId89" cstate="print">
            <a:extLst>
              <a:ext uri="{28A0092B-C50C-407E-A947-70E740481C1C}">
                <a14:useLocalDpi xmlns="" xmlns:a14="http://schemas.microsoft.com/office/drawing/2010/main" val="0"/>
              </a:ext>
            </a:extLst>
          </a:blip>
          <a:srcRect/>
          <a:stretch/>
        </p:blipFill>
        <p:spPr bwMode="auto">
          <a:xfrm>
            <a:off x="1226201" y="3324401"/>
            <a:ext cx="248964" cy="2275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62" name="Picture 17"/>
          <p:cNvPicPr>
            <a:picLocks noChangeAspect="1" noChangeArrowheads="1"/>
          </p:cNvPicPr>
          <p:nvPr>
            <p:custDataLst>
              <p:tags r:id="rId52"/>
            </p:custDataLst>
          </p:nvPr>
        </p:nvPicPr>
        <p:blipFill>
          <a:blip r:embed="rId90" cstate="print">
            <a:extLst>
              <a:ext uri="{28A0092B-C50C-407E-A947-70E740481C1C}">
                <a14:useLocalDpi xmlns="" xmlns:a14="http://schemas.microsoft.com/office/drawing/2010/main" val="0"/>
              </a:ext>
            </a:extLst>
          </a:blip>
          <a:srcRect/>
          <a:stretch>
            <a:fillRect/>
          </a:stretch>
        </p:blipFill>
        <p:spPr bwMode="auto">
          <a:xfrm>
            <a:off x="5417149" y="822996"/>
            <a:ext cx="352333" cy="57295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63" name="Picture 18"/>
          <p:cNvPicPr>
            <a:picLocks noChangeArrowheads="1"/>
          </p:cNvPicPr>
          <p:nvPr>
            <p:custDataLst>
              <p:tags r:id="rId53"/>
            </p:custDataLst>
          </p:nvPr>
        </p:nvPicPr>
        <p:blipFill>
          <a:blip r:embed="rId91" cstate="print">
            <a:extLst>
              <a:ext uri="{28A0092B-C50C-407E-A947-70E740481C1C}">
                <a14:useLocalDpi xmlns="" xmlns:a14="http://schemas.microsoft.com/office/drawing/2010/main" val="0"/>
              </a:ext>
            </a:extLst>
          </a:blip>
          <a:srcRect/>
          <a:stretch>
            <a:fillRect/>
          </a:stretch>
        </p:blipFill>
        <p:spPr bwMode="auto">
          <a:xfrm>
            <a:off x="1201273" y="1008841"/>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64" name="Picture 19"/>
          <p:cNvPicPr>
            <a:picLocks noChangeArrowheads="1"/>
          </p:cNvPicPr>
          <p:nvPr>
            <p:custDataLst>
              <p:tags r:id="rId54"/>
            </p:custDataLst>
          </p:nvPr>
        </p:nvPicPr>
        <p:blipFill>
          <a:blip r:embed="rId92" cstate="print">
            <a:extLst>
              <a:ext uri="{28A0092B-C50C-407E-A947-70E740481C1C}">
                <a14:useLocalDpi xmlns="" xmlns:a14="http://schemas.microsoft.com/office/drawing/2010/main" val="0"/>
              </a:ext>
            </a:extLst>
          </a:blip>
          <a:srcRect/>
          <a:stretch>
            <a:fillRect/>
          </a:stretch>
        </p:blipFill>
        <p:spPr bwMode="auto">
          <a:xfrm>
            <a:off x="982728" y="2247743"/>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65" name="Picture 19"/>
          <p:cNvPicPr>
            <a:picLocks noChangeArrowheads="1"/>
          </p:cNvPicPr>
          <p:nvPr>
            <p:custDataLst>
              <p:tags r:id="rId55"/>
            </p:custDataLst>
          </p:nvPr>
        </p:nvPicPr>
        <p:blipFill>
          <a:blip r:embed="rId92" cstate="print">
            <a:extLst>
              <a:ext uri="{28A0092B-C50C-407E-A947-70E740481C1C}">
                <a14:useLocalDpi xmlns="" xmlns:a14="http://schemas.microsoft.com/office/drawing/2010/main" val="0"/>
              </a:ext>
            </a:extLst>
          </a:blip>
          <a:srcRect/>
          <a:stretch>
            <a:fillRect/>
          </a:stretch>
        </p:blipFill>
        <p:spPr bwMode="auto">
          <a:xfrm>
            <a:off x="1142248" y="4878428"/>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66" name="Picture 22" descr="http://ts1.mm.bing.net/th?id=H.4794460249457744&amp;w=259&amp;h=179&amp;c=7&amp;rs=1&amp;pid=1.7"/>
          <p:cNvPicPr>
            <a:picLocks noChangeArrowheads="1"/>
          </p:cNvPicPr>
          <p:nvPr>
            <p:custDataLst>
              <p:tags r:id="rId56"/>
            </p:custDataLst>
          </p:nvPr>
        </p:nvPicPr>
        <p:blipFill>
          <a:blip r:embed="rId93" cstate="print">
            <a:extLst>
              <a:ext uri="{28A0092B-C50C-407E-A947-70E740481C1C}">
                <a14:useLocalDpi xmlns="" xmlns:a14="http://schemas.microsoft.com/office/drawing/2010/main" val="0"/>
              </a:ext>
            </a:extLst>
          </a:blip>
          <a:srcRect/>
          <a:stretch>
            <a:fillRect/>
          </a:stretch>
        </p:blipFill>
        <p:spPr bwMode="auto">
          <a:xfrm>
            <a:off x="8279303" y="3301935"/>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67" name="Picture 22" descr="http://ts1.mm.bing.net/th?id=H.4794460249457744&amp;w=259&amp;h=179&amp;c=7&amp;rs=1&amp;pid=1.7"/>
          <p:cNvPicPr>
            <a:picLocks noChangeArrowheads="1"/>
          </p:cNvPicPr>
          <p:nvPr>
            <p:custDataLst>
              <p:tags r:id="rId57"/>
            </p:custDataLst>
          </p:nvPr>
        </p:nvPicPr>
        <p:blipFill>
          <a:blip r:embed="rId93" cstate="print">
            <a:extLst>
              <a:ext uri="{28A0092B-C50C-407E-A947-70E740481C1C}">
                <a14:useLocalDpi xmlns="" xmlns:a14="http://schemas.microsoft.com/office/drawing/2010/main" val="0"/>
              </a:ext>
            </a:extLst>
          </a:blip>
          <a:srcRect/>
          <a:stretch>
            <a:fillRect/>
          </a:stretch>
        </p:blipFill>
        <p:spPr bwMode="auto">
          <a:xfrm>
            <a:off x="8279303" y="4111255"/>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68" name="Picture 22" descr="http://ts1.mm.bing.net/th?id=H.4794460249457744&amp;w=259&amp;h=179&amp;c=7&amp;rs=1&amp;pid=1.7"/>
          <p:cNvPicPr>
            <a:picLocks noChangeArrowheads="1"/>
          </p:cNvPicPr>
          <p:nvPr>
            <p:custDataLst>
              <p:tags r:id="rId58"/>
            </p:custDataLst>
          </p:nvPr>
        </p:nvPicPr>
        <p:blipFill>
          <a:blip r:embed="rId93" cstate="print">
            <a:extLst>
              <a:ext uri="{28A0092B-C50C-407E-A947-70E740481C1C}">
                <a14:useLocalDpi xmlns="" xmlns:a14="http://schemas.microsoft.com/office/drawing/2010/main" val="0"/>
              </a:ext>
            </a:extLst>
          </a:blip>
          <a:srcRect/>
          <a:stretch>
            <a:fillRect/>
          </a:stretch>
        </p:blipFill>
        <p:spPr bwMode="auto">
          <a:xfrm>
            <a:off x="4641403" y="6230265"/>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rgbClr val="FFFFFF"/>
                </a:solidFill>
              </a14:hiddenFill>
            </a:ext>
          </a:extLst>
        </p:spPr>
      </p:pic>
      <p:pic>
        <p:nvPicPr>
          <p:cNvPr id="169" name="Picture 24"/>
          <p:cNvPicPr>
            <a:picLocks noChangeArrowheads="1"/>
          </p:cNvPicPr>
          <p:nvPr>
            <p:custDataLst>
              <p:tags r:id="rId59"/>
            </p:custDataLst>
          </p:nvPr>
        </p:nvPicPr>
        <p:blipFill>
          <a:blip r:embed="rId94" cstate="print">
            <a:extLst>
              <a:ext uri="{28A0092B-C50C-407E-A947-70E740481C1C}">
                <a14:useLocalDpi xmlns="" xmlns:a14="http://schemas.microsoft.com/office/drawing/2010/main" val="0"/>
              </a:ext>
            </a:extLst>
          </a:blip>
          <a:srcRect/>
          <a:stretch>
            <a:fillRect/>
          </a:stretch>
        </p:blipFill>
        <p:spPr bwMode="auto">
          <a:xfrm>
            <a:off x="8279658" y="6230265"/>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70" name="Picture 27"/>
          <p:cNvPicPr>
            <a:picLocks noChangeAspect="1" noChangeArrowheads="1"/>
          </p:cNvPicPr>
          <p:nvPr>
            <p:custDataLst>
              <p:tags r:id="rId60"/>
            </p:custDataLst>
          </p:nvPr>
        </p:nvPicPr>
        <p:blipFill>
          <a:blip r:embed="rId95" cstate="print">
            <a:extLst>
              <a:ext uri="{28A0092B-C50C-407E-A947-70E740481C1C}">
                <a14:useLocalDpi xmlns="" xmlns:a14="http://schemas.microsoft.com/office/drawing/2010/main" val="0"/>
              </a:ext>
            </a:extLst>
          </a:blip>
          <a:srcRect/>
          <a:stretch>
            <a:fillRect/>
          </a:stretch>
        </p:blipFill>
        <p:spPr bwMode="auto">
          <a:xfrm>
            <a:off x="300084" y="4287394"/>
            <a:ext cx="467333" cy="56637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71" name="Rectangle 3"/>
          <p:cNvSpPr txBox="1"/>
          <p:nvPr>
            <p:custDataLst>
              <p:tags r:id="rId61"/>
            </p:custDataLst>
          </p:nvPr>
        </p:nvSpPr>
        <p:spPr>
          <a:xfrm>
            <a:off x="152691" y="1691336"/>
            <a:ext cx="1281220" cy="494768"/>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err="1" smtClean="0">
                <a:ln>
                  <a:noFill/>
                </a:ln>
                <a:solidFill>
                  <a:srgbClr val="FFFFFF"/>
                </a:solidFill>
                <a:effectLst/>
                <a:uLnTx/>
                <a:uFillTx/>
                <a:latin typeface="Cambria"/>
              </a:rPr>
              <a:t>Tobène</a:t>
            </a:r>
            <a:r>
              <a:rPr kumimoji="0" lang="fr-FR" sz="1000" b="1" i="0" u="none" strike="noStrike" kern="0" cap="none" spc="0" normalizeH="0" baseline="0" noProof="0" dirty="0" smtClean="0">
                <a:ln>
                  <a:noFill/>
                </a:ln>
                <a:solidFill>
                  <a:srgbClr val="FFFFFF"/>
                </a:solidFill>
                <a:effectLst/>
                <a:uLnTx/>
                <a:uFillTx/>
                <a:latin typeface="Cambria"/>
              </a:rPr>
              <a:t> : centrale duale fioul - gaz</a:t>
            </a:r>
          </a:p>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70 MW)</a:t>
            </a:r>
            <a:endParaRPr kumimoji="0" lang="fr-FR" sz="1000" b="1" i="0" u="none" strike="noStrike" kern="0" cap="none" spc="0" normalizeH="0" baseline="0" noProof="0" dirty="0">
              <a:ln>
                <a:noFill/>
              </a:ln>
              <a:solidFill>
                <a:srgbClr val="FFFFFF"/>
              </a:solidFill>
              <a:effectLst/>
              <a:uLnTx/>
              <a:uFillTx/>
              <a:latin typeface="Cambria"/>
            </a:endParaRPr>
          </a:p>
        </p:txBody>
      </p:sp>
      <p:sp>
        <p:nvSpPr>
          <p:cNvPr id="172" name="Rectangle 171"/>
          <p:cNvSpPr/>
          <p:nvPr>
            <p:custDataLst>
              <p:tags r:id="rId62"/>
            </p:custDataLst>
          </p:nvPr>
        </p:nvSpPr>
        <p:spPr bwMode="gray">
          <a:xfrm>
            <a:off x="1996592" y="3320575"/>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sp>
        <p:nvSpPr>
          <p:cNvPr id="173" name="Rectangle 3"/>
          <p:cNvSpPr txBox="1"/>
          <p:nvPr>
            <p:custDataLst>
              <p:tags r:id="rId63"/>
            </p:custDataLst>
          </p:nvPr>
        </p:nvSpPr>
        <p:spPr>
          <a:xfrm>
            <a:off x="5315831" y="6163286"/>
            <a:ext cx="1443705" cy="468000"/>
          </a:xfrm>
          <a:prstGeom prst="rect">
            <a:avLst/>
          </a:prstGeom>
          <a:solidFill>
            <a:srgbClr val="998700"/>
          </a:solidFill>
          <a:ln w="19050">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marL="0" marR="0" lvl="0" indent="0" defTabSz="913526" eaLnBrk="1" fontAlgn="base" latinLnBrk="0" hangingPunct="1">
              <a:lnSpc>
                <a:spcPct val="100000"/>
              </a:lnSpc>
              <a:spcBef>
                <a:spcPct val="0"/>
              </a:spcBef>
              <a:spcAft>
                <a:spcPct val="0"/>
              </a:spcAft>
              <a:buClr>
                <a:srgbClr val="000000"/>
              </a:buClr>
              <a:buSzTx/>
              <a:buFontTx/>
              <a:buNone/>
              <a:tabLst/>
              <a:defRPr/>
            </a:pPr>
            <a:r>
              <a:rPr kumimoji="0" lang="fr-FR" sz="1000" b="1" i="0" u="none" strike="noStrike" kern="0" cap="none" spc="0" normalizeH="0" baseline="0" noProof="0" dirty="0" smtClean="0">
                <a:ln>
                  <a:noFill/>
                </a:ln>
                <a:solidFill>
                  <a:srgbClr val="FFFFFF"/>
                </a:solidFill>
                <a:effectLst/>
                <a:uLnTx/>
                <a:uFillTx/>
                <a:latin typeface="Cambria"/>
              </a:rPr>
              <a:t>Barrage de </a:t>
            </a:r>
            <a:r>
              <a:rPr kumimoji="0" lang="fr-FR" sz="1000" b="1" i="0" u="none" strike="noStrike" kern="0" cap="none" spc="0" normalizeH="0" baseline="0" noProof="0" dirty="0" err="1" smtClean="0">
                <a:ln>
                  <a:noFill/>
                </a:ln>
                <a:solidFill>
                  <a:srgbClr val="FFFFFF"/>
                </a:solidFill>
                <a:effectLst/>
                <a:uLnTx/>
                <a:uFillTx/>
                <a:latin typeface="Cambria"/>
              </a:rPr>
              <a:t>Sambangalou</a:t>
            </a:r>
            <a:r>
              <a:rPr kumimoji="0" lang="fr-FR" sz="1000" b="1" i="0" u="none" strike="noStrike" kern="0" cap="none" spc="0" normalizeH="0" baseline="0" noProof="0" dirty="0">
                <a:ln>
                  <a:noFill/>
                </a:ln>
                <a:solidFill>
                  <a:srgbClr val="FFFFFF"/>
                </a:solidFill>
                <a:effectLst/>
                <a:uLnTx/>
                <a:uFillTx/>
                <a:latin typeface="Cambria"/>
              </a:rPr>
              <a:t> </a:t>
            </a:r>
            <a:r>
              <a:rPr kumimoji="0" lang="fr-FR" sz="1000" b="1" i="0" u="none" strike="noStrike" kern="0" cap="none" spc="0" normalizeH="0" baseline="0" noProof="0" dirty="0" smtClean="0">
                <a:ln>
                  <a:noFill/>
                </a:ln>
                <a:solidFill>
                  <a:srgbClr val="FFFFFF"/>
                </a:solidFill>
                <a:effectLst/>
                <a:uLnTx/>
                <a:uFillTx/>
                <a:latin typeface="Cambria"/>
              </a:rPr>
              <a:t/>
            </a:r>
            <a:br>
              <a:rPr kumimoji="0" lang="fr-FR" sz="1000" b="1" i="0" u="none" strike="noStrike" kern="0" cap="none" spc="0" normalizeH="0" baseline="0" noProof="0" dirty="0" smtClean="0">
                <a:ln>
                  <a:noFill/>
                </a:ln>
                <a:solidFill>
                  <a:srgbClr val="FFFFFF"/>
                </a:solidFill>
                <a:effectLst/>
                <a:uLnTx/>
                <a:uFillTx/>
                <a:latin typeface="Cambria"/>
              </a:rPr>
            </a:br>
            <a:r>
              <a:rPr kumimoji="0" lang="fr-FR" sz="1000" b="1" i="0" u="none" strike="noStrike" kern="0" cap="none" spc="0" normalizeH="0" baseline="0" noProof="0" dirty="0" smtClean="0">
                <a:ln>
                  <a:noFill/>
                </a:ln>
                <a:solidFill>
                  <a:srgbClr val="FFFFFF"/>
                </a:solidFill>
                <a:effectLst/>
                <a:uLnTx/>
                <a:uFillTx/>
                <a:latin typeface="Cambria"/>
              </a:rPr>
              <a:t>(61 MW</a:t>
            </a:r>
            <a:r>
              <a:rPr kumimoji="0" lang="fr-FR" sz="1000" b="1" i="0" u="none" strike="noStrike" kern="0" cap="none" spc="0" normalizeH="0" baseline="30000" noProof="0" dirty="0" smtClean="0">
                <a:ln>
                  <a:noFill/>
                </a:ln>
                <a:solidFill>
                  <a:srgbClr val="FFFFFF"/>
                </a:solidFill>
                <a:effectLst/>
                <a:uLnTx/>
                <a:uFillTx/>
                <a:latin typeface="Cambria"/>
              </a:rPr>
              <a:t>1</a:t>
            </a:r>
            <a:r>
              <a:rPr kumimoji="0" lang="fr-FR" sz="1000" b="1" i="0" u="none" strike="noStrike" kern="0" cap="none" spc="0" normalizeH="0" baseline="0" noProof="0" dirty="0" smtClean="0">
                <a:ln>
                  <a:noFill/>
                </a:ln>
                <a:solidFill>
                  <a:srgbClr val="FFFFFF"/>
                </a:solidFill>
                <a:effectLst/>
                <a:uLnTx/>
                <a:uFillTx/>
                <a:latin typeface="Cambria"/>
              </a:rPr>
              <a:t>)</a:t>
            </a:r>
            <a:endParaRPr kumimoji="0" lang="fr-FR" sz="1000" b="1" i="0" u="none" strike="noStrike" kern="0" cap="none" spc="0" normalizeH="0" baseline="0" noProof="0" dirty="0">
              <a:ln>
                <a:noFill/>
              </a:ln>
              <a:solidFill>
                <a:srgbClr val="FFFFFF"/>
              </a:solidFill>
              <a:effectLst/>
              <a:uLnTx/>
              <a:uFillTx/>
              <a:latin typeface="Cambria"/>
            </a:endParaRPr>
          </a:p>
        </p:txBody>
      </p:sp>
      <p:pic>
        <p:nvPicPr>
          <p:cNvPr id="174" name="Picture 22" descr="http://ts1.mm.bing.net/th?id=H.4794460249457744&amp;w=259&amp;h=179&amp;c=7&amp;rs=1&amp;pid=1.7"/>
          <p:cNvPicPr>
            <a:picLocks noChangeArrowheads="1"/>
          </p:cNvPicPr>
          <p:nvPr>
            <p:custDataLst>
              <p:tags r:id="rId64"/>
            </p:custDataLst>
          </p:nvPr>
        </p:nvPicPr>
        <p:blipFill>
          <a:blip r:embed="rId93" cstate="print">
            <a:extLst>
              <a:ext uri="{28A0092B-C50C-407E-A947-70E740481C1C}">
                <a14:useLocalDpi xmlns="" xmlns:a14="http://schemas.microsoft.com/office/drawing/2010/main" val="0"/>
              </a:ext>
            </a:extLst>
          </a:blip>
          <a:srcRect/>
          <a:stretch>
            <a:fillRect/>
          </a:stretch>
        </p:blipFill>
        <p:spPr bwMode="auto">
          <a:xfrm>
            <a:off x="6567737" y="6230265"/>
            <a:ext cx="498059" cy="372480"/>
          </a:xfrm>
          <a:prstGeom prst="rect">
            <a:avLst/>
          </a:prstGeom>
          <a:noFill/>
          <a:ln w="9525">
            <a:solidFill>
              <a:srgbClr val="998700"/>
            </a:solidFill>
            <a:miter lim="800000"/>
            <a:headEnd/>
            <a:tailEnd/>
          </a:ln>
          <a:effectLst/>
          <a:extLst>
            <a:ext uri="{909E8E84-426E-40dd-AFC4-6F175D3DCCD1}">
              <a14:hiddenFill xmlns="" xmlns:a14="http://schemas.microsoft.com/office/drawing/2010/main">
                <a:solidFill>
                  <a:srgbClr val="FFFFFF"/>
                </a:solidFill>
              </a14:hiddenFill>
            </a:ext>
          </a:extLst>
        </p:spPr>
      </p:pic>
      <p:sp>
        <p:nvSpPr>
          <p:cNvPr id="175" name="Rectangle 174"/>
          <p:cNvSpPr/>
          <p:nvPr>
            <p:custDataLst>
              <p:tags r:id="rId65"/>
            </p:custDataLst>
          </p:nvPr>
        </p:nvSpPr>
        <p:spPr bwMode="gray">
          <a:xfrm>
            <a:off x="7101021" y="5940155"/>
            <a:ext cx="101317" cy="94377"/>
          </a:xfrm>
          <a:prstGeom prst="rect">
            <a:avLst/>
          </a:prstGeom>
          <a:solidFill>
            <a:srgbClr val="002060"/>
          </a:solidFill>
          <a:ln w="317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000000"/>
              </a:solidFill>
              <a:effectLst/>
              <a:uLnTx/>
              <a:uFillTx/>
              <a:latin typeface="Cambria"/>
            </a:endParaRPr>
          </a:p>
        </p:txBody>
      </p:sp>
      <p:cxnSp>
        <p:nvCxnSpPr>
          <p:cNvPr id="176" name="Straight Connector 100"/>
          <p:cNvCxnSpPr>
            <a:stCxn id="173" idx="0"/>
          </p:cNvCxnSpPr>
          <p:nvPr>
            <p:custDataLst>
              <p:tags r:id="rId66"/>
            </p:custDataLst>
          </p:nvPr>
        </p:nvCxnSpPr>
        <p:spPr>
          <a:xfrm flipV="1">
            <a:off x="6037685" y="6047755"/>
            <a:ext cx="974908" cy="115533"/>
          </a:xfrm>
          <a:prstGeom prst="line">
            <a:avLst/>
          </a:prstGeom>
          <a:noFill/>
          <a:ln w="9525" cap="flat" cmpd="sng" algn="ctr">
            <a:solidFill>
              <a:srgbClr val="808080"/>
            </a:solidFill>
            <a:prstDash val="solid"/>
            <a:tailEnd type="oval"/>
          </a:ln>
          <a:effectLst/>
        </p:spPr>
      </p:cxnSp>
      <p:sp>
        <p:nvSpPr>
          <p:cNvPr id="177" name="Freeform 88"/>
          <p:cNvSpPr/>
          <p:nvPr>
            <p:custDataLst>
              <p:tags r:id="rId67"/>
            </p:custDataLst>
          </p:nvPr>
        </p:nvSpPr>
        <p:spPr bwMode="gray">
          <a:xfrm flipV="1">
            <a:off x="5881530" y="4202603"/>
            <a:ext cx="449258" cy="148645"/>
          </a:xfrm>
          <a:custGeom>
            <a:avLst/>
            <a:gdLst>
              <a:gd name="connsiteX0" fmla="*/ 0 w 261937"/>
              <a:gd name="connsiteY0" fmla="*/ 0 h 309562"/>
              <a:gd name="connsiteX1" fmla="*/ 261937 w 261937"/>
              <a:gd name="connsiteY1" fmla="*/ 309562 h 309562"/>
            </a:gdLst>
            <a:ahLst/>
            <a:cxnLst>
              <a:cxn ang="0">
                <a:pos x="connsiteX0" y="connsiteY0"/>
              </a:cxn>
              <a:cxn ang="0">
                <a:pos x="connsiteX1" y="connsiteY1"/>
              </a:cxn>
            </a:cxnLst>
            <a:rect l="l" t="t" r="r" b="b"/>
            <a:pathLst>
              <a:path w="261937" h="309562">
                <a:moveTo>
                  <a:pt x="0" y="0"/>
                </a:moveTo>
                <a:lnTo>
                  <a:pt x="261937" y="309562"/>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sp>
        <p:nvSpPr>
          <p:cNvPr id="178" name="Freeform 89"/>
          <p:cNvSpPr/>
          <p:nvPr>
            <p:custDataLst>
              <p:tags r:id="rId68"/>
            </p:custDataLst>
          </p:nvPr>
        </p:nvSpPr>
        <p:spPr bwMode="gray">
          <a:xfrm flipV="1">
            <a:off x="6365078" y="3845271"/>
            <a:ext cx="464250" cy="315842"/>
          </a:xfrm>
          <a:custGeom>
            <a:avLst/>
            <a:gdLst>
              <a:gd name="connsiteX0" fmla="*/ 0 w 261937"/>
              <a:gd name="connsiteY0" fmla="*/ 0 h 309562"/>
              <a:gd name="connsiteX1" fmla="*/ 261937 w 261937"/>
              <a:gd name="connsiteY1" fmla="*/ 309562 h 309562"/>
            </a:gdLst>
            <a:ahLst/>
            <a:cxnLst>
              <a:cxn ang="0">
                <a:pos x="connsiteX0" y="connsiteY0"/>
              </a:cxn>
              <a:cxn ang="0">
                <a:pos x="connsiteX1" y="connsiteY1"/>
              </a:cxn>
            </a:cxnLst>
            <a:rect l="l" t="t" r="r" b="b"/>
            <a:pathLst>
              <a:path w="261937" h="309562">
                <a:moveTo>
                  <a:pt x="0" y="0"/>
                </a:moveTo>
                <a:lnTo>
                  <a:pt x="261937" y="309562"/>
                </a:lnTo>
              </a:path>
            </a:pathLst>
          </a:custGeom>
          <a:noFill/>
          <a:ln w="28575" cap="flat" cmpd="sng" algn="ctr">
            <a:solidFill>
              <a:srgbClr val="00206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smtClean="0">
              <a:ln>
                <a:noFill/>
              </a:ln>
              <a:solidFill>
                <a:srgbClr val="FFFFFF"/>
              </a:solidFill>
              <a:effectLst/>
              <a:uLnTx/>
              <a:uFillTx/>
              <a:latin typeface="Cambria"/>
            </a:endParaRPr>
          </a:p>
        </p:txBody>
      </p:sp>
      <p:grpSp>
        <p:nvGrpSpPr>
          <p:cNvPr id="3" name="Group 7"/>
          <p:cNvGrpSpPr/>
          <p:nvPr>
            <p:custDataLst>
              <p:tags r:id="rId69"/>
            </p:custDataLst>
          </p:nvPr>
        </p:nvGrpSpPr>
        <p:grpSpPr>
          <a:xfrm>
            <a:off x="7670826" y="308851"/>
            <a:ext cx="1145940" cy="213160"/>
            <a:chOff x="7670825" y="308850"/>
            <a:chExt cx="1145940" cy="213160"/>
          </a:xfrm>
        </p:grpSpPr>
        <p:sp>
          <p:nvSpPr>
            <p:cNvPr id="180" name="StickerRectangle"/>
            <p:cNvSpPr>
              <a:spLocks noChangeArrowheads="1"/>
            </p:cNvSpPr>
            <p:nvPr/>
          </p:nvSpPr>
          <p:spPr bwMode="auto">
            <a:xfrm>
              <a:off x="7671619" y="308850"/>
              <a:ext cx="1144352"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0000"/>
                </a:buClr>
              </a:pPr>
              <a:r>
                <a:rPr lang="en-US" sz="1200" smtClean="0">
                  <a:solidFill>
                    <a:srgbClr val="808080"/>
                  </a:solidFill>
                  <a:latin typeface="Cambria"/>
                </a:rPr>
                <a:t>NON EXHAUSTIF</a:t>
              </a:r>
              <a:endParaRPr lang="en-US" sz="1200">
                <a:solidFill>
                  <a:srgbClr val="808080"/>
                </a:solidFill>
                <a:latin typeface="Cambria"/>
              </a:endParaRPr>
            </a:p>
          </p:txBody>
        </p:sp>
        <p:cxnSp>
          <p:nvCxnSpPr>
            <p:cNvPr id="181" name="AutoShape 31"/>
            <p:cNvCxnSpPr>
              <a:cxnSpLocks noChangeShapeType="1"/>
              <a:stCxn id="180" idx="2"/>
              <a:endCxn id="180" idx="4"/>
            </p:cNvCxnSpPr>
            <p:nvPr/>
          </p:nvCxnSpPr>
          <p:spPr bwMode="auto">
            <a:xfrm rot="16200000" flipH="1">
              <a:off x="7565436" y="415033"/>
              <a:ext cx="212366" cy="1588"/>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82" name="AutoShape 32"/>
            <p:cNvCxnSpPr>
              <a:cxnSpLocks noChangeShapeType="1"/>
              <a:stCxn id="180" idx="4"/>
              <a:endCxn id="180" idx="6"/>
            </p:cNvCxnSpPr>
            <p:nvPr/>
          </p:nvCxnSpPr>
          <p:spPr bwMode="auto">
            <a:xfrm rot="16200000" flipH="1">
              <a:off x="8243795" y="-50960"/>
              <a:ext cx="1588" cy="1144352"/>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184" name="Rectangle 9"/>
          <p:cNvSpPr txBox="1"/>
          <p:nvPr>
            <p:custDataLst>
              <p:tags r:id="rId70"/>
            </p:custDataLst>
          </p:nvPr>
        </p:nvSpPr>
        <p:spPr>
          <a:xfrm>
            <a:off x="2465888" y="1276598"/>
            <a:ext cx="1412965" cy="30777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0000"/>
              </a:buClr>
            </a:pPr>
            <a:r>
              <a:rPr lang="en-US" sz="1000" b="1" dirty="0" err="1" smtClean="0">
                <a:solidFill>
                  <a:srgbClr val="000000"/>
                </a:solidFill>
                <a:latin typeface="Cambria"/>
              </a:rPr>
              <a:t>Interconnexion</a:t>
            </a:r>
            <a:r>
              <a:rPr lang="en-US" sz="1000" b="1" dirty="0" smtClean="0">
                <a:solidFill>
                  <a:srgbClr val="000000"/>
                </a:solidFill>
                <a:latin typeface="Cambria"/>
              </a:rPr>
              <a:t> </a:t>
            </a:r>
            <a:r>
              <a:rPr lang="en-US" sz="1000" b="1" dirty="0" err="1" smtClean="0">
                <a:solidFill>
                  <a:srgbClr val="000000"/>
                </a:solidFill>
                <a:latin typeface="Cambria"/>
              </a:rPr>
              <a:t>Mauritanie</a:t>
            </a:r>
            <a:endParaRPr lang="en-US" sz="1000" b="1" dirty="0">
              <a:solidFill>
                <a:srgbClr val="000000"/>
              </a:solidFill>
              <a:latin typeface="Cambria"/>
            </a:endParaRPr>
          </a:p>
        </p:txBody>
      </p:sp>
      <p:sp>
        <p:nvSpPr>
          <p:cNvPr id="185" name="Rectangle 9"/>
          <p:cNvSpPr txBox="1"/>
          <p:nvPr/>
        </p:nvSpPr>
        <p:spPr>
          <a:xfrm>
            <a:off x="5725865" y="3597007"/>
            <a:ext cx="1412965" cy="30777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algn="ctr" fontAlgn="base">
              <a:spcBef>
                <a:spcPct val="0"/>
              </a:spcBef>
              <a:spcAft>
                <a:spcPct val="0"/>
              </a:spcAft>
              <a:buClr>
                <a:srgbClr val="000000"/>
              </a:buClr>
            </a:pPr>
            <a:r>
              <a:rPr lang="en-US" sz="1000" b="1" dirty="0" err="1" smtClean="0">
                <a:solidFill>
                  <a:srgbClr val="000000"/>
                </a:solidFill>
                <a:latin typeface="Cambria"/>
              </a:rPr>
              <a:t>Interconnexion</a:t>
            </a:r>
            <a:r>
              <a:rPr lang="en-US" sz="1000" b="1" dirty="0" smtClean="0">
                <a:solidFill>
                  <a:srgbClr val="000000"/>
                </a:solidFill>
                <a:latin typeface="Cambria"/>
              </a:rPr>
              <a:t> </a:t>
            </a:r>
            <a:br>
              <a:rPr lang="en-US" sz="1000" b="1" dirty="0" smtClean="0">
                <a:solidFill>
                  <a:srgbClr val="000000"/>
                </a:solidFill>
                <a:latin typeface="Cambria"/>
              </a:rPr>
            </a:br>
            <a:r>
              <a:rPr lang="en-US" sz="1000" b="1" dirty="0" err="1" smtClean="0">
                <a:solidFill>
                  <a:srgbClr val="000000"/>
                </a:solidFill>
                <a:latin typeface="Cambria"/>
              </a:rPr>
              <a:t>OMVS</a:t>
            </a:r>
            <a:endParaRPr lang="en-US" sz="1000" b="1" dirty="0">
              <a:solidFill>
                <a:srgbClr val="000000"/>
              </a:solidFill>
              <a:latin typeface="Cambria"/>
            </a:endParaRPr>
          </a:p>
        </p:txBody>
      </p:sp>
      <p:sp>
        <p:nvSpPr>
          <p:cNvPr id="186" name="Rectangle 9"/>
          <p:cNvSpPr txBox="1"/>
          <p:nvPr>
            <p:custDataLst>
              <p:tags r:id="rId71"/>
            </p:custDataLst>
          </p:nvPr>
        </p:nvSpPr>
        <p:spPr>
          <a:xfrm>
            <a:off x="7491935" y="5603725"/>
            <a:ext cx="1412965" cy="307777"/>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algn="ctr" fontAlgn="base">
              <a:spcBef>
                <a:spcPct val="0"/>
              </a:spcBef>
              <a:spcAft>
                <a:spcPct val="0"/>
              </a:spcAft>
              <a:buClr>
                <a:srgbClr val="000000"/>
              </a:buClr>
            </a:pPr>
            <a:r>
              <a:rPr lang="en-US" sz="1000" b="1" dirty="0" err="1" smtClean="0">
                <a:solidFill>
                  <a:srgbClr val="000000"/>
                </a:solidFill>
                <a:latin typeface="Cambria"/>
              </a:rPr>
              <a:t>Interconnexion</a:t>
            </a:r>
            <a:r>
              <a:rPr lang="en-US" sz="1000" b="1" dirty="0" smtClean="0">
                <a:solidFill>
                  <a:srgbClr val="000000"/>
                </a:solidFill>
                <a:latin typeface="Cambria"/>
              </a:rPr>
              <a:t> </a:t>
            </a:r>
            <a:br>
              <a:rPr lang="en-US" sz="1000" b="1" dirty="0" smtClean="0">
                <a:solidFill>
                  <a:srgbClr val="000000"/>
                </a:solidFill>
                <a:latin typeface="Cambria"/>
              </a:rPr>
            </a:br>
            <a:r>
              <a:rPr lang="en-US" sz="1000" b="1" dirty="0" err="1" smtClean="0">
                <a:solidFill>
                  <a:srgbClr val="000000"/>
                </a:solidFill>
                <a:latin typeface="Cambria"/>
              </a:rPr>
              <a:t>OMVG</a:t>
            </a:r>
            <a:endParaRPr lang="en-US" sz="1000" b="1" dirty="0">
              <a:solidFill>
                <a:srgbClr val="000000"/>
              </a:solidFill>
              <a:latin typeface="Cambria"/>
            </a:endParaRPr>
          </a:p>
        </p:txBody>
      </p:sp>
      <p:sp>
        <p:nvSpPr>
          <p:cNvPr id="92" name="Rectangle 91"/>
          <p:cNvSpPr/>
          <p:nvPr/>
        </p:nvSpPr>
        <p:spPr>
          <a:xfrm flipV="1">
            <a:off x="668993" y="226901"/>
            <a:ext cx="5054879"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Tree>
    <p:extLst>
      <p:ext uri="{BB962C8B-B14F-4D97-AF65-F5344CB8AC3E}">
        <p14:creationId xmlns="" xmlns:p14="http://schemas.microsoft.com/office/powerpoint/2010/main" val="2380790209"/>
      </p:ext>
    </p:extLst>
  </p:cSld>
  <p:clrMapOvr>
    <a:masterClrMapping/>
  </p:clrMapOvr>
  <p:transition spd="med"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5"/>
                                        </p:tgtEl>
                                        <p:attrNameLst>
                                          <p:attrName>style.visibility</p:attrName>
                                        </p:attrNameLst>
                                      </p:cBhvr>
                                      <p:to>
                                        <p:strVal val="visible"/>
                                      </p:to>
                                    </p:set>
                                  </p:childTnLst>
                                </p:cTn>
                              </p:par>
                              <p:par>
                                <p:cTn id="29" presetID="1" presetClass="entr" presetSubtype="0" fill="hold" grpId="1" nodeType="withEffect">
                                  <p:stCondLst>
                                    <p:cond delay="0"/>
                                  </p:stCondLst>
                                  <p:childTnLst>
                                    <p:set>
                                      <p:cBhvr>
                                        <p:cTn id="30" dur="1" fill="hold">
                                          <p:stCondLst>
                                            <p:cond delay="0"/>
                                          </p:stCondLst>
                                        </p:cTn>
                                        <p:tgtEl>
                                          <p:spTgt spid="15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6" grpId="0" animBg="1"/>
      <p:bldP spid="127" grpId="0" animBg="1"/>
      <p:bldP spid="128" grpId="0" animBg="1"/>
      <p:bldP spid="129" grpId="0" animBg="1"/>
      <p:bldP spid="130" grpId="0" animBg="1"/>
      <p:bldP spid="135" grpId="0" animBg="1"/>
      <p:bldP spid="154" grpId="0" animBg="1"/>
      <p:bldP spid="154" grpId="1" animBg="1"/>
      <p:bldP spid="158" grpId="0" animBg="1"/>
      <p:bldP spid="171" grpId="0" animBg="1"/>
      <p:bldP spid="17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1266528" y="2411884"/>
            <a:ext cx="6048672" cy="538591"/>
          </a:xfrm>
          <a:prstGeom prst="rect">
            <a:avLst/>
          </a:prstGeom>
          <a:noFill/>
          <a:ln w="12700" cap="sq">
            <a:noFill/>
            <a:miter lim="800000"/>
            <a:headEnd type="none" w="sm" len="sm"/>
            <a:tailEnd type="none" w="sm" len="sm"/>
          </a:ln>
        </p:spPr>
        <p:txBody>
          <a:bodyPr vert="horz" wrap="square" lIns="91423" tIns="45711" rIns="91423" bIns="45711" rtlCol="0" anchor="ctr">
            <a:spAutoFit/>
          </a:bodyPr>
          <a:lstStyle>
            <a:defPPr>
              <a:defRPr lang="en-US"/>
            </a:defPPr>
            <a:lvl1pPr algn="ctr" eaLnBrk="0" hangingPunct="0">
              <a:spcBef>
                <a:spcPct val="0"/>
              </a:spcBef>
              <a:buNone/>
              <a:defRPr sz="2900" b="1">
                <a:latin typeface="Cambria" pitchFamily="18" charset="0"/>
                <a:ea typeface="+mj-ea"/>
                <a:cs typeface="+mj-cs"/>
              </a:defRPr>
            </a:lvl1pPr>
          </a:lstStyle>
          <a:p>
            <a:endParaRPr lang="fr-FR" dirty="0"/>
          </a:p>
        </p:txBody>
      </p:sp>
      <p:pic>
        <p:nvPicPr>
          <p:cNvPr id="3" name="Image 2"/>
          <p:cNvPicPr>
            <a:picLocks noChangeAspect="1" noChangeArrowheads="1"/>
          </p:cNvPicPr>
          <p:nvPr/>
        </p:nvPicPr>
        <p:blipFill>
          <a:blip r:embed="rId4">
            <a:extLst>
              <a:ext uri="{28A0092B-C50C-407E-A947-70E740481C1C}">
                <a14:useLocalDpi xmlns="" xmlns:a14="http://schemas.microsoft.com/office/drawing/2010/main" val="0"/>
              </a:ext>
            </a:extLst>
          </a:blip>
          <a:srcRect/>
          <a:stretch>
            <a:fillRect/>
          </a:stretch>
        </p:blipFill>
        <p:spPr bwMode="auto">
          <a:xfrm>
            <a:off x="4114681" y="1261241"/>
            <a:ext cx="5029319" cy="52922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le 1"/>
          <p:cNvSpPr txBox="1">
            <a:spLocks/>
          </p:cNvSpPr>
          <p:nvPr>
            <p:custDataLst>
              <p:tags r:id="rId1"/>
            </p:custDataLst>
          </p:nvPr>
        </p:nvSpPr>
        <p:spPr bwMode="auto">
          <a:xfrm>
            <a:off x="537217" y="122206"/>
            <a:ext cx="8615612" cy="582575"/>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lvl1pPr algn="l" defTabSz="913526" rtl="0" eaLnBrk="1" fontAlgn="base" hangingPunct="1">
              <a:spcBef>
                <a:spcPct val="0"/>
              </a:spcBef>
              <a:spcAft>
                <a:spcPct val="0"/>
              </a:spcAft>
              <a:tabLst>
                <a:tab pos="364439" algn="l"/>
              </a:tabLst>
              <a:defRPr sz="2000" b="1">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defTabSz="457200" eaLnBrk="0" hangingPunct="0">
              <a:defRPr/>
            </a:pPr>
            <a:r>
              <a:rPr lang="fr-FR" sz="3600" dirty="0">
                <a:solidFill>
                  <a:srgbClr val="000000"/>
                </a:solidFill>
                <a:latin typeface="+mn-lt"/>
              </a:rPr>
              <a:t>2020-</a:t>
            </a:r>
            <a:r>
              <a:rPr lang="fr-FR" sz="3600" dirty="0" smtClean="0">
                <a:solidFill>
                  <a:srgbClr val="000000"/>
                </a:solidFill>
                <a:latin typeface="+mn-lt"/>
              </a:rPr>
              <a:t>2025 </a:t>
            </a:r>
            <a:r>
              <a:rPr lang="fr-FR" sz="3600" dirty="0" err="1" smtClean="0">
                <a:solidFill>
                  <a:srgbClr val="AB0000"/>
                </a:solidFill>
                <a:latin typeface="+mn-lt"/>
              </a:rPr>
              <a:t>Numeric</a:t>
            </a:r>
            <a:r>
              <a:rPr lang="fr-FR" sz="3600" dirty="0" smtClean="0">
                <a:solidFill>
                  <a:srgbClr val="AB0000"/>
                </a:solidFill>
                <a:latin typeface="+mn-lt"/>
              </a:rPr>
              <a:t> </a:t>
            </a:r>
            <a:r>
              <a:rPr lang="fr-FR" sz="3600" dirty="0" smtClean="0">
                <a:solidFill>
                  <a:srgbClr val="AB0000"/>
                </a:solidFill>
                <a:latin typeface="+mn-lt"/>
              </a:rPr>
              <a:t>Vision </a:t>
            </a:r>
            <a:endParaRPr kumimoji="0" lang="fr-FR" sz="3600" b="1" i="0" u="none" strike="noStrike" kern="1200" cap="none" spc="0" normalizeH="0" baseline="0" noProof="0" dirty="0">
              <a:ln>
                <a:noFill/>
              </a:ln>
              <a:solidFill>
                <a:srgbClr val="AB0000"/>
              </a:solidFill>
              <a:effectLst/>
              <a:uLnTx/>
              <a:uFillTx/>
              <a:latin typeface="+mn-lt"/>
            </a:endParaRPr>
          </a:p>
        </p:txBody>
      </p:sp>
      <p:sp>
        <p:nvSpPr>
          <p:cNvPr id="10" name="Rectangle 9"/>
          <p:cNvSpPr/>
          <p:nvPr/>
        </p:nvSpPr>
        <p:spPr>
          <a:xfrm flipV="1">
            <a:off x="622667" y="181969"/>
            <a:ext cx="6003343"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7" name="Espace réservé du contenu 2"/>
          <p:cNvSpPr>
            <a:spLocks noGrp="1"/>
          </p:cNvSpPr>
          <p:nvPr>
            <p:ph idx="1"/>
          </p:nvPr>
        </p:nvSpPr>
        <p:spPr>
          <a:xfrm>
            <a:off x="204952" y="1484313"/>
            <a:ext cx="3909729" cy="5373686"/>
          </a:xfrm>
        </p:spPr>
        <p:txBody>
          <a:bodyPr>
            <a:noAutofit/>
          </a:bodyPr>
          <a:lstStyle/>
          <a:p>
            <a:pPr marL="180975" indent="-180975">
              <a:spcBef>
                <a:spcPts val="0"/>
              </a:spcBef>
              <a:spcAft>
                <a:spcPts val="2400"/>
              </a:spcAft>
              <a:buFont typeface="Wingdings" pitchFamily="2" charset="2"/>
              <a:buChar char="§"/>
              <a:defRPr/>
            </a:pPr>
            <a:r>
              <a:rPr lang="fr-FR" sz="2000" dirty="0" smtClean="0">
                <a:latin typeface="Cambria" pitchFamily="18" charset="0"/>
                <a:ea typeface="MS PGothic" pitchFamily="34" charset="-128"/>
                <a:cs typeface="Arial" panose="020B0604020202020204" pitchFamily="34" charset="0"/>
              </a:rPr>
              <a:t>VSAT hub </a:t>
            </a:r>
            <a:r>
              <a:rPr lang="fr-FR" sz="2000" dirty="0" err="1" smtClean="0">
                <a:latin typeface="Cambria" pitchFamily="18" charset="0"/>
                <a:ea typeface="MS PGothic" pitchFamily="34" charset="-128"/>
                <a:cs typeface="Arial" panose="020B0604020202020204" pitchFamily="34" charset="0"/>
              </a:rPr>
              <a:t>pointing</a:t>
            </a:r>
            <a:r>
              <a:rPr lang="fr-FR" sz="2000" dirty="0" smtClean="0">
                <a:latin typeface="Cambria" pitchFamily="18" charset="0"/>
                <a:ea typeface="MS PGothic" pitchFamily="34" charset="-128"/>
                <a:cs typeface="Arial" panose="020B0604020202020204" pitchFamily="34" charset="0"/>
              </a:rPr>
              <a:t> to the </a:t>
            </a:r>
            <a:r>
              <a:rPr lang="fr-FR" sz="2000" b="1" dirty="0" smtClean="0">
                <a:latin typeface="Cambria" pitchFamily="18" charset="0"/>
                <a:ea typeface="MS PGothic" pitchFamily="34" charset="-128"/>
                <a:cs typeface="Arial" panose="020B0604020202020204" pitchFamily="34" charset="0"/>
              </a:rPr>
              <a:t>355.5 Intelsat</a:t>
            </a:r>
          </a:p>
          <a:p>
            <a:pPr marL="180975" indent="-180975">
              <a:spcBef>
                <a:spcPts val="0"/>
              </a:spcBef>
              <a:spcAft>
                <a:spcPts val="2400"/>
              </a:spcAft>
              <a:buFont typeface="Wingdings" pitchFamily="2" charset="2"/>
              <a:buChar char="§"/>
              <a:defRPr/>
            </a:pPr>
            <a:r>
              <a:rPr lang="fr-FR" sz="2000" b="1" dirty="0" err="1" smtClean="0">
                <a:latin typeface="Cambria" pitchFamily="18" charset="0"/>
                <a:ea typeface="MS PGothic" pitchFamily="34" charset="-128"/>
                <a:cs typeface="Arial" panose="020B0604020202020204" pitchFamily="34" charset="0"/>
              </a:rPr>
              <a:t>Ground</a:t>
            </a:r>
            <a:r>
              <a:rPr lang="fr-FR" sz="2000" b="1" dirty="0" smtClean="0">
                <a:latin typeface="Cambria" pitchFamily="18" charset="0"/>
                <a:ea typeface="MS PGothic" pitchFamily="34" charset="-128"/>
                <a:cs typeface="Arial" panose="020B0604020202020204" pitchFamily="34" charset="0"/>
              </a:rPr>
              <a:t> optical fiber </a:t>
            </a:r>
            <a:r>
              <a:rPr lang="fr-FR" sz="2000" dirty="0" smtClean="0">
                <a:latin typeface="Cambria" pitchFamily="18" charset="0"/>
                <a:ea typeface="MS PGothic" pitchFamily="34" charset="-128"/>
                <a:cs typeface="Arial" panose="020B0604020202020204" pitchFamily="34" charset="0"/>
              </a:rPr>
              <a:t>interconnecting Mali, Mauritania and Senegal</a:t>
            </a:r>
          </a:p>
          <a:p>
            <a:pPr marL="581025" lvl="1" indent="-180975">
              <a:spcBef>
                <a:spcPts val="0"/>
              </a:spcBef>
              <a:spcAft>
                <a:spcPts val="2400"/>
              </a:spcAft>
              <a:buFont typeface="Wingdings" pitchFamily="2" charset="2"/>
              <a:buChar char="ü"/>
              <a:defRPr/>
            </a:pPr>
            <a:r>
              <a:rPr lang="fr-FR" sz="2000" b="1" dirty="0" smtClean="0">
                <a:latin typeface="Cambria" pitchFamily="18" charset="0"/>
                <a:ea typeface="MS PGothic" pitchFamily="34" charset="-128"/>
                <a:cs typeface="Arial" panose="020B0604020202020204" pitchFamily="34" charset="0"/>
              </a:rPr>
              <a:t>3000 kilometers loop </a:t>
            </a:r>
            <a:r>
              <a:rPr lang="fr-FR" sz="2000" dirty="0" smtClean="0">
                <a:latin typeface="Cambria" pitchFamily="18" charset="0"/>
                <a:ea typeface="MS PGothic" pitchFamily="34" charset="-128"/>
                <a:cs typeface="Arial" panose="020B0604020202020204" pitchFamily="34" charset="0"/>
              </a:rPr>
              <a:t>of </a:t>
            </a:r>
            <a:r>
              <a:rPr lang="fr-FR" sz="2000" dirty="0" err="1" smtClean="0">
                <a:latin typeface="Cambria" pitchFamily="18" charset="0"/>
                <a:ea typeface="MS PGothic" pitchFamily="34" charset="-128"/>
                <a:cs typeface="Arial" panose="020B0604020202020204" pitchFamily="34" charset="0"/>
              </a:rPr>
              <a:t>optics</a:t>
            </a:r>
            <a:r>
              <a:rPr lang="fr-FR" sz="2000" dirty="0" smtClean="0">
                <a:latin typeface="Cambria" pitchFamily="18" charset="0"/>
                <a:ea typeface="MS PGothic" pitchFamily="34" charset="-128"/>
                <a:cs typeface="Arial" panose="020B0604020202020204" pitchFamily="34" charset="0"/>
              </a:rPr>
              <a:t> </a:t>
            </a:r>
            <a:r>
              <a:rPr lang="fr-FR" sz="2000" dirty="0" err="1" smtClean="0">
                <a:latin typeface="Cambria" pitchFamily="18" charset="0"/>
                <a:ea typeface="MS PGothic" pitchFamily="34" charset="-128"/>
                <a:cs typeface="Arial" panose="020B0604020202020204" pitchFamily="34" charset="0"/>
              </a:rPr>
              <a:t>fiber</a:t>
            </a:r>
            <a:endParaRPr lang="fr-FR" sz="2000" dirty="0" smtClean="0">
              <a:latin typeface="Cambria" pitchFamily="18" charset="0"/>
              <a:ea typeface="MS PGothic" pitchFamily="34" charset="-128"/>
              <a:cs typeface="Arial" panose="020B0604020202020204" pitchFamily="34" charset="0"/>
            </a:endParaRPr>
          </a:p>
          <a:p>
            <a:pPr marL="180975" indent="-180975">
              <a:spcBef>
                <a:spcPts val="0"/>
              </a:spcBef>
              <a:spcAft>
                <a:spcPts val="2400"/>
              </a:spcAft>
              <a:buFont typeface="Wingdings" pitchFamily="2" charset="2"/>
              <a:buChar char="§"/>
              <a:defRPr/>
            </a:pPr>
            <a:r>
              <a:rPr lang="fr-FR" sz="2000" b="1" dirty="0" smtClean="0">
                <a:latin typeface="Cambria" pitchFamily="18" charset="0"/>
                <a:ea typeface="MS PGothic" pitchFamily="34" charset="-128"/>
                <a:cs typeface="Arial" panose="020B0604020202020204" pitchFamily="34" charset="0"/>
              </a:rPr>
              <a:t>18,4 Gb/s</a:t>
            </a:r>
            <a:r>
              <a:rPr lang="fr-FR" sz="2000" dirty="0" smtClean="0">
                <a:latin typeface="Cambria" pitchFamily="18" charset="0"/>
                <a:ea typeface="MS PGothic" pitchFamily="34" charset="-128"/>
                <a:cs typeface="Arial" panose="020B0604020202020204" pitchFamily="34" charset="0"/>
              </a:rPr>
              <a:t> of International Internet bandwidth</a:t>
            </a:r>
          </a:p>
          <a:p>
            <a:pPr marL="180975" indent="-180975">
              <a:spcBef>
                <a:spcPts val="0"/>
              </a:spcBef>
              <a:spcAft>
                <a:spcPts val="2400"/>
              </a:spcAft>
              <a:buFont typeface="Wingdings" pitchFamily="2" charset="2"/>
              <a:buChar char="§"/>
              <a:defRPr/>
            </a:pPr>
            <a:r>
              <a:rPr lang="fr-FR" sz="2000" dirty="0" smtClean="0">
                <a:latin typeface="Cambria" pitchFamily="18" charset="0"/>
                <a:ea typeface="MS PGothic" pitchFamily="34" charset="-128"/>
                <a:cs typeface="Arial" panose="020B0604020202020204" pitchFamily="34" charset="0"/>
              </a:rPr>
              <a:t>National IP network and leased lines </a:t>
            </a:r>
            <a:r>
              <a:rPr lang="fr-FR" sz="2000" b="1" dirty="0" smtClean="0">
                <a:latin typeface="Cambria" pitchFamily="18" charset="0"/>
                <a:ea typeface="MS PGothic" pitchFamily="34" charset="-128"/>
                <a:cs typeface="Arial" panose="020B0604020202020204" pitchFamily="34" charset="0"/>
              </a:rPr>
              <a:t>from 64 Kbps to 2 Mbps</a:t>
            </a:r>
          </a:p>
          <a:p>
            <a:pPr marL="182563" indent="-182563" eaLnBrk="1" hangingPunct="1">
              <a:spcBef>
                <a:spcPts val="0"/>
              </a:spcBef>
              <a:spcAft>
                <a:spcPts val="2400"/>
              </a:spcAft>
              <a:defRPr/>
            </a:pPr>
            <a:endParaRPr lang="fr-FR" sz="2000" dirty="0" smtClean="0">
              <a:latin typeface="Cambria" pitchFamily="18" charset="0"/>
              <a:ea typeface="MS PGothic" pitchFamily="34" charset="-128"/>
            </a:endParaRPr>
          </a:p>
        </p:txBody>
      </p:sp>
    </p:spTree>
    <p:extLst>
      <p:ext uri="{BB962C8B-B14F-4D97-AF65-F5344CB8AC3E}">
        <p14:creationId xmlns="" xmlns:p14="http://schemas.microsoft.com/office/powerpoint/2010/main" val="444184709"/>
      </p:ext>
    </p:extLst>
  </p:cSld>
  <p:clrMapOvr>
    <a:masterClrMapping/>
  </p:clrMapOvr>
  <p:transition spd="med">
    <p:pull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1000"/>
                                        <p:tgtEl>
                                          <p:spTgt spid="7">
                                            <p:txEl>
                                              <p:pRg st="0" end="0"/>
                                            </p:txEl>
                                          </p:spTgt>
                                        </p:tgtEl>
                                      </p:cBhvr>
                                    </p:animEffect>
                                    <p:anim calcmode="lin" valueType="num">
                                      <p:cBhvr>
                                        <p:cTn id="12"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13"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7">
                                            <p:txEl>
                                              <p:pRg st="1" end="1"/>
                                            </p:txEl>
                                          </p:spTgt>
                                        </p:tgtEl>
                                        <p:attrNameLst>
                                          <p:attrName>style.visibility</p:attrName>
                                        </p:attrNameLst>
                                      </p:cBhvr>
                                      <p:to>
                                        <p:strVal val="visible"/>
                                      </p:to>
                                    </p:set>
                                    <p:animEffect transition="in" filter="fade">
                                      <p:cBhvr>
                                        <p:cTn id="18" dur="1000"/>
                                        <p:tgtEl>
                                          <p:spTgt spid="7">
                                            <p:txEl>
                                              <p:pRg st="1" end="1"/>
                                            </p:txEl>
                                          </p:spTgt>
                                        </p:tgtEl>
                                      </p:cBhvr>
                                    </p:animEffect>
                                    <p:anim calcmode="lin" valueType="num">
                                      <p:cBhvr>
                                        <p:cTn id="19"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20" dur="1000" fill="hold"/>
                                        <p:tgtEl>
                                          <p:spTgt spid="7">
                                            <p:txEl>
                                              <p:pRg st="1" end="1"/>
                                            </p:txEl>
                                          </p:spTgt>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1000"/>
                                        <p:tgtEl>
                                          <p:spTgt spid="7">
                                            <p:txEl>
                                              <p:pRg st="2" end="2"/>
                                            </p:txEl>
                                          </p:spTgt>
                                        </p:tgtEl>
                                      </p:cBhvr>
                                    </p:animEffect>
                                    <p:anim calcmode="lin" valueType="num">
                                      <p:cBhvr>
                                        <p:cTn id="24"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25"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7">
                                            <p:txEl>
                                              <p:pRg st="3" end="3"/>
                                            </p:txEl>
                                          </p:spTgt>
                                        </p:tgtEl>
                                        <p:attrNameLst>
                                          <p:attrName>style.visibility</p:attrName>
                                        </p:attrNameLst>
                                      </p:cBhvr>
                                      <p:to>
                                        <p:strVal val="visible"/>
                                      </p:to>
                                    </p:set>
                                    <p:animEffect transition="in" filter="fade">
                                      <p:cBhvr>
                                        <p:cTn id="30" dur="1000"/>
                                        <p:tgtEl>
                                          <p:spTgt spid="7">
                                            <p:txEl>
                                              <p:pRg st="3" end="3"/>
                                            </p:txEl>
                                          </p:spTgt>
                                        </p:tgtEl>
                                      </p:cBhvr>
                                    </p:animEffect>
                                    <p:anim calcmode="lin" valueType="num">
                                      <p:cBhvr>
                                        <p:cTn id="31"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32"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7">
                                            <p:txEl>
                                              <p:pRg st="4" end="4"/>
                                            </p:txEl>
                                          </p:spTgt>
                                        </p:tgtEl>
                                        <p:attrNameLst>
                                          <p:attrName>style.visibility</p:attrName>
                                        </p:attrNameLst>
                                      </p:cBhvr>
                                      <p:to>
                                        <p:strVal val="visible"/>
                                      </p:to>
                                    </p:set>
                                    <p:animEffect transition="in" filter="fade">
                                      <p:cBhvr>
                                        <p:cTn id="37" dur="1000"/>
                                        <p:tgtEl>
                                          <p:spTgt spid="7">
                                            <p:txEl>
                                              <p:pRg st="4" end="4"/>
                                            </p:txEl>
                                          </p:spTgt>
                                        </p:tgtEl>
                                      </p:cBhvr>
                                    </p:animEffect>
                                    <p:anim calcmode="lin" valueType="num">
                                      <p:cBhvr>
                                        <p:cTn id="38"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39"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C6CAE510-2E18-4644-9DBF-437BBE941DEC}" type="slidenum">
              <a:rPr lang="en-US" smtClean="0"/>
              <a:pPr/>
              <a:t>19</a:t>
            </a:fld>
            <a:endParaRPr lang="en-US" dirty="0"/>
          </a:p>
        </p:txBody>
      </p:sp>
      <p:sp>
        <p:nvSpPr>
          <p:cNvPr id="14" name="Rectangle 13"/>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0" name="Rectangle 9"/>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Agoa</a:t>
            </a:r>
            <a:r>
              <a:rPr lang="fr-FR" sz="4000" b="1" dirty="0" smtClean="0">
                <a:solidFill>
                  <a:srgbClr val="FF0000"/>
                </a:solidFill>
                <a:cs typeface="Arial" pitchFamily="34" charset="0"/>
              </a:rPr>
              <a:t> </a:t>
            </a:r>
            <a:r>
              <a:rPr lang="fr-FR" sz="4000" b="1" dirty="0" err="1" smtClean="0">
                <a:solidFill>
                  <a:srgbClr val="FF0000"/>
                </a:solidFill>
                <a:cs typeface="Arial" pitchFamily="34" charset="0"/>
              </a:rPr>
              <a:t>Opportunities</a:t>
            </a:r>
            <a:endParaRPr lang="fr-FR" sz="4000" b="1" dirty="0" smtClean="0">
              <a:solidFill>
                <a:srgbClr val="AB0000"/>
              </a:solidFill>
              <a:cs typeface="Arial" pitchFamily="34" charset="0"/>
            </a:endParaRPr>
          </a:p>
        </p:txBody>
      </p:sp>
      <p:sp>
        <p:nvSpPr>
          <p:cNvPr id="11" name="Rectangle 10"/>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2" name="Ellipse 11"/>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pic>
        <p:nvPicPr>
          <p:cNvPr id="13" name="Picture 3" descr="C:\Asepex\General\Plan Strategique\Revue PSD new Decret\AGOA\drapeau_USA.jpg"/>
          <p:cNvPicPr>
            <a:picLocks noChangeAspect="1" noChangeArrowheads="1"/>
          </p:cNvPicPr>
          <p:nvPr/>
        </p:nvPicPr>
        <p:blipFill>
          <a:blip r:embed="rId2" cstate="print"/>
          <a:srcRect/>
          <a:stretch>
            <a:fillRect/>
          </a:stretch>
        </p:blipFill>
        <p:spPr bwMode="auto">
          <a:xfrm>
            <a:off x="2611782" y="2786071"/>
            <a:ext cx="3688410" cy="2371121"/>
          </a:xfrm>
          <a:prstGeom prst="rect">
            <a:avLst/>
          </a:prstGeom>
          <a:noFill/>
        </p:spPr>
      </p:pic>
      <p:graphicFrame>
        <p:nvGraphicFramePr>
          <p:cNvPr id="15" name="Diagramme 14"/>
          <p:cNvGraphicFramePr/>
          <p:nvPr/>
        </p:nvGraphicFramePr>
        <p:xfrm>
          <a:off x="251520" y="1268760"/>
          <a:ext cx="8676456" cy="51845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ZoneTexte 16"/>
          <p:cNvSpPr txBox="1"/>
          <p:nvPr/>
        </p:nvSpPr>
        <p:spPr>
          <a:xfrm>
            <a:off x="4283968" y="1124745"/>
            <a:ext cx="648072" cy="369332"/>
          </a:xfrm>
          <a:prstGeom prst="rect">
            <a:avLst/>
          </a:prstGeom>
          <a:noFill/>
        </p:spPr>
        <p:txBody>
          <a:bodyPr wrap="square" rtlCol="0">
            <a:spAutoFit/>
          </a:bodyPr>
          <a:lstStyle/>
          <a:p>
            <a:r>
              <a:rPr lang="fr-FR" b="1" dirty="0" smtClean="0">
                <a:solidFill>
                  <a:srgbClr val="FFC000"/>
                </a:solidFill>
              </a:rPr>
              <a:t>AS.1</a:t>
            </a:r>
            <a:endParaRPr lang="fr-FR" b="1" dirty="0">
              <a:solidFill>
                <a:srgbClr val="FFC000"/>
              </a:solidFill>
            </a:endParaRPr>
          </a:p>
        </p:txBody>
      </p:sp>
      <p:sp>
        <p:nvSpPr>
          <p:cNvPr id="18" name="ZoneTexte 17"/>
          <p:cNvSpPr txBox="1"/>
          <p:nvPr/>
        </p:nvSpPr>
        <p:spPr>
          <a:xfrm>
            <a:off x="7524328" y="2996952"/>
            <a:ext cx="648072" cy="369332"/>
          </a:xfrm>
          <a:prstGeom prst="rect">
            <a:avLst/>
          </a:prstGeom>
          <a:noFill/>
        </p:spPr>
        <p:txBody>
          <a:bodyPr wrap="square" rtlCol="0">
            <a:spAutoFit/>
          </a:bodyPr>
          <a:lstStyle/>
          <a:p>
            <a:r>
              <a:rPr lang="fr-FR" b="1" dirty="0" smtClean="0">
                <a:solidFill>
                  <a:srgbClr val="FFC000"/>
                </a:solidFill>
              </a:rPr>
              <a:t>AS.2</a:t>
            </a:r>
            <a:endParaRPr lang="fr-FR" b="1" dirty="0">
              <a:solidFill>
                <a:srgbClr val="FFC000"/>
              </a:solidFill>
            </a:endParaRPr>
          </a:p>
        </p:txBody>
      </p:sp>
      <p:sp>
        <p:nvSpPr>
          <p:cNvPr id="19" name="ZoneTexte 18"/>
          <p:cNvSpPr txBox="1"/>
          <p:nvPr/>
        </p:nvSpPr>
        <p:spPr>
          <a:xfrm>
            <a:off x="4211960" y="4941168"/>
            <a:ext cx="648072" cy="369332"/>
          </a:xfrm>
          <a:prstGeom prst="rect">
            <a:avLst/>
          </a:prstGeom>
          <a:noFill/>
        </p:spPr>
        <p:txBody>
          <a:bodyPr wrap="square" rtlCol="0">
            <a:spAutoFit/>
          </a:bodyPr>
          <a:lstStyle/>
          <a:p>
            <a:r>
              <a:rPr lang="fr-FR" b="1" dirty="0" smtClean="0">
                <a:solidFill>
                  <a:srgbClr val="FFC000"/>
                </a:solidFill>
              </a:rPr>
              <a:t>AS.3</a:t>
            </a:r>
            <a:endParaRPr lang="fr-FR" b="1" dirty="0">
              <a:solidFill>
                <a:srgbClr val="FFC000"/>
              </a:solidFill>
            </a:endParaRPr>
          </a:p>
        </p:txBody>
      </p:sp>
      <p:sp>
        <p:nvSpPr>
          <p:cNvPr id="20" name="ZoneTexte 19"/>
          <p:cNvSpPr txBox="1"/>
          <p:nvPr/>
        </p:nvSpPr>
        <p:spPr>
          <a:xfrm>
            <a:off x="899592" y="3068960"/>
            <a:ext cx="648072" cy="369332"/>
          </a:xfrm>
          <a:prstGeom prst="rect">
            <a:avLst/>
          </a:prstGeom>
          <a:noFill/>
        </p:spPr>
        <p:txBody>
          <a:bodyPr wrap="square" rtlCol="0">
            <a:spAutoFit/>
          </a:bodyPr>
          <a:lstStyle/>
          <a:p>
            <a:r>
              <a:rPr lang="fr-FR" b="1" dirty="0" smtClean="0">
                <a:solidFill>
                  <a:srgbClr val="FFC000"/>
                </a:solidFill>
              </a:rPr>
              <a:t>AS.4</a:t>
            </a:r>
            <a:endParaRPr lang="fr-FR" b="1" dirty="0">
              <a:solidFill>
                <a:srgbClr val="FFC000"/>
              </a:solidFill>
            </a:endParaRPr>
          </a:p>
        </p:txBody>
      </p:sp>
      <p:sp>
        <p:nvSpPr>
          <p:cNvPr id="21" name="Espace réservé du texte 2"/>
          <p:cNvSpPr txBox="1">
            <a:spLocks/>
          </p:cNvSpPr>
          <p:nvPr/>
        </p:nvSpPr>
        <p:spPr>
          <a:xfrm>
            <a:off x="5925269" y="1268760"/>
            <a:ext cx="3111228" cy="868970"/>
          </a:xfrm>
          <a:prstGeom prst="rect">
            <a:avLst/>
          </a:prstGeom>
        </p:spPr>
        <p:txBody>
          <a:bodyPr vert="horz" lIns="91440" tIns="45720" rIns="91440" bIns="45720" rtlCol="0" anchor="ctr"/>
          <a:lstStyle/>
          <a:p>
            <a:pPr marL="361950" marR="0" lvl="0" indent="-361950" algn="l" defTabSz="457200" rtl="0" eaLnBrk="1" fontAlgn="auto" latinLnBrk="0" hangingPunct="1">
              <a:lnSpc>
                <a:spcPct val="150000"/>
              </a:lnSpc>
              <a:spcBef>
                <a:spcPts val="0"/>
              </a:spcBef>
              <a:spcAft>
                <a:spcPts val="0"/>
              </a:spcAft>
              <a:buClrTx/>
              <a:buSzTx/>
              <a:buFont typeface="Wingdings" pitchFamily="2" charset="2"/>
              <a:buChar char="v"/>
              <a:tabLst/>
              <a:defRPr/>
            </a:pPr>
            <a:r>
              <a:rPr kumimoji="0" lang="fr-FR" b="1" i="0" u="none" strike="noStrike" kern="1200" cap="none" spc="0" normalizeH="0" baseline="0" noProof="0" dirty="0" smtClean="0">
                <a:ln>
                  <a:noFill/>
                </a:ln>
                <a:solidFill>
                  <a:schemeClr val="accent1">
                    <a:lumMod val="75000"/>
                  </a:schemeClr>
                </a:solidFill>
                <a:effectLst/>
                <a:uLnTx/>
                <a:uFillTx/>
                <a:latin typeface="+mn-lt"/>
                <a:ea typeface="+mn-ea"/>
                <a:cs typeface="+mn-cs"/>
              </a:rPr>
              <a:t>4 STRATEGIC AXES</a:t>
            </a:r>
          </a:p>
          <a:p>
            <a:pPr marL="361950" marR="0" lvl="0" indent="-361950" algn="l" defTabSz="457200" rtl="0" eaLnBrk="1" fontAlgn="auto" latinLnBrk="0" hangingPunct="1">
              <a:lnSpc>
                <a:spcPct val="150000"/>
              </a:lnSpc>
              <a:spcBef>
                <a:spcPts val="0"/>
              </a:spcBef>
              <a:spcAft>
                <a:spcPts val="0"/>
              </a:spcAft>
              <a:buClrTx/>
              <a:buSzTx/>
              <a:buFont typeface="Wingdings" pitchFamily="2" charset="2"/>
              <a:buChar char="v"/>
              <a:tabLst/>
              <a:defRPr/>
            </a:pPr>
            <a:r>
              <a:rPr kumimoji="0" lang="fr-FR" b="1" i="0" u="none" strike="noStrike" kern="1200" cap="none" spc="0" normalizeH="0" baseline="0" noProof="0" dirty="0" smtClean="0">
                <a:ln>
                  <a:noFill/>
                </a:ln>
                <a:solidFill>
                  <a:schemeClr val="accent1">
                    <a:lumMod val="75000"/>
                  </a:schemeClr>
                </a:solidFill>
                <a:effectLst/>
                <a:uLnTx/>
                <a:uFillTx/>
                <a:latin typeface="+mn-lt"/>
                <a:ea typeface="+mn-ea"/>
                <a:cs typeface="+mn-cs"/>
              </a:rPr>
              <a:t>9 </a:t>
            </a:r>
            <a:r>
              <a:rPr kumimoji="0" lang="fr-FR" b="1" i="0" u="none" strike="noStrike" kern="1200" cap="none" spc="0" normalizeH="0" baseline="0" noProof="0" dirty="0" err="1" smtClean="0">
                <a:ln>
                  <a:noFill/>
                </a:ln>
                <a:solidFill>
                  <a:schemeClr val="accent1">
                    <a:lumMod val="75000"/>
                  </a:schemeClr>
                </a:solidFill>
                <a:effectLst/>
                <a:uLnTx/>
                <a:uFillTx/>
                <a:latin typeface="+mn-lt"/>
                <a:ea typeface="+mn-ea"/>
                <a:cs typeface="+mn-cs"/>
              </a:rPr>
              <a:t>projects</a:t>
            </a:r>
            <a:endParaRPr kumimoji="0" lang="fr-FR" b="1" i="0" u="none" strike="noStrike" kern="1200" cap="none" spc="0" normalizeH="0" baseline="0" noProof="0" dirty="0">
              <a:ln>
                <a:noFill/>
              </a:ln>
              <a:solidFill>
                <a:schemeClr val="accent1">
                  <a:lumMod val="75000"/>
                </a:schemeClr>
              </a:solidFill>
              <a:effectLst/>
              <a:uLnTx/>
              <a:uFillTx/>
              <a:latin typeface="+mn-lt"/>
              <a:ea typeface="+mn-ea"/>
              <a:cs typeface="+mn-cs"/>
            </a:endParaRPr>
          </a:p>
        </p:txBody>
      </p:sp>
    </p:spTree>
    <p:extLst>
      <p:ext uri="{BB962C8B-B14F-4D97-AF65-F5344CB8AC3E}">
        <p14:creationId xmlns="" xmlns:p14="http://schemas.microsoft.com/office/powerpoint/2010/main" val="12640096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Shape 57"/>
          <p:cNvSpPr/>
          <p:nvPr/>
        </p:nvSpPr>
        <p:spPr>
          <a:xfrm>
            <a:off x="603249" y="2538185"/>
            <a:ext cx="8396169" cy="2092881"/>
          </a:xfrm>
          <a:prstGeom prst="rect">
            <a:avLst/>
          </a:prstGeom>
          <a:ln w="12700">
            <a:miter lim="400000"/>
          </a:ln>
          <a:effectLst>
            <a:outerShdw blurRad="38100" dist="23000" dir="5400000" rotWithShape="0">
              <a:srgbClr val="808080">
                <a:alpha val="34999"/>
              </a:srgbClr>
            </a:outerShdw>
          </a:effectLst>
          <a:extLst>
            <a:ext uri="{C572A759-6A51-4108-AA02-DFA0A04FC94B}">
              <ma14:wrappingTextBoxFlag xmlns:ma14="http://schemas.microsoft.com/office/mac/drawingml/2011/main" xmlns="" val="1"/>
            </a:ext>
          </a:extLst>
        </p:spPr>
        <p:txBody>
          <a:bodyPr lIns="0" tIns="0" rIns="0" bIns="0" anchor="ctr">
            <a:spAutoFit/>
          </a:bodyPr>
          <a:lstStyle/>
          <a:p>
            <a:pPr marL="800100" indent="-800100">
              <a:lnSpc>
                <a:spcPct val="150000"/>
              </a:lnSpc>
              <a:spcBef>
                <a:spcPts val="600"/>
              </a:spcBef>
              <a:buClr>
                <a:srgbClr val="141313"/>
              </a:buClr>
              <a:buSzPct val="100000"/>
              <a:buFont typeface="Wingdings"/>
              <a:buChar char="▪"/>
            </a:pPr>
            <a:r>
              <a:rPr sz="2800" b="1" dirty="0">
                <a:solidFill>
                  <a:srgbClr val="141313"/>
                </a:solidFill>
              </a:rPr>
              <a:t>Why invest in Senegal</a:t>
            </a:r>
          </a:p>
          <a:p>
            <a:pPr marL="800100" indent="-800100">
              <a:lnSpc>
                <a:spcPct val="150000"/>
              </a:lnSpc>
              <a:spcBef>
                <a:spcPts val="600"/>
              </a:spcBef>
              <a:buClr>
                <a:srgbClr val="BFBFBF"/>
              </a:buClr>
              <a:buSzPct val="100000"/>
              <a:buFont typeface="Wingdings"/>
              <a:buChar char="▪"/>
            </a:pPr>
            <a:r>
              <a:rPr sz="2800" b="1" dirty="0">
                <a:solidFill>
                  <a:srgbClr val="BFBFBF"/>
                </a:solidFill>
              </a:rPr>
              <a:t>Airport sector</a:t>
            </a:r>
          </a:p>
          <a:p>
            <a:pPr marL="800100" lvl="0" indent="-800100">
              <a:lnSpc>
                <a:spcPct val="150000"/>
              </a:lnSpc>
              <a:spcBef>
                <a:spcPts val="600"/>
              </a:spcBef>
              <a:buClr>
                <a:srgbClr val="BFBFBF"/>
              </a:buClr>
              <a:buSzPct val="100000"/>
              <a:buFont typeface="Wingdings"/>
              <a:buChar char="▪"/>
            </a:pPr>
            <a:r>
              <a:rPr sz="2800" b="1" dirty="0">
                <a:solidFill>
                  <a:srgbClr val="BFBFBF"/>
                </a:solidFill>
              </a:rPr>
              <a:t>Tourism Opportunities</a:t>
            </a:r>
          </a:p>
        </p:txBody>
      </p:sp>
      <p:pic>
        <p:nvPicPr>
          <p:cNvPr id="58" name="image2.png" descr="Capture d’écran 2014-02-23 à 00.01.06.png"/>
          <p:cNvPicPr/>
          <p:nvPr/>
        </p:nvPicPr>
        <p:blipFill>
          <a:blip r:embed="rId2">
            <a:extLst/>
          </a:blip>
          <a:srcRect l="42410" t="33270" r="55851" b="61413"/>
          <a:stretch>
            <a:fillRect/>
          </a:stretch>
        </p:blipFill>
        <p:spPr>
          <a:xfrm>
            <a:off x="-1" y="0"/>
            <a:ext cx="603252" cy="1150938"/>
          </a:xfrm>
          <a:prstGeom prst="rect">
            <a:avLst/>
          </a:prstGeom>
          <a:ln w="12700">
            <a:miter lim="400000"/>
          </a:ln>
        </p:spPr>
      </p:pic>
      <p:pic>
        <p:nvPicPr>
          <p:cNvPr id="59" name="image2.png" descr="Capture d’écran 2014-02-23 à 00.01.06.png"/>
          <p:cNvPicPr/>
          <p:nvPr/>
        </p:nvPicPr>
        <p:blipFill>
          <a:blip r:embed="rId2">
            <a:extLst/>
          </a:blip>
          <a:srcRect l="42581" t="67912" r="54128" b="26923"/>
          <a:stretch>
            <a:fillRect/>
          </a:stretch>
        </p:blipFill>
        <p:spPr>
          <a:xfrm>
            <a:off x="28575" y="5991224"/>
            <a:ext cx="884238" cy="866777"/>
          </a:xfrm>
          <a:prstGeom prst="rect">
            <a:avLst/>
          </a:prstGeom>
          <a:ln w="12700">
            <a:miter lim="400000"/>
          </a:ln>
        </p:spPr>
      </p:pic>
      <p:pic>
        <p:nvPicPr>
          <p:cNvPr id="60" name="image3.png"/>
          <p:cNvPicPr/>
          <p:nvPr/>
        </p:nvPicPr>
        <p:blipFill>
          <a:blip r:embed="rId3">
            <a:extLst/>
          </a:blip>
          <a:srcRect l="1386" t="13406" r="70821" b="51156"/>
          <a:stretch>
            <a:fillRect/>
          </a:stretch>
        </p:blipFill>
        <p:spPr>
          <a:xfrm>
            <a:off x="3635895" y="260647"/>
            <a:ext cx="2160241" cy="1555375"/>
          </a:xfrm>
          <a:prstGeom prst="rect">
            <a:avLst/>
          </a:prstGeom>
          <a:ln w="12700">
            <a:miter lim="400000"/>
          </a:ln>
        </p:spPr>
      </p:pic>
    </p:spTree>
  </p:cSld>
  <p:clrMapOvr>
    <a:masterClrMapping/>
  </p:clrMapOvr>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57">
                                            <p:bg/>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57">
                                            <p:txEl>
                                              <p:pRg st="0" end="0"/>
                                            </p:txEl>
                                          </p:spTgt>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57">
                                            <p:txEl>
                                              <p:pRg st="1" end="1"/>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5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build="p" bldLvl="5" animBg="1" advAuto="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4" name="Espace réservé du numéro de diapositive 5"/>
          <p:cNvSpPr>
            <a:spLocks noGrp="1"/>
          </p:cNvSpPr>
          <p:nvPr>
            <p:ph type="sldNum" sz="quarter" idx="12"/>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B3F7746-CA17-49B8-BB9A-58CEE6ECD0DE}" type="slidenum">
              <a:rPr lang="fr-FR"/>
              <a:pPr fontAlgn="base">
                <a:spcBef>
                  <a:spcPct val="0"/>
                </a:spcBef>
                <a:spcAft>
                  <a:spcPct val="0"/>
                </a:spcAft>
                <a:defRPr/>
              </a:pPr>
              <a:t>20</a:t>
            </a:fld>
            <a:endParaRPr lang="fr-FR"/>
          </a:p>
        </p:txBody>
      </p:sp>
      <p:pic>
        <p:nvPicPr>
          <p:cNvPr id="19" name="Image 15" descr="PRODUI~3"/>
          <p:cNvPicPr>
            <a:picLocks noChangeAspect="1" noChangeArrowheads="1"/>
          </p:cNvPicPr>
          <p:nvPr/>
        </p:nvPicPr>
        <p:blipFill>
          <a:blip r:embed="rId3" cstate="print"/>
          <a:srcRect/>
          <a:stretch>
            <a:fillRect/>
          </a:stretch>
        </p:blipFill>
        <p:spPr bwMode="auto">
          <a:xfrm>
            <a:off x="1978521" y="5186143"/>
            <a:ext cx="1800225" cy="1352550"/>
          </a:xfrm>
          <a:prstGeom prst="rect">
            <a:avLst/>
          </a:prstGeom>
          <a:noFill/>
          <a:ln w="9525">
            <a:noFill/>
            <a:miter lim="800000"/>
            <a:headEnd/>
            <a:tailEnd/>
          </a:ln>
        </p:spPr>
      </p:pic>
      <p:pic>
        <p:nvPicPr>
          <p:cNvPr id="21" name="Image 9" descr="produits halieutiques.jpg"/>
          <p:cNvPicPr>
            <a:picLocks noChangeAspect="1"/>
          </p:cNvPicPr>
          <p:nvPr/>
        </p:nvPicPr>
        <p:blipFill>
          <a:blip r:embed="rId4" cstate="print"/>
          <a:srcRect/>
          <a:stretch>
            <a:fillRect/>
          </a:stretch>
        </p:blipFill>
        <p:spPr bwMode="auto">
          <a:xfrm>
            <a:off x="219870" y="5241706"/>
            <a:ext cx="1582737" cy="1296987"/>
          </a:xfrm>
          <a:prstGeom prst="rect">
            <a:avLst/>
          </a:prstGeom>
          <a:noFill/>
          <a:ln w="9525">
            <a:noFill/>
            <a:miter lim="800000"/>
            <a:headEnd/>
            <a:tailEnd/>
          </a:ln>
        </p:spPr>
      </p:pic>
      <p:pic>
        <p:nvPicPr>
          <p:cNvPr id="22" name="Picture 2" descr="mapa zonas mf"/>
          <p:cNvPicPr>
            <a:picLocks noChangeAspect="1" noChangeArrowheads="1"/>
          </p:cNvPicPr>
          <p:nvPr/>
        </p:nvPicPr>
        <p:blipFill>
          <a:blip r:embed="rId5">
            <a:extLst>
              <a:ext uri="{28A0092B-C50C-407E-A947-70E740481C1C}">
                <a14:useLocalDpi xmlns="" xmlns:a14="http://schemas.microsoft.com/office/drawing/2010/main" val="0"/>
              </a:ext>
            </a:extLst>
          </a:blip>
          <a:srcRect/>
          <a:stretch>
            <a:fillRect/>
          </a:stretch>
        </p:blipFill>
        <p:spPr bwMode="auto">
          <a:xfrm>
            <a:off x="3806984" y="1975432"/>
            <a:ext cx="5188754" cy="35825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Agoa</a:t>
            </a:r>
            <a:r>
              <a:rPr lang="fr-FR" sz="4000" b="1" dirty="0" smtClean="0">
                <a:solidFill>
                  <a:srgbClr val="FF0000"/>
                </a:solidFill>
                <a:cs typeface="Arial" pitchFamily="34" charset="0"/>
              </a:rPr>
              <a:t> </a:t>
            </a:r>
            <a:r>
              <a:rPr lang="fr-FR" sz="4000" b="1" dirty="0" err="1" smtClean="0">
                <a:solidFill>
                  <a:srgbClr val="FF0000"/>
                </a:solidFill>
                <a:cs typeface="Arial" pitchFamily="34" charset="0"/>
              </a:rPr>
              <a:t>Opportunities</a:t>
            </a:r>
            <a:endParaRPr lang="fr-FR" sz="4000" b="1" dirty="0" smtClean="0">
              <a:solidFill>
                <a:srgbClr val="AB0000"/>
              </a:solidFill>
              <a:cs typeface="Arial" pitchFamily="34" charset="0"/>
            </a:endParaRPr>
          </a:p>
        </p:txBody>
      </p:sp>
      <p:sp>
        <p:nvSpPr>
          <p:cNvPr id="9" name="Rectangle 8"/>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1" name="ZoneTexte 10"/>
          <p:cNvSpPr txBox="1"/>
          <p:nvPr/>
        </p:nvSpPr>
        <p:spPr>
          <a:xfrm>
            <a:off x="722921" y="827772"/>
            <a:ext cx="8313576" cy="646331"/>
          </a:xfrm>
          <a:prstGeom prst="rect">
            <a:avLst/>
          </a:prstGeom>
          <a:noFill/>
        </p:spPr>
        <p:txBody>
          <a:bodyPr wrap="square" rtlCol="0">
            <a:spAutoFit/>
          </a:bodyPr>
          <a:lstStyle/>
          <a:p>
            <a:r>
              <a:rPr lang="fr-FR" sz="3600" b="1" dirty="0" err="1" smtClean="0">
                <a:solidFill>
                  <a:srgbClr val="800000"/>
                </a:solidFill>
              </a:rPr>
              <a:t>Fishery</a:t>
            </a:r>
            <a:r>
              <a:rPr lang="fr-FR" sz="3600" b="1" dirty="0" smtClean="0">
                <a:solidFill>
                  <a:srgbClr val="800000"/>
                </a:solidFill>
              </a:rPr>
              <a:t> and Aquaculture </a:t>
            </a:r>
            <a:r>
              <a:rPr lang="fr-FR" sz="3600" b="1" dirty="0" smtClean="0">
                <a:solidFill>
                  <a:srgbClr val="000090"/>
                </a:solidFill>
              </a:rPr>
              <a:t>- </a:t>
            </a:r>
            <a:r>
              <a:rPr lang="fr-FR" sz="3600" b="1" dirty="0" err="1" smtClean="0">
                <a:solidFill>
                  <a:srgbClr val="000090"/>
                </a:solidFill>
              </a:rPr>
              <a:t>Potential</a:t>
            </a:r>
            <a:endParaRPr lang="fr-FR" sz="3600" b="1" dirty="0">
              <a:solidFill>
                <a:srgbClr val="000090"/>
              </a:solidFill>
            </a:endParaRPr>
          </a:p>
        </p:txBody>
      </p:sp>
      <p:sp>
        <p:nvSpPr>
          <p:cNvPr id="12" name="Rectangle 11"/>
          <p:cNvSpPr/>
          <p:nvPr/>
        </p:nvSpPr>
        <p:spPr>
          <a:xfrm>
            <a:off x="219870" y="1664602"/>
            <a:ext cx="3295992" cy="2693045"/>
          </a:xfrm>
          <a:prstGeom prst="rect">
            <a:avLst/>
          </a:prstGeom>
          <a:ln>
            <a:noFill/>
          </a:ln>
        </p:spPr>
        <p:txBody>
          <a:bodyPr wrap="square">
            <a:spAutoFit/>
          </a:bodyPr>
          <a:lstStyle/>
          <a:p>
            <a:pPr marL="174625" indent="-174625" algn="just" fontAlgn="auto">
              <a:spcBef>
                <a:spcPts val="600"/>
              </a:spcBef>
              <a:spcAft>
                <a:spcPts val="0"/>
              </a:spcAft>
              <a:buFont typeface="Wingdings" pitchFamily="2" charset="2"/>
              <a:buChar char="§"/>
              <a:tabLst>
                <a:tab pos="174625" algn="l"/>
                <a:tab pos="261938" algn="l"/>
              </a:tabLst>
              <a:defRPr/>
            </a:pPr>
            <a:r>
              <a:rPr lang="fr-FR" b="1" dirty="0" smtClean="0"/>
              <a:t>148 </a:t>
            </a:r>
            <a:r>
              <a:rPr lang="fr-FR" b="1" dirty="0"/>
              <a:t>000 </a:t>
            </a:r>
            <a:r>
              <a:rPr lang="fr-FR" b="1" dirty="0" smtClean="0"/>
              <a:t>tons</a:t>
            </a:r>
            <a:r>
              <a:rPr lang="fr-FR" dirty="0" smtClean="0"/>
              <a:t> of production </a:t>
            </a:r>
            <a:r>
              <a:rPr lang="fr-FR" b="1" dirty="0" err="1" smtClean="0"/>
              <a:t>exported</a:t>
            </a:r>
            <a:r>
              <a:rPr lang="fr-FR" b="1" dirty="0" smtClean="0"/>
              <a:t> </a:t>
            </a:r>
            <a:r>
              <a:rPr lang="fr-FR" dirty="0" smtClean="0"/>
              <a:t> </a:t>
            </a:r>
            <a:r>
              <a:rPr lang="fr-FR" b="1" dirty="0" smtClean="0"/>
              <a:t>(</a:t>
            </a:r>
            <a:r>
              <a:rPr lang="fr-FR" dirty="0" smtClean="0"/>
              <a:t>2011) </a:t>
            </a:r>
          </a:p>
          <a:p>
            <a:pPr marL="631825" lvl="1" indent="-174625" algn="just">
              <a:spcBef>
                <a:spcPts val="600"/>
              </a:spcBef>
              <a:buFont typeface="Wingdings" pitchFamily="2" charset="2"/>
              <a:buChar char="§"/>
              <a:tabLst>
                <a:tab pos="261938" algn="l"/>
                <a:tab pos="363538" algn="l"/>
              </a:tabLst>
              <a:defRPr/>
            </a:pPr>
            <a:r>
              <a:rPr lang="fr-FR" b="1" dirty="0" smtClean="0"/>
              <a:t>91%</a:t>
            </a:r>
            <a:r>
              <a:rPr lang="fr-FR" dirty="0" smtClean="0"/>
              <a:t> </a:t>
            </a:r>
            <a:r>
              <a:rPr lang="fr-FR" b="1" dirty="0" smtClean="0"/>
              <a:t>non</a:t>
            </a:r>
            <a:r>
              <a:rPr lang="fr-FR" dirty="0" smtClean="0"/>
              <a:t> </a:t>
            </a:r>
            <a:r>
              <a:rPr lang="fr-FR" b="1" dirty="0" err="1" smtClean="0"/>
              <a:t>transformed</a:t>
            </a:r>
            <a:r>
              <a:rPr lang="fr-FR" b="1" dirty="0" smtClean="0"/>
              <a:t>.</a:t>
            </a:r>
          </a:p>
          <a:p>
            <a:pPr marL="174625" indent="-174625" algn="just">
              <a:spcBef>
                <a:spcPts val="600"/>
              </a:spcBef>
              <a:buFont typeface="Wingdings" pitchFamily="2" charset="2"/>
              <a:buChar char="§"/>
              <a:tabLst>
                <a:tab pos="261938" algn="l"/>
                <a:tab pos="363538" algn="l"/>
              </a:tabLst>
              <a:defRPr/>
            </a:pPr>
            <a:r>
              <a:rPr lang="fr-FR" b="1" dirty="0" err="1" smtClean="0"/>
              <a:t>Markets</a:t>
            </a:r>
            <a:r>
              <a:rPr lang="fr-FR" b="1" dirty="0" smtClean="0"/>
              <a:t>: </a:t>
            </a:r>
            <a:r>
              <a:rPr lang="fr-FR" dirty="0" err="1" smtClean="0"/>
              <a:t>Europeans</a:t>
            </a:r>
            <a:r>
              <a:rPr lang="fr-FR" dirty="0" smtClean="0"/>
              <a:t>, </a:t>
            </a:r>
            <a:r>
              <a:rPr lang="fr-FR" dirty="0" err="1" smtClean="0"/>
              <a:t>Russian</a:t>
            </a:r>
            <a:r>
              <a:rPr lang="fr-FR" dirty="0" smtClean="0"/>
              <a:t>, </a:t>
            </a:r>
            <a:r>
              <a:rPr lang="fr-FR" dirty="0" err="1" smtClean="0"/>
              <a:t>Asian</a:t>
            </a:r>
            <a:r>
              <a:rPr lang="fr-FR" dirty="0" smtClean="0"/>
              <a:t>, </a:t>
            </a:r>
            <a:r>
              <a:rPr lang="fr-FR" dirty="0" err="1" smtClean="0"/>
              <a:t>Arabic</a:t>
            </a:r>
            <a:endParaRPr lang="fr-FR" dirty="0" smtClean="0"/>
          </a:p>
          <a:p>
            <a:pPr marL="174625" indent="-174625" algn="just">
              <a:spcBef>
                <a:spcPts val="600"/>
              </a:spcBef>
              <a:buFont typeface="Wingdings" pitchFamily="2" charset="2"/>
              <a:buChar char="§"/>
              <a:tabLst>
                <a:tab pos="261938" algn="l"/>
                <a:tab pos="363538" algn="l"/>
              </a:tabLst>
              <a:defRPr/>
            </a:pPr>
            <a:r>
              <a:rPr lang="fr-FR" b="1" i="1" dirty="0" err="1" smtClean="0"/>
              <a:t>Products</a:t>
            </a:r>
            <a:r>
              <a:rPr lang="fr-FR" b="1" i="1" dirty="0" smtClean="0"/>
              <a:t> </a:t>
            </a:r>
            <a:r>
              <a:rPr lang="fr-FR" dirty="0" smtClean="0"/>
              <a:t>: Fish and </a:t>
            </a:r>
            <a:r>
              <a:rPr lang="fr-FR" dirty="0" err="1" smtClean="0"/>
              <a:t>Seafood</a:t>
            </a:r>
            <a:endParaRPr lang="fr-FR" dirty="0" smtClean="0"/>
          </a:p>
          <a:p>
            <a:pPr marL="174625" indent="-174625" algn="just">
              <a:spcBef>
                <a:spcPts val="600"/>
              </a:spcBef>
              <a:buFont typeface="Wingdings" pitchFamily="2" charset="2"/>
              <a:buChar char="§"/>
              <a:tabLst>
                <a:tab pos="261938" algn="l"/>
                <a:tab pos="363538" algn="l"/>
              </a:tabLst>
              <a:defRPr/>
            </a:pPr>
            <a:endParaRPr lang="fr-FR" dirty="0" smtClean="0"/>
          </a:p>
          <a:p>
            <a:pPr marL="174625" indent="-174625" algn="just">
              <a:spcBef>
                <a:spcPts val="600"/>
              </a:spcBef>
              <a:buFont typeface="Wingdings" pitchFamily="2" charset="2"/>
              <a:buChar char="§"/>
              <a:tabLst>
                <a:tab pos="261938" algn="l"/>
                <a:tab pos="363538" algn="l"/>
              </a:tabLst>
              <a:defRPr/>
            </a:pPr>
            <a:endParaRPr lang="fr-FR" b="1" dirty="0"/>
          </a:p>
        </p:txBody>
      </p:sp>
    </p:spTree>
    <p:extLst>
      <p:ext uri="{BB962C8B-B14F-4D97-AF65-F5344CB8AC3E}">
        <p14:creationId xmlns="" xmlns:p14="http://schemas.microsoft.com/office/powerpoint/2010/main" val="4029237261"/>
      </p:ext>
    </p:extLst>
  </p:cSld>
  <p:clrMapOvr>
    <a:masterClrMapping/>
  </p:clrMapOvr>
  <p:transition spd="med">
    <p:pull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0" y="1775172"/>
            <a:ext cx="6096000" cy="1758503"/>
          </a:xfrm>
        </p:spPr>
        <p:txBody>
          <a:bodyPr>
            <a:normAutofit/>
          </a:bodyPr>
          <a:lstStyle/>
          <a:p>
            <a:pPr>
              <a:spcBef>
                <a:spcPts val="600"/>
              </a:spcBef>
              <a:buFont typeface="Wingdings" pitchFamily="2" charset="2"/>
              <a:buChar char="§"/>
            </a:pPr>
            <a:r>
              <a:rPr lang="en-US" altLang="fr-FR" sz="2400" b="1" dirty="0">
                <a:solidFill>
                  <a:srgbClr val="FF0000"/>
                </a:solidFill>
                <a:latin typeface="Meiryo UI" pitchFamily="34" charset="-128"/>
                <a:ea typeface="Meiryo UI" pitchFamily="34" charset="-128"/>
                <a:cs typeface="Meiryo UI" pitchFamily="34" charset="-128"/>
              </a:rPr>
              <a:t>4 million ha </a:t>
            </a:r>
            <a:r>
              <a:rPr lang="en-US" altLang="fr-FR" sz="2400" dirty="0" smtClean="0">
                <a:latin typeface="Meiryo UI" pitchFamily="34" charset="-128"/>
                <a:ea typeface="Meiryo UI" pitchFamily="34" charset="-128"/>
                <a:cs typeface="Meiryo UI" pitchFamily="34" charset="-128"/>
              </a:rPr>
              <a:t>of arable land</a:t>
            </a:r>
          </a:p>
          <a:p>
            <a:pPr lvl="1">
              <a:spcBef>
                <a:spcPts val="600"/>
              </a:spcBef>
              <a:buFont typeface="Wingdings" pitchFamily="2" charset="2"/>
              <a:buChar char="§"/>
            </a:pPr>
            <a:r>
              <a:rPr lang="en-US" altLang="fr-FR" sz="2000" b="1" dirty="0" smtClean="0">
                <a:latin typeface="Meiryo UI" pitchFamily="34" charset="-128"/>
                <a:ea typeface="Meiryo UI" pitchFamily="34" charset="-128"/>
                <a:cs typeface="Meiryo UI" pitchFamily="34" charset="-128"/>
              </a:rPr>
              <a:t>385 </a:t>
            </a:r>
            <a:r>
              <a:rPr lang="en-US" altLang="fr-FR" sz="2000" b="1" dirty="0">
                <a:latin typeface="Meiryo UI" pitchFamily="34" charset="-128"/>
                <a:ea typeface="Meiryo UI" pitchFamily="34" charset="-128"/>
                <a:cs typeface="Meiryo UI" pitchFamily="34" charset="-128"/>
              </a:rPr>
              <a:t>ha </a:t>
            </a:r>
            <a:r>
              <a:rPr lang="en-US" altLang="fr-FR" sz="2000" b="1" dirty="0" smtClean="0">
                <a:latin typeface="Meiryo UI" pitchFamily="34" charset="-128"/>
                <a:ea typeface="Meiryo UI" pitchFamily="34" charset="-128"/>
                <a:cs typeface="Meiryo UI" pitchFamily="34" charset="-128"/>
              </a:rPr>
              <a:t>per </a:t>
            </a:r>
            <a:r>
              <a:rPr lang="en-US" altLang="fr-FR" sz="2000" b="1" dirty="0">
                <a:latin typeface="Meiryo UI" pitchFamily="34" charset="-128"/>
                <a:ea typeface="Meiryo UI" pitchFamily="34" charset="-128"/>
                <a:cs typeface="Meiryo UI" pitchFamily="34" charset="-128"/>
              </a:rPr>
              <a:t>1000 </a:t>
            </a:r>
            <a:r>
              <a:rPr lang="en-US" altLang="fr-FR" sz="2000" b="1" dirty="0" smtClean="0">
                <a:latin typeface="Meiryo UI" pitchFamily="34" charset="-128"/>
                <a:ea typeface="Meiryo UI" pitchFamily="34" charset="-128"/>
                <a:cs typeface="Meiryo UI" pitchFamily="34" charset="-128"/>
              </a:rPr>
              <a:t>in</a:t>
            </a:r>
            <a:r>
              <a:rPr lang="en-US" altLang="fr-FR" sz="2000" dirty="0" smtClean="0">
                <a:latin typeface="Meiryo UI" pitchFamily="34" charset="-128"/>
                <a:ea typeface="Meiryo UI" pitchFamily="34" charset="-128"/>
                <a:cs typeface="Meiryo UI" pitchFamily="34" charset="-128"/>
              </a:rPr>
              <a:t>habitants </a:t>
            </a:r>
            <a:r>
              <a:rPr lang="en-US" altLang="fr-FR" sz="2000" i="1" dirty="0" smtClean="0">
                <a:latin typeface="Meiryo UI" pitchFamily="34" charset="-128"/>
                <a:ea typeface="Meiryo UI" pitchFamily="34" charset="-128"/>
                <a:cs typeface="Meiryo UI" pitchFamily="34" charset="-128"/>
              </a:rPr>
              <a:t>(SN)</a:t>
            </a:r>
          </a:p>
          <a:p>
            <a:pPr lvl="1">
              <a:spcBef>
                <a:spcPts val="600"/>
              </a:spcBef>
              <a:buFont typeface="Wingdings" pitchFamily="2" charset="2"/>
              <a:buChar char="§"/>
            </a:pPr>
            <a:r>
              <a:rPr lang="en-US" altLang="fr-FR" sz="2000" b="1" i="1" dirty="0" smtClean="0">
                <a:latin typeface="Meiryo UI" pitchFamily="34" charset="-128"/>
                <a:ea typeface="Meiryo UI" pitchFamily="34" charset="-128"/>
                <a:cs typeface="Meiryo UI" pitchFamily="34" charset="-128"/>
              </a:rPr>
              <a:t>86 </a:t>
            </a:r>
            <a:r>
              <a:rPr lang="en-US" altLang="fr-FR" sz="2000" b="1" i="1" dirty="0">
                <a:latin typeface="Meiryo UI" pitchFamily="34" charset="-128"/>
                <a:ea typeface="Meiryo UI" pitchFamily="34" charset="-128"/>
                <a:cs typeface="Meiryo UI" pitchFamily="34" charset="-128"/>
              </a:rPr>
              <a:t>ha </a:t>
            </a:r>
            <a:r>
              <a:rPr lang="en-US" altLang="fr-FR" sz="2000" b="1" i="1" dirty="0" smtClean="0">
                <a:latin typeface="Meiryo UI" pitchFamily="34" charset="-128"/>
                <a:ea typeface="Meiryo UI" pitchFamily="34" charset="-128"/>
                <a:cs typeface="Meiryo UI" pitchFamily="34" charset="-128"/>
              </a:rPr>
              <a:t>per </a:t>
            </a:r>
            <a:r>
              <a:rPr lang="en-US" altLang="fr-FR" sz="2000" b="1" i="1" dirty="0">
                <a:latin typeface="Meiryo UI" pitchFamily="34" charset="-128"/>
                <a:ea typeface="Meiryo UI" pitchFamily="34" charset="-128"/>
                <a:cs typeface="Meiryo UI" pitchFamily="34" charset="-128"/>
              </a:rPr>
              <a:t>1000 </a:t>
            </a:r>
            <a:r>
              <a:rPr lang="en-US" altLang="fr-FR" sz="2000" i="1" dirty="0" smtClean="0">
                <a:latin typeface="Meiryo UI" pitchFamily="34" charset="-128"/>
                <a:ea typeface="Meiryo UI" pitchFamily="34" charset="-128"/>
                <a:cs typeface="Meiryo UI" pitchFamily="34" charset="-128"/>
              </a:rPr>
              <a:t>inhabitants </a:t>
            </a:r>
            <a:r>
              <a:rPr lang="en-US" altLang="fr-FR" sz="1800" i="1" dirty="0" smtClean="0">
                <a:latin typeface="Meiryo UI" pitchFamily="34" charset="-128"/>
                <a:ea typeface="Meiryo UI" pitchFamily="34" charset="-128"/>
                <a:cs typeface="Meiryo UI" pitchFamily="34" charset="-128"/>
              </a:rPr>
              <a:t>(World Average)</a:t>
            </a:r>
            <a:endParaRPr lang="en-US" altLang="fr-FR" sz="1800" i="1" dirty="0">
              <a:latin typeface="Meiryo UI" pitchFamily="34" charset="-128"/>
              <a:ea typeface="Meiryo UI" pitchFamily="34" charset="-128"/>
              <a:cs typeface="Meiryo UI" pitchFamily="34" charset="-128"/>
            </a:endParaRPr>
          </a:p>
          <a:p>
            <a:pPr>
              <a:spcBef>
                <a:spcPts val="600"/>
              </a:spcBef>
              <a:buNone/>
            </a:pPr>
            <a:endParaRPr lang="fr-FR" altLang="fr-FR" sz="2400" dirty="0">
              <a:latin typeface="Meiryo UI" pitchFamily="34" charset="-128"/>
              <a:ea typeface="Meiryo UI" pitchFamily="34" charset="-128"/>
              <a:cs typeface="Meiryo UI" pitchFamily="34" charset="-128"/>
            </a:endParaRPr>
          </a:p>
          <a:p>
            <a:endParaRPr lang="fr-FR" sz="2400" dirty="0"/>
          </a:p>
        </p:txBody>
      </p:sp>
      <p:sp>
        <p:nvSpPr>
          <p:cNvPr id="4" name="Espace réservé du numéro de diapositive 3"/>
          <p:cNvSpPr>
            <a:spLocks noGrp="1"/>
          </p:cNvSpPr>
          <p:nvPr>
            <p:ph type="sldNum" sz="quarter" idx="12"/>
          </p:nvPr>
        </p:nvSpPr>
        <p:spPr/>
        <p:txBody>
          <a:bodyPr/>
          <a:lstStyle/>
          <a:p>
            <a:fld id="{C6CAE510-2E18-4644-9DBF-437BBE941DEC}" type="slidenum">
              <a:rPr lang="en-US" smtClean="0"/>
              <a:pPr/>
              <a:t>21</a:t>
            </a:fld>
            <a:endParaRPr lang="en-US"/>
          </a:p>
        </p:txBody>
      </p:sp>
      <p:sp>
        <p:nvSpPr>
          <p:cNvPr id="5" name="Rectangle 4"/>
          <p:cNvSpPr/>
          <p:nvPr/>
        </p:nvSpPr>
        <p:spPr>
          <a:xfrm>
            <a:off x="3715354" y="3693331"/>
            <a:ext cx="5428646" cy="907941"/>
          </a:xfrm>
          <a:prstGeom prst="rect">
            <a:avLst/>
          </a:prstGeom>
        </p:spPr>
        <p:txBody>
          <a:bodyPr wrap="square">
            <a:spAutoFit/>
          </a:bodyPr>
          <a:lstStyle/>
          <a:p>
            <a:pPr>
              <a:spcBef>
                <a:spcPts val="600"/>
              </a:spcBef>
              <a:buFont typeface="Wingdings" pitchFamily="2" charset="2"/>
              <a:buChar char="§"/>
            </a:pPr>
            <a:r>
              <a:rPr lang="en-US" altLang="fr-FR" sz="2400" b="1" dirty="0">
                <a:solidFill>
                  <a:srgbClr val="FF0000"/>
                </a:solidFill>
                <a:latin typeface="Meiryo UI" pitchFamily="34" charset="-128"/>
                <a:ea typeface="Meiryo UI" pitchFamily="34" charset="-128"/>
                <a:cs typeface="Meiryo UI" pitchFamily="34" charset="-128"/>
              </a:rPr>
              <a:t>35 </a:t>
            </a:r>
            <a:r>
              <a:rPr lang="en-US" altLang="fr-FR" sz="2400" b="1" dirty="0" smtClean="0">
                <a:solidFill>
                  <a:srgbClr val="FF0000"/>
                </a:solidFill>
                <a:latin typeface="Meiryo UI" pitchFamily="34" charset="-128"/>
                <a:ea typeface="Meiryo UI" pitchFamily="34" charset="-128"/>
                <a:cs typeface="Meiryo UI" pitchFamily="34" charset="-128"/>
              </a:rPr>
              <a:t>billion m</a:t>
            </a:r>
            <a:r>
              <a:rPr lang="en-US" altLang="fr-FR" sz="2400" b="1" baseline="30000" dirty="0" smtClean="0">
                <a:solidFill>
                  <a:srgbClr val="FF0000"/>
                </a:solidFill>
                <a:latin typeface="Meiryo UI" pitchFamily="34" charset="-128"/>
                <a:ea typeface="Meiryo UI" pitchFamily="34" charset="-128"/>
                <a:cs typeface="Meiryo UI" pitchFamily="34" charset="-128"/>
              </a:rPr>
              <a:t>3</a:t>
            </a:r>
            <a:r>
              <a:rPr lang="en-US" altLang="fr-FR" sz="2400" dirty="0" smtClean="0">
                <a:latin typeface="Meiryo UI" pitchFamily="34" charset="-128"/>
                <a:ea typeface="Meiryo UI" pitchFamily="34" charset="-128"/>
                <a:cs typeface="Meiryo UI" pitchFamily="34" charset="-128"/>
              </a:rPr>
              <a:t> </a:t>
            </a:r>
            <a:r>
              <a:rPr lang="en-US" altLang="fr-FR" dirty="0" smtClean="0">
                <a:latin typeface="Meiryo UI" pitchFamily="34" charset="-128"/>
                <a:ea typeface="Meiryo UI" pitchFamily="34" charset="-128"/>
                <a:cs typeface="Meiryo UI" pitchFamily="34" charset="-128"/>
              </a:rPr>
              <a:t>of water </a:t>
            </a:r>
            <a:r>
              <a:rPr lang="en-US" altLang="fr-FR" dirty="0" err="1" smtClean="0">
                <a:latin typeface="Meiryo UI" pitchFamily="34" charset="-128"/>
                <a:ea typeface="Meiryo UI" pitchFamily="34" charset="-128"/>
                <a:cs typeface="Meiryo UI" pitchFamily="34" charset="-128"/>
              </a:rPr>
              <a:t>ressources</a:t>
            </a:r>
            <a:endParaRPr lang="en-US" altLang="fr-FR" dirty="0">
              <a:latin typeface="Meiryo UI" pitchFamily="34" charset="-128"/>
              <a:ea typeface="Meiryo UI" pitchFamily="34" charset="-128"/>
              <a:cs typeface="Meiryo UI" pitchFamily="34" charset="-128"/>
            </a:endParaRPr>
          </a:p>
          <a:p>
            <a:pPr marL="190500" lvl="1">
              <a:spcBef>
                <a:spcPts val="600"/>
              </a:spcBef>
              <a:buFont typeface="Wingdings" pitchFamily="2" charset="2"/>
              <a:buChar char="§"/>
            </a:pPr>
            <a:r>
              <a:rPr lang="en-US" altLang="fr-FR" sz="2400" dirty="0">
                <a:latin typeface="Meiryo UI" pitchFamily="34" charset="-128"/>
                <a:ea typeface="Meiryo UI" pitchFamily="34" charset="-128"/>
                <a:cs typeface="Meiryo UI" pitchFamily="34" charset="-128"/>
              </a:rPr>
              <a:t> </a:t>
            </a:r>
            <a:r>
              <a:rPr lang="en-US" altLang="fr-FR" sz="2000" dirty="0" smtClean="0">
                <a:latin typeface="Meiryo UI" pitchFamily="34" charset="-128"/>
                <a:ea typeface="Meiryo UI" pitchFamily="34" charset="-128"/>
                <a:cs typeface="Meiryo UI" pitchFamily="34" charset="-128"/>
              </a:rPr>
              <a:t> </a:t>
            </a:r>
            <a:r>
              <a:rPr lang="en-US" altLang="fr-FR" sz="2000" b="1" dirty="0" smtClean="0">
                <a:solidFill>
                  <a:srgbClr val="000090"/>
                </a:solidFill>
                <a:latin typeface="Meiryo UI" pitchFamily="34" charset="-128"/>
                <a:ea typeface="Meiryo UI" pitchFamily="34" charset="-128"/>
                <a:cs typeface="Meiryo UI" pitchFamily="34" charset="-128"/>
              </a:rPr>
              <a:t>4 billion </a:t>
            </a:r>
            <a:r>
              <a:rPr lang="en-US" altLang="fr-FR" sz="2000" dirty="0">
                <a:latin typeface="Meiryo UI" pitchFamily="34" charset="-128"/>
                <a:ea typeface="Meiryo UI" pitchFamily="34" charset="-128"/>
                <a:cs typeface="Meiryo UI" pitchFamily="34" charset="-128"/>
              </a:rPr>
              <a:t>m</a:t>
            </a:r>
            <a:r>
              <a:rPr lang="en-US" altLang="fr-FR" sz="2000" baseline="30000" dirty="0">
                <a:latin typeface="Meiryo UI" pitchFamily="34" charset="-128"/>
                <a:ea typeface="Meiryo UI" pitchFamily="34" charset="-128"/>
                <a:cs typeface="Meiryo UI" pitchFamily="34" charset="-128"/>
              </a:rPr>
              <a:t>3</a:t>
            </a:r>
            <a:r>
              <a:rPr lang="en-US" altLang="fr-FR" sz="2000" dirty="0">
                <a:latin typeface="Meiryo UI" pitchFamily="34" charset="-128"/>
                <a:ea typeface="Meiryo UI" pitchFamily="34" charset="-128"/>
                <a:cs typeface="Meiryo UI" pitchFamily="34" charset="-128"/>
              </a:rPr>
              <a:t> </a:t>
            </a:r>
            <a:r>
              <a:rPr lang="en-US" altLang="fr-FR" dirty="0" err="1" smtClean="0">
                <a:latin typeface="Meiryo UI" pitchFamily="34" charset="-128"/>
                <a:ea typeface="Meiryo UI" pitchFamily="34" charset="-128"/>
                <a:cs typeface="Meiryo UI" pitchFamily="34" charset="-128"/>
              </a:rPr>
              <a:t>undergroung</a:t>
            </a:r>
            <a:r>
              <a:rPr lang="en-US" altLang="fr-FR" dirty="0" smtClean="0">
                <a:latin typeface="Meiryo UI" pitchFamily="34" charset="-128"/>
                <a:ea typeface="Meiryo UI" pitchFamily="34" charset="-128"/>
                <a:cs typeface="Meiryo UI" pitchFamily="34" charset="-128"/>
              </a:rPr>
              <a:t> water </a:t>
            </a:r>
            <a:r>
              <a:rPr lang="en-US" altLang="fr-FR" dirty="0" err="1" smtClean="0">
                <a:latin typeface="Meiryo UI" pitchFamily="34" charset="-128"/>
                <a:ea typeface="Meiryo UI" pitchFamily="34" charset="-128"/>
                <a:cs typeface="Meiryo UI" pitchFamily="34" charset="-128"/>
              </a:rPr>
              <a:t>ressources</a:t>
            </a:r>
            <a:endParaRPr lang="en-US" altLang="fr-FR" sz="2000" dirty="0">
              <a:latin typeface="Meiryo UI" pitchFamily="34" charset="-128"/>
              <a:ea typeface="Meiryo UI" pitchFamily="34" charset="-128"/>
              <a:cs typeface="Meiryo UI" pitchFamily="34" charset="-128"/>
            </a:endParaRPr>
          </a:p>
        </p:txBody>
      </p:sp>
      <p:sp>
        <p:nvSpPr>
          <p:cNvPr id="6" name="Rectangle 5"/>
          <p:cNvSpPr/>
          <p:nvPr/>
        </p:nvSpPr>
        <p:spPr>
          <a:xfrm>
            <a:off x="3769346" y="5211395"/>
            <a:ext cx="5500781" cy="846386"/>
          </a:xfrm>
          <a:prstGeom prst="rect">
            <a:avLst/>
          </a:prstGeom>
        </p:spPr>
        <p:txBody>
          <a:bodyPr wrap="square">
            <a:spAutoFit/>
          </a:bodyPr>
          <a:lstStyle/>
          <a:p>
            <a:pPr>
              <a:spcBef>
                <a:spcPts val="600"/>
              </a:spcBef>
              <a:buFont typeface="Wingdings" charset="2"/>
              <a:buChar char="§"/>
            </a:pPr>
            <a:r>
              <a:rPr lang="en-US" altLang="fr-FR" sz="2400" b="1" dirty="0" smtClean="0">
                <a:solidFill>
                  <a:srgbClr val="FF0000"/>
                </a:solidFill>
                <a:latin typeface="Meiryo UI" pitchFamily="34" charset="-128"/>
                <a:ea typeface="Meiryo UI" pitchFamily="34" charset="-128"/>
                <a:cs typeface="Meiryo UI" pitchFamily="34" charset="-128"/>
              </a:rPr>
              <a:t> 350 </a:t>
            </a:r>
            <a:r>
              <a:rPr lang="en-US" altLang="fr-FR" sz="2400" b="1" dirty="0">
                <a:solidFill>
                  <a:srgbClr val="FF0000"/>
                </a:solidFill>
                <a:latin typeface="Meiryo UI" pitchFamily="34" charset="-128"/>
                <a:ea typeface="Meiryo UI" pitchFamily="34" charset="-128"/>
                <a:cs typeface="Meiryo UI" pitchFamily="34" charset="-128"/>
              </a:rPr>
              <a:t>000 ha </a:t>
            </a:r>
            <a:r>
              <a:rPr lang="en-US" altLang="fr-FR" dirty="0" smtClean="0">
                <a:latin typeface="Meiryo UI" pitchFamily="34" charset="-128"/>
                <a:ea typeface="Meiryo UI" pitchFamily="34" charset="-128"/>
                <a:cs typeface="Meiryo UI" pitchFamily="34" charset="-128"/>
              </a:rPr>
              <a:t> irrigated land in the north</a:t>
            </a:r>
            <a:endParaRPr lang="en-US" altLang="fr-FR" sz="1600" dirty="0" smtClean="0">
              <a:latin typeface="Meiryo UI" pitchFamily="34" charset="-128"/>
              <a:ea typeface="Meiryo UI" pitchFamily="34" charset="-128"/>
              <a:cs typeface="Meiryo UI" pitchFamily="34" charset="-128"/>
            </a:endParaRPr>
          </a:p>
          <a:p>
            <a:pPr lvl="1">
              <a:spcBef>
                <a:spcPts val="600"/>
              </a:spcBef>
              <a:buFont typeface="Wingdings" charset="2"/>
              <a:buChar char="§"/>
            </a:pPr>
            <a:r>
              <a:rPr lang="en-US" altLang="fr-FR" sz="2000" b="1" dirty="0" smtClean="0">
                <a:solidFill>
                  <a:srgbClr val="000090"/>
                </a:solidFill>
                <a:latin typeface="Meiryo UI" pitchFamily="34" charset="-128"/>
                <a:ea typeface="Meiryo UI" pitchFamily="34" charset="-128"/>
                <a:cs typeface="Meiryo UI" pitchFamily="34" charset="-128"/>
              </a:rPr>
              <a:t>150 000 h</a:t>
            </a:r>
            <a:r>
              <a:rPr lang="en-US" altLang="fr-FR" sz="2000" dirty="0" smtClean="0">
                <a:latin typeface="Meiryo UI" pitchFamily="34" charset="-128"/>
                <a:ea typeface="Meiryo UI" pitchFamily="34" charset="-128"/>
                <a:cs typeface="Meiryo UI" pitchFamily="34" charset="-128"/>
              </a:rPr>
              <a:t>a pre developed</a:t>
            </a:r>
            <a:endParaRPr lang="en-US" altLang="fr-FR" sz="2000" dirty="0">
              <a:solidFill>
                <a:srgbClr val="000000"/>
              </a:solidFill>
              <a:latin typeface="Meiryo UI" pitchFamily="34" charset="-128"/>
              <a:ea typeface="Meiryo UI" pitchFamily="34" charset="-128"/>
              <a:cs typeface="Meiryo UI" pitchFamily="34" charset="-128"/>
            </a:endParaRPr>
          </a:p>
        </p:txBody>
      </p:sp>
      <p:sp>
        <p:nvSpPr>
          <p:cNvPr id="7" name="ZoneTexte 6"/>
          <p:cNvSpPr txBox="1"/>
          <p:nvPr/>
        </p:nvSpPr>
        <p:spPr>
          <a:xfrm>
            <a:off x="6737200" y="1984763"/>
            <a:ext cx="2299297" cy="523220"/>
          </a:xfrm>
          <a:prstGeom prst="rect">
            <a:avLst/>
          </a:prstGeom>
          <a:noFill/>
          <a:ln>
            <a:noFill/>
          </a:ln>
        </p:spPr>
        <p:txBody>
          <a:bodyPr wrap="square" rtlCol="0">
            <a:spAutoFit/>
          </a:bodyPr>
          <a:lstStyle/>
          <a:p>
            <a:r>
              <a:rPr lang="fr-FR" sz="2800" b="1" dirty="0" smtClean="0">
                <a:solidFill>
                  <a:srgbClr val="000090"/>
                </a:solidFill>
              </a:rPr>
              <a:t>20 to 30%  </a:t>
            </a:r>
            <a:endParaRPr lang="fr-FR" sz="2800" dirty="0"/>
          </a:p>
        </p:txBody>
      </p:sp>
      <p:sp>
        <p:nvSpPr>
          <p:cNvPr id="8" name="Rectangle 7"/>
          <p:cNvSpPr/>
          <p:nvPr/>
        </p:nvSpPr>
        <p:spPr>
          <a:xfrm>
            <a:off x="6277009" y="1775172"/>
            <a:ext cx="55223" cy="1166628"/>
          </a:xfrm>
          <a:prstGeom prst="rect">
            <a:avLst/>
          </a:prstGeom>
          <a:solidFill>
            <a:srgbClr val="000090"/>
          </a:solidFill>
          <a:ln>
            <a:solidFill>
              <a:srgbClr val="00009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 name="Rectangle 10"/>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Agoa</a:t>
            </a:r>
            <a:r>
              <a:rPr lang="fr-FR" sz="4000" b="1" dirty="0" smtClean="0">
                <a:solidFill>
                  <a:srgbClr val="FF0000"/>
                </a:solidFill>
                <a:cs typeface="Arial" pitchFamily="34" charset="0"/>
              </a:rPr>
              <a:t> </a:t>
            </a:r>
            <a:r>
              <a:rPr lang="fr-FR" sz="4000" b="1" dirty="0" err="1" smtClean="0">
                <a:solidFill>
                  <a:srgbClr val="FF0000"/>
                </a:solidFill>
                <a:cs typeface="Arial" pitchFamily="34" charset="0"/>
              </a:rPr>
              <a:t>Opportunities</a:t>
            </a:r>
            <a:endParaRPr lang="fr-FR" sz="4000" b="1" dirty="0" smtClean="0">
              <a:solidFill>
                <a:srgbClr val="AB0000"/>
              </a:solidFill>
              <a:cs typeface="Arial" pitchFamily="34" charset="0"/>
            </a:endParaRPr>
          </a:p>
        </p:txBody>
      </p:sp>
      <p:sp>
        <p:nvSpPr>
          <p:cNvPr id="12" name="Rectangle 11"/>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3" name="Ellipse 12"/>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
        <p:nvSpPr>
          <p:cNvPr id="14" name="ZoneTexte 13"/>
          <p:cNvSpPr txBox="1"/>
          <p:nvPr/>
        </p:nvSpPr>
        <p:spPr>
          <a:xfrm>
            <a:off x="722921" y="827772"/>
            <a:ext cx="7229183" cy="646331"/>
          </a:xfrm>
          <a:prstGeom prst="rect">
            <a:avLst/>
          </a:prstGeom>
          <a:noFill/>
        </p:spPr>
        <p:txBody>
          <a:bodyPr wrap="square" rtlCol="0">
            <a:spAutoFit/>
          </a:bodyPr>
          <a:lstStyle/>
          <a:p>
            <a:r>
              <a:rPr lang="fr-FR" sz="3600" b="1" dirty="0" smtClean="0">
                <a:solidFill>
                  <a:srgbClr val="800000"/>
                </a:solidFill>
              </a:rPr>
              <a:t>Agro</a:t>
            </a:r>
            <a:r>
              <a:rPr lang="fr-FR" sz="3600" b="1" dirty="0" smtClean="0">
                <a:solidFill>
                  <a:srgbClr val="000090"/>
                </a:solidFill>
              </a:rPr>
              <a:t> - </a:t>
            </a:r>
            <a:r>
              <a:rPr lang="fr-FR" sz="3600" b="1" dirty="0" err="1" smtClean="0">
                <a:solidFill>
                  <a:srgbClr val="000090"/>
                </a:solidFill>
              </a:rPr>
              <a:t>Potential</a:t>
            </a:r>
            <a:endParaRPr lang="fr-FR" sz="3600" b="1" dirty="0">
              <a:solidFill>
                <a:srgbClr val="000090"/>
              </a:solidFill>
            </a:endParaRPr>
          </a:p>
        </p:txBody>
      </p:sp>
      <p:pic>
        <p:nvPicPr>
          <p:cNvPr id="16" name="Image 2" descr="Map.emf"/>
          <p:cNvPicPr>
            <a:picLocks noChangeAspect="1"/>
          </p:cNvPicPr>
          <p:nvPr/>
        </p:nvPicPr>
        <p:blipFill>
          <a:blip r:embed="rId2" cstate="print"/>
          <a:srcRect/>
          <a:stretch>
            <a:fillRect/>
          </a:stretch>
        </p:blipFill>
        <p:spPr bwMode="auto">
          <a:xfrm>
            <a:off x="457200" y="3703691"/>
            <a:ext cx="3036887" cy="2744788"/>
          </a:xfrm>
          <a:prstGeom prst="rect">
            <a:avLst/>
          </a:prstGeom>
          <a:noFill/>
          <a:ln w="9525">
            <a:noFill/>
            <a:miter lim="800000"/>
            <a:headEnd/>
            <a:tailEnd/>
          </a:ln>
        </p:spPr>
      </p:pic>
    </p:spTree>
    <p:extLst>
      <p:ext uri="{BB962C8B-B14F-4D97-AF65-F5344CB8AC3E}">
        <p14:creationId xmlns="" xmlns:p14="http://schemas.microsoft.com/office/powerpoint/2010/main" val="4174367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p:bldP spid="6" grpId="0"/>
      <p:bldP spid="7" grpId="0"/>
      <p:bldP spid="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C6CAE510-2E18-4644-9DBF-437BBE941DEC}" type="slidenum">
              <a:rPr lang="en-US" smtClean="0"/>
              <a:pPr/>
              <a:t>22</a:t>
            </a:fld>
            <a:endParaRPr lang="en-US" dirty="0"/>
          </a:p>
        </p:txBody>
      </p:sp>
      <p:sp>
        <p:nvSpPr>
          <p:cNvPr id="14" name="Rectangle 13"/>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6" name="ZoneTexte 15"/>
          <p:cNvSpPr txBox="1"/>
          <p:nvPr/>
        </p:nvSpPr>
        <p:spPr>
          <a:xfrm>
            <a:off x="722921" y="827772"/>
            <a:ext cx="7229183" cy="1200329"/>
          </a:xfrm>
          <a:prstGeom prst="rect">
            <a:avLst/>
          </a:prstGeom>
          <a:noFill/>
        </p:spPr>
        <p:txBody>
          <a:bodyPr wrap="square" rtlCol="0">
            <a:spAutoFit/>
          </a:bodyPr>
          <a:lstStyle/>
          <a:p>
            <a:r>
              <a:rPr lang="fr-FR" sz="3600" b="1" dirty="0" smtClean="0">
                <a:solidFill>
                  <a:srgbClr val="800000"/>
                </a:solidFill>
              </a:rPr>
              <a:t>Agro</a:t>
            </a:r>
            <a:r>
              <a:rPr lang="fr-FR" sz="3600" b="1" dirty="0" smtClean="0">
                <a:solidFill>
                  <a:srgbClr val="000090"/>
                </a:solidFill>
              </a:rPr>
              <a:t> – Export or </a:t>
            </a:r>
            <a:r>
              <a:rPr lang="fr-FR" sz="3600" b="1" dirty="0" err="1" smtClean="0">
                <a:solidFill>
                  <a:srgbClr val="000090"/>
                </a:solidFill>
              </a:rPr>
              <a:t>high</a:t>
            </a:r>
            <a:r>
              <a:rPr lang="fr-FR" sz="3600" b="1" dirty="0" smtClean="0">
                <a:solidFill>
                  <a:srgbClr val="000090"/>
                </a:solidFill>
              </a:rPr>
              <a:t> value </a:t>
            </a:r>
            <a:r>
              <a:rPr lang="fr-FR" sz="3600" b="1" dirty="0" err="1" smtClean="0">
                <a:solidFill>
                  <a:srgbClr val="000090"/>
                </a:solidFill>
              </a:rPr>
              <a:t>added</a:t>
            </a:r>
            <a:r>
              <a:rPr lang="fr-FR" sz="3600" b="1" dirty="0" smtClean="0">
                <a:solidFill>
                  <a:srgbClr val="000090"/>
                </a:solidFill>
              </a:rPr>
              <a:t> </a:t>
            </a:r>
          </a:p>
          <a:p>
            <a:r>
              <a:rPr lang="fr-FR" sz="3600" b="1" dirty="0">
                <a:solidFill>
                  <a:srgbClr val="000090"/>
                </a:solidFill>
              </a:rPr>
              <a:t> </a:t>
            </a:r>
            <a:r>
              <a:rPr lang="fr-FR" sz="3600" b="1" dirty="0" smtClean="0">
                <a:solidFill>
                  <a:srgbClr val="000090"/>
                </a:solidFill>
              </a:rPr>
              <a:t>            </a:t>
            </a:r>
            <a:r>
              <a:rPr lang="fr-FR" sz="3600" b="1" dirty="0" err="1" smtClean="0">
                <a:solidFill>
                  <a:srgbClr val="000090"/>
                </a:solidFill>
              </a:rPr>
              <a:t>sectors</a:t>
            </a:r>
            <a:endParaRPr lang="fr-FR" sz="3600" b="1" dirty="0">
              <a:solidFill>
                <a:srgbClr val="000090"/>
              </a:solidFill>
            </a:endParaRPr>
          </a:p>
        </p:txBody>
      </p:sp>
      <p:pic>
        <p:nvPicPr>
          <p:cNvPr id="17" name="Picture 2"/>
          <p:cNvPicPr>
            <a:picLocks noChangeAspect="1" noChangeArrowheads="1"/>
          </p:cNvPicPr>
          <p:nvPr/>
        </p:nvPicPr>
        <p:blipFill>
          <a:blip r:embed="rId2" cstate="print">
            <a:extLst/>
          </a:blip>
          <a:srcRect/>
          <a:stretch>
            <a:fillRect/>
          </a:stretch>
        </p:blipFill>
        <p:spPr bwMode="auto">
          <a:xfrm>
            <a:off x="5857742" y="2575887"/>
            <a:ext cx="2915089" cy="2062212"/>
          </a:xfrm>
          <a:prstGeom prst="rect">
            <a:avLst/>
          </a:prstGeom>
          <a:ln>
            <a:noFill/>
          </a:ln>
          <a:effectLst>
            <a:softEdge rad="112500"/>
          </a:effectLst>
          <a:extLst/>
        </p:spPr>
      </p:pic>
      <p:sp>
        <p:nvSpPr>
          <p:cNvPr id="3" name="ZoneTexte 2"/>
          <p:cNvSpPr txBox="1"/>
          <p:nvPr/>
        </p:nvSpPr>
        <p:spPr>
          <a:xfrm>
            <a:off x="533822" y="2263010"/>
            <a:ext cx="4583505" cy="2185214"/>
          </a:xfrm>
          <a:prstGeom prst="rect">
            <a:avLst/>
          </a:prstGeom>
          <a:noFill/>
        </p:spPr>
        <p:txBody>
          <a:bodyPr wrap="square" rtlCol="0">
            <a:spAutoFit/>
          </a:bodyPr>
          <a:lstStyle/>
          <a:p>
            <a:r>
              <a:rPr lang="fr-FR" sz="2400" b="1" dirty="0" smtClean="0">
                <a:solidFill>
                  <a:srgbClr val="FF0000"/>
                </a:solidFill>
              </a:rPr>
              <a:t>67 568 tons </a:t>
            </a:r>
            <a:r>
              <a:rPr lang="fr-FR" sz="2400" dirty="0" smtClean="0"/>
              <a:t>of horticulture </a:t>
            </a:r>
            <a:r>
              <a:rPr lang="fr-FR" sz="2400" dirty="0" err="1" smtClean="0"/>
              <a:t>products</a:t>
            </a:r>
            <a:r>
              <a:rPr lang="fr-FR" sz="2400" dirty="0" smtClean="0"/>
              <a:t> ,  </a:t>
            </a:r>
            <a:r>
              <a:rPr lang="fr-FR" sz="2400" b="1" dirty="0" smtClean="0">
                <a:solidFill>
                  <a:srgbClr val="000090"/>
                </a:solidFill>
              </a:rPr>
              <a:t>50% of </a:t>
            </a:r>
            <a:r>
              <a:rPr lang="fr-FR" sz="2400" dirty="0" smtClean="0"/>
              <a:t>national </a:t>
            </a:r>
            <a:r>
              <a:rPr lang="fr-FR" sz="2400" dirty="0" err="1" smtClean="0"/>
              <a:t>target</a:t>
            </a:r>
            <a:r>
              <a:rPr lang="fr-FR" sz="2400" dirty="0" smtClean="0"/>
              <a:t> </a:t>
            </a:r>
          </a:p>
          <a:p>
            <a:pPr marL="801688" indent="-350838">
              <a:buFont typeface="Arial"/>
              <a:buChar char="•"/>
            </a:pPr>
            <a:r>
              <a:rPr lang="fr-FR" sz="2000" b="1" i="1" dirty="0" err="1" smtClean="0"/>
              <a:t>Market</a:t>
            </a:r>
            <a:r>
              <a:rPr lang="fr-FR" sz="2000" dirty="0" smtClean="0"/>
              <a:t> : Europe et Amérique</a:t>
            </a:r>
          </a:p>
          <a:p>
            <a:pPr marL="800100" lvl="1" indent="-342900">
              <a:buFont typeface="Arial"/>
              <a:buChar char="•"/>
            </a:pPr>
            <a:r>
              <a:rPr lang="en-US" altLang="fr-FR" sz="2000" b="1" i="1" dirty="0" smtClean="0">
                <a:ea typeface="Meiryo UI" pitchFamily="34" charset="-128"/>
                <a:cs typeface="Meiryo UI" pitchFamily="34" charset="-128"/>
              </a:rPr>
              <a:t>Products :</a:t>
            </a:r>
            <a:r>
              <a:rPr lang="en-US" altLang="fr-FR" sz="2000" i="1" dirty="0" smtClean="0">
                <a:ea typeface="Meiryo UI" pitchFamily="34" charset="-128"/>
                <a:cs typeface="Meiryo UI" pitchFamily="34" charset="-128"/>
              </a:rPr>
              <a:t>Cherry </a:t>
            </a:r>
            <a:r>
              <a:rPr lang="en-US" altLang="fr-FR" sz="2000" b="1" i="1" dirty="0" smtClean="0">
                <a:ea typeface="Meiryo UI" pitchFamily="34" charset="-128"/>
                <a:cs typeface="Meiryo UI" pitchFamily="34" charset="-128"/>
              </a:rPr>
              <a:t>t</a:t>
            </a:r>
            <a:r>
              <a:rPr lang="en-US" altLang="fr-FR" sz="2000" dirty="0" smtClean="0">
                <a:ea typeface="Meiryo UI" pitchFamily="34" charset="-128"/>
                <a:cs typeface="Meiryo UI" pitchFamily="34" charset="-128"/>
              </a:rPr>
              <a:t>omatoes </a:t>
            </a:r>
            <a:r>
              <a:rPr lang="en-US" altLang="fr-FR" sz="2000" i="1" dirty="0" smtClean="0">
                <a:ea typeface="Meiryo UI" pitchFamily="34" charset="-128"/>
                <a:cs typeface="Meiryo UI" pitchFamily="34" charset="-128"/>
              </a:rPr>
              <a:t>(10 000t), </a:t>
            </a:r>
            <a:r>
              <a:rPr lang="en-US" altLang="fr-FR" sz="2000" dirty="0" smtClean="0">
                <a:ea typeface="Meiryo UI" pitchFamily="34" charset="-128"/>
                <a:cs typeface="Meiryo UI" pitchFamily="34" charset="-128"/>
              </a:rPr>
              <a:t>green beans </a:t>
            </a:r>
            <a:r>
              <a:rPr lang="en-US" altLang="fr-FR" sz="2000" i="1" dirty="0" smtClean="0">
                <a:ea typeface="Meiryo UI" pitchFamily="34" charset="-128"/>
                <a:cs typeface="Meiryo UI" pitchFamily="34" charset="-128"/>
              </a:rPr>
              <a:t>(</a:t>
            </a:r>
            <a:r>
              <a:rPr lang="en-US" altLang="fr-FR" sz="2000" i="1" dirty="0">
                <a:ea typeface="Meiryo UI" pitchFamily="34" charset="-128"/>
                <a:cs typeface="Meiryo UI" pitchFamily="34" charset="-128"/>
              </a:rPr>
              <a:t>8 000 t), </a:t>
            </a:r>
            <a:r>
              <a:rPr lang="en-US" altLang="fr-FR" sz="2000" dirty="0" smtClean="0">
                <a:ea typeface="Meiryo UI" pitchFamily="34" charset="-128"/>
                <a:cs typeface="Meiryo UI" pitchFamily="34" charset="-128"/>
              </a:rPr>
              <a:t>Sweet corn</a:t>
            </a:r>
            <a:r>
              <a:rPr lang="en-US" altLang="fr-FR" sz="2000" i="1" dirty="0" smtClean="0">
                <a:ea typeface="Meiryo UI" pitchFamily="34" charset="-128"/>
                <a:cs typeface="Meiryo UI" pitchFamily="34" charset="-128"/>
              </a:rPr>
              <a:t>( </a:t>
            </a:r>
            <a:r>
              <a:rPr lang="en-US" altLang="fr-FR" sz="2000" i="1" dirty="0">
                <a:ea typeface="Meiryo UI" pitchFamily="34" charset="-128"/>
                <a:cs typeface="Meiryo UI" pitchFamily="34" charset="-128"/>
              </a:rPr>
              <a:t>8 000t), </a:t>
            </a:r>
            <a:r>
              <a:rPr lang="en-US" altLang="fr-FR" sz="2000" dirty="0" smtClean="0">
                <a:ea typeface="Meiryo UI" pitchFamily="34" charset="-128"/>
                <a:cs typeface="Meiryo UI" pitchFamily="34" charset="-128"/>
              </a:rPr>
              <a:t>etc</a:t>
            </a:r>
            <a:r>
              <a:rPr lang="en-US" altLang="fr-FR" sz="2400" dirty="0" smtClean="0">
                <a:latin typeface="Meiryo UI" pitchFamily="34" charset="-128"/>
                <a:ea typeface="Meiryo UI" pitchFamily="34" charset="-128"/>
                <a:cs typeface="Meiryo UI" pitchFamily="34" charset="-128"/>
              </a:rPr>
              <a:t>.</a:t>
            </a:r>
            <a:endParaRPr lang="fr-FR" sz="2400" dirty="0" smtClean="0"/>
          </a:p>
        </p:txBody>
      </p:sp>
      <p:sp>
        <p:nvSpPr>
          <p:cNvPr id="22" name="ZoneTexte 21"/>
          <p:cNvSpPr txBox="1"/>
          <p:nvPr/>
        </p:nvSpPr>
        <p:spPr>
          <a:xfrm>
            <a:off x="533822" y="5156022"/>
            <a:ext cx="4583505" cy="1446550"/>
          </a:xfrm>
          <a:prstGeom prst="rect">
            <a:avLst/>
          </a:prstGeom>
          <a:noFill/>
        </p:spPr>
        <p:txBody>
          <a:bodyPr wrap="square" rtlCol="0">
            <a:spAutoFit/>
          </a:bodyPr>
          <a:lstStyle/>
          <a:p>
            <a:r>
              <a:rPr lang="fr-FR" sz="2400" b="1" dirty="0" smtClean="0">
                <a:solidFill>
                  <a:srgbClr val="FF0000"/>
                </a:solidFill>
              </a:rPr>
              <a:t>750 000 tons </a:t>
            </a:r>
            <a:r>
              <a:rPr lang="fr-FR" sz="2400" dirty="0" err="1" smtClean="0"/>
              <a:t>Rice</a:t>
            </a:r>
            <a:r>
              <a:rPr lang="fr-FR" sz="2400" dirty="0" smtClean="0"/>
              <a:t> production, </a:t>
            </a:r>
            <a:r>
              <a:rPr lang="fr-FR" sz="2400" b="1" dirty="0" smtClean="0">
                <a:solidFill>
                  <a:srgbClr val="000090"/>
                </a:solidFill>
              </a:rPr>
              <a:t>60% of  </a:t>
            </a:r>
            <a:r>
              <a:rPr lang="fr-FR" sz="2400" dirty="0"/>
              <a:t>national </a:t>
            </a:r>
            <a:r>
              <a:rPr lang="fr-FR" sz="2400" dirty="0" err="1"/>
              <a:t>target</a:t>
            </a:r>
            <a:r>
              <a:rPr lang="fr-FR" sz="2400" dirty="0"/>
              <a:t> </a:t>
            </a:r>
            <a:endParaRPr lang="fr-FR" sz="2400" dirty="0" smtClean="0"/>
          </a:p>
          <a:p>
            <a:pPr marL="342900" indent="-342900">
              <a:buFont typeface="Arial"/>
              <a:buChar char="•"/>
            </a:pPr>
            <a:r>
              <a:rPr lang="fr-FR" sz="2000" b="1" i="1" dirty="0" err="1" smtClean="0"/>
              <a:t>Market</a:t>
            </a:r>
            <a:r>
              <a:rPr lang="fr-FR" sz="2000" b="1" i="1" dirty="0" smtClean="0"/>
              <a:t>:</a:t>
            </a:r>
            <a:r>
              <a:rPr lang="fr-FR" sz="2000" dirty="0" smtClean="0"/>
              <a:t> local and </a:t>
            </a:r>
            <a:r>
              <a:rPr lang="fr-FR" sz="2000" dirty="0" err="1" smtClean="0"/>
              <a:t>sub</a:t>
            </a:r>
            <a:r>
              <a:rPr lang="fr-FR" sz="2000" dirty="0" smtClean="0"/>
              <a:t> </a:t>
            </a:r>
            <a:r>
              <a:rPr lang="fr-FR" sz="2000" dirty="0" err="1" smtClean="0"/>
              <a:t>regional</a:t>
            </a:r>
            <a:endParaRPr lang="fr-FR" sz="2000" dirty="0" smtClean="0"/>
          </a:p>
          <a:p>
            <a:pPr marL="342900" indent="-342900">
              <a:buFont typeface="Arial"/>
              <a:buChar char="•"/>
            </a:pPr>
            <a:r>
              <a:rPr lang="fr-FR" sz="2000" b="1" i="1" dirty="0" smtClean="0"/>
              <a:t>Product: </a:t>
            </a:r>
            <a:r>
              <a:rPr lang="fr-FR" sz="2000" dirty="0" smtClean="0"/>
              <a:t>Riz Paddy</a:t>
            </a:r>
          </a:p>
        </p:txBody>
      </p:sp>
      <p:sp>
        <p:nvSpPr>
          <p:cNvPr id="8" name="Rectangle 7"/>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Agoa</a:t>
            </a:r>
            <a:r>
              <a:rPr lang="fr-FR" sz="4000" b="1" dirty="0" smtClean="0">
                <a:solidFill>
                  <a:srgbClr val="FF0000"/>
                </a:solidFill>
                <a:cs typeface="Arial" pitchFamily="34" charset="0"/>
              </a:rPr>
              <a:t> </a:t>
            </a:r>
            <a:r>
              <a:rPr lang="fr-FR" sz="4000" b="1" dirty="0" err="1" smtClean="0">
                <a:solidFill>
                  <a:srgbClr val="FF0000"/>
                </a:solidFill>
                <a:cs typeface="Arial" pitchFamily="34" charset="0"/>
              </a:rPr>
              <a:t>Opportunities</a:t>
            </a:r>
            <a:endParaRPr lang="fr-FR" sz="4000" b="1" dirty="0" smtClean="0">
              <a:solidFill>
                <a:srgbClr val="AB0000"/>
              </a:solidFill>
              <a:cs typeface="Arial" pitchFamily="34" charset="0"/>
            </a:endParaRPr>
          </a:p>
        </p:txBody>
      </p:sp>
      <p:sp>
        <p:nvSpPr>
          <p:cNvPr id="9" name="Rectangle 8"/>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0" name="Ellipse 9"/>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2951428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C6CAE510-2E18-4644-9DBF-437BBE941DEC}" type="slidenum">
              <a:rPr lang="en-US" smtClean="0"/>
              <a:pPr/>
              <a:t>23</a:t>
            </a:fld>
            <a:endParaRPr lang="en-US" dirty="0"/>
          </a:p>
        </p:txBody>
      </p:sp>
      <p:sp>
        <p:nvSpPr>
          <p:cNvPr id="14" name="Rectangle 13"/>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6" name="ZoneTexte 15"/>
          <p:cNvSpPr txBox="1"/>
          <p:nvPr/>
        </p:nvSpPr>
        <p:spPr>
          <a:xfrm>
            <a:off x="722921" y="827772"/>
            <a:ext cx="7229183" cy="646331"/>
          </a:xfrm>
          <a:prstGeom prst="rect">
            <a:avLst/>
          </a:prstGeom>
          <a:noFill/>
        </p:spPr>
        <p:txBody>
          <a:bodyPr wrap="square" rtlCol="0">
            <a:spAutoFit/>
          </a:bodyPr>
          <a:lstStyle/>
          <a:p>
            <a:r>
              <a:rPr lang="fr-FR" sz="3600" b="1" dirty="0" err="1" smtClean="0">
                <a:solidFill>
                  <a:srgbClr val="800000"/>
                </a:solidFill>
              </a:rPr>
              <a:t>Livestock</a:t>
            </a:r>
            <a:r>
              <a:rPr lang="fr-FR" sz="3600" b="1" dirty="0" smtClean="0">
                <a:solidFill>
                  <a:srgbClr val="000090"/>
                </a:solidFill>
              </a:rPr>
              <a:t> – </a:t>
            </a:r>
            <a:r>
              <a:rPr lang="fr-FR" sz="3600" b="1" dirty="0" err="1" smtClean="0">
                <a:solidFill>
                  <a:srgbClr val="000090"/>
                </a:solidFill>
              </a:rPr>
              <a:t>Leather</a:t>
            </a:r>
            <a:r>
              <a:rPr lang="fr-FR" sz="3600" b="1" dirty="0" smtClean="0">
                <a:solidFill>
                  <a:srgbClr val="000090"/>
                </a:solidFill>
              </a:rPr>
              <a:t> and Skin </a:t>
            </a:r>
            <a:r>
              <a:rPr lang="fr-FR" sz="3600" b="1" dirty="0" err="1" smtClean="0">
                <a:solidFill>
                  <a:srgbClr val="000090"/>
                </a:solidFill>
              </a:rPr>
              <a:t>Sector</a:t>
            </a:r>
            <a:endParaRPr lang="fr-FR" sz="3600" b="1" dirty="0">
              <a:solidFill>
                <a:srgbClr val="000090"/>
              </a:solidFill>
            </a:endParaRPr>
          </a:p>
        </p:txBody>
      </p:sp>
      <p:sp>
        <p:nvSpPr>
          <p:cNvPr id="3" name="ZoneTexte 2"/>
          <p:cNvSpPr txBox="1"/>
          <p:nvPr/>
        </p:nvSpPr>
        <p:spPr>
          <a:xfrm>
            <a:off x="0" y="2012337"/>
            <a:ext cx="5848150" cy="2308324"/>
          </a:xfrm>
          <a:prstGeom prst="rect">
            <a:avLst/>
          </a:prstGeom>
          <a:noFill/>
        </p:spPr>
        <p:txBody>
          <a:bodyPr wrap="square" rtlCol="0">
            <a:spAutoFit/>
          </a:bodyPr>
          <a:lstStyle/>
          <a:p>
            <a:endParaRPr lang="fr-FR" sz="2400" dirty="0" smtClean="0"/>
          </a:p>
          <a:p>
            <a:pPr marL="800100" lvl="1" indent="-342900">
              <a:buFont typeface="Arial"/>
              <a:buChar char="•"/>
            </a:pPr>
            <a:r>
              <a:rPr lang="fr-FR" sz="2400" b="1" i="1" dirty="0" err="1" smtClean="0"/>
              <a:t>Markets</a:t>
            </a:r>
            <a:r>
              <a:rPr lang="fr-FR" sz="2400" dirty="0" smtClean="0"/>
              <a:t> : Chine </a:t>
            </a:r>
            <a:r>
              <a:rPr lang="fr-FR" sz="2400" dirty="0"/>
              <a:t>(Hong Kong), Portugal, EAU, Brésil, </a:t>
            </a:r>
            <a:r>
              <a:rPr lang="fr-FR" sz="2400" dirty="0" smtClean="0"/>
              <a:t>Niger, Inde, </a:t>
            </a:r>
            <a:r>
              <a:rPr lang="fr-FR" sz="2400" dirty="0" err="1" smtClean="0"/>
              <a:t>Turkey</a:t>
            </a:r>
            <a:endParaRPr lang="fr-FR" sz="2400" dirty="0"/>
          </a:p>
          <a:p>
            <a:pPr marL="800100" lvl="1" indent="-342900">
              <a:buFont typeface="Arial"/>
              <a:buChar char="•"/>
            </a:pPr>
            <a:endParaRPr lang="fr-FR" sz="2400" dirty="0" smtClean="0"/>
          </a:p>
          <a:p>
            <a:pPr marL="800100" lvl="1" indent="-342900">
              <a:buFont typeface="Arial"/>
              <a:buChar char="•"/>
            </a:pPr>
            <a:r>
              <a:rPr lang="en-US" altLang="fr-FR" sz="2400" b="1" i="1" dirty="0" smtClean="0">
                <a:ea typeface="Meiryo UI" pitchFamily="34" charset="-128"/>
                <a:cs typeface="Meiryo UI" pitchFamily="34" charset="-128"/>
              </a:rPr>
              <a:t>Products :</a:t>
            </a:r>
            <a:r>
              <a:rPr lang="fr-FR" sz="2400" dirty="0" smtClean="0"/>
              <a:t> </a:t>
            </a:r>
            <a:r>
              <a:rPr lang="fr-FR" sz="2400" dirty="0" err="1" smtClean="0"/>
              <a:t>Cattle</a:t>
            </a:r>
            <a:r>
              <a:rPr lang="fr-FR" sz="2400" dirty="0"/>
              <a:t>, </a:t>
            </a:r>
            <a:r>
              <a:rPr lang="fr-FR" sz="2400" dirty="0" err="1"/>
              <a:t>Shaved</a:t>
            </a:r>
            <a:r>
              <a:rPr lang="fr-FR" sz="2400" dirty="0"/>
              <a:t> or </a:t>
            </a:r>
            <a:r>
              <a:rPr lang="fr-FR" sz="2400" dirty="0" err="1"/>
              <a:t>without</a:t>
            </a:r>
            <a:r>
              <a:rPr lang="fr-FR" sz="2400" dirty="0"/>
              <a:t> </a:t>
            </a:r>
            <a:r>
              <a:rPr lang="fr-FR" sz="2400" dirty="0" err="1" smtClean="0"/>
              <a:t>hair</a:t>
            </a:r>
            <a:r>
              <a:rPr lang="fr-FR" sz="2400" dirty="0" smtClean="0"/>
              <a:t> </a:t>
            </a:r>
            <a:r>
              <a:rPr lang="fr-FR" sz="2400" dirty="0" err="1" smtClean="0"/>
              <a:t>Sheep</a:t>
            </a:r>
            <a:r>
              <a:rPr lang="fr-FR" sz="2400" dirty="0" smtClean="0"/>
              <a:t>, </a:t>
            </a:r>
            <a:r>
              <a:rPr lang="fr-FR" sz="2400" dirty="0"/>
              <a:t>non </a:t>
            </a:r>
            <a:r>
              <a:rPr lang="fr-FR" sz="2400" dirty="0" err="1" smtClean="0"/>
              <a:t>tanned</a:t>
            </a:r>
            <a:r>
              <a:rPr lang="fr-FR" sz="2400" dirty="0" smtClean="0"/>
              <a:t>,  </a:t>
            </a:r>
            <a:r>
              <a:rPr lang="fr-FR" sz="2400" dirty="0" err="1" smtClean="0"/>
              <a:t>other</a:t>
            </a:r>
            <a:r>
              <a:rPr lang="fr-FR" sz="2400" dirty="0" smtClean="0"/>
              <a:t>  skin …</a:t>
            </a:r>
            <a:endParaRPr lang="fr-FR" sz="2400" dirty="0"/>
          </a:p>
        </p:txBody>
      </p:sp>
      <p:sp>
        <p:nvSpPr>
          <p:cNvPr id="8" name="Rectangle 7"/>
          <p:cNvSpPr/>
          <p:nvPr/>
        </p:nvSpPr>
        <p:spPr bwMode="auto">
          <a:xfrm>
            <a:off x="6157119" y="4270978"/>
            <a:ext cx="2284385" cy="1311887"/>
          </a:xfrm>
          <a:prstGeom prst="rect">
            <a:avLst/>
          </a:prstGeom>
          <a:blipFill dpi="0" rotWithShape="1">
            <a:blip r:embed="rId2" cstate="prin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a:p>
        </p:txBody>
      </p:sp>
      <p:sp>
        <p:nvSpPr>
          <p:cNvPr id="9" name="Rectangle 8"/>
          <p:cNvSpPr/>
          <p:nvPr/>
        </p:nvSpPr>
        <p:spPr bwMode="auto">
          <a:xfrm>
            <a:off x="6078675" y="2248882"/>
            <a:ext cx="2362829" cy="1285691"/>
          </a:xfrm>
          <a:prstGeom prst="rect">
            <a:avLst/>
          </a:prstGeom>
          <a:blipFill dpi="0" rotWithShape="1">
            <a:blip r:embed="rId3" cstate="prin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a:p>
        </p:txBody>
      </p:sp>
      <p:sp>
        <p:nvSpPr>
          <p:cNvPr id="10" name="Rectangle 9"/>
          <p:cNvSpPr/>
          <p:nvPr/>
        </p:nvSpPr>
        <p:spPr>
          <a:xfrm>
            <a:off x="722922" y="-39076"/>
            <a:ext cx="8577386" cy="707886"/>
          </a:xfrm>
          <a:prstGeom prst="rect">
            <a:avLst/>
          </a:prstGeom>
        </p:spPr>
        <p:txBody>
          <a:bodyPr wrap="square">
            <a:spAutoFit/>
          </a:bodyPr>
          <a:lstStyle/>
          <a:p>
            <a:r>
              <a:rPr lang="fr-FR" sz="4000" b="1" dirty="0" err="1" smtClean="0">
                <a:solidFill>
                  <a:srgbClr val="FF0000"/>
                </a:solidFill>
                <a:cs typeface="Arial" pitchFamily="34" charset="0"/>
              </a:rPr>
              <a:t>Agoa</a:t>
            </a:r>
            <a:r>
              <a:rPr lang="fr-FR" sz="4000" b="1" dirty="0" smtClean="0">
                <a:solidFill>
                  <a:srgbClr val="FF0000"/>
                </a:solidFill>
                <a:cs typeface="Arial" pitchFamily="34" charset="0"/>
              </a:rPr>
              <a:t> </a:t>
            </a:r>
            <a:r>
              <a:rPr lang="fr-FR" sz="4000" b="1" dirty="0" err="1" smtClean="0">
                <a:solidFill>
                  <a:srgbClr val="FF0000"/>
                </a:solidFill>
                <a:cs typeface="Arial" pitchFamily="34" charset="0"/>
              </a:rPr>
              <a:t>Opportunities</a:t>
            </a:r>
            <a:endParaRPr lang="fr-FR" sz="4000" b="1" dirty="0" smtClean="0">
              <a:solidFill>
                <a:srgbClr val="AB0000"/>
              </a:solidFill>
              <a:cs typeface="Arial" pitchFamily="34" charset="0"/>
            </a:endParaRPr>
          </a:p>
        </p:txBody>
      </p:sp>
      <p:sp>
        <p:nvSpPr>
          <p:cNvPr id="11" name="Rectangle 10"/>
          <p:cNvSpPr/>
          <p:nvPr/>
        </p:nvSpPr>
        <p:spPr>
          <a:xfrm>
            <a:off x="722922" y="741383"/>
            <a:ext cx="6877540"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2" name="Ellipse 11"/>
          <p:cNvSpPr/>
          <p:nvPr/>
        </p:nvSpPr>
        <p:spPr>
          <a:xfrm rot="20620671">
            <a:off x="8439645" y="104570"/>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1264009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Shape 57"/>
          <p:cNvSpPr/>
          <p:nvPr/>
        </p:nvSpPr>
        <p:spPr>
          <a:xfrm>
            <a:off x="603249" y="2649905"/>
            <a:ext cx="8396169" cy="1869441"/>
          </a:xfrm>
          <a:prstGeom prst="rect">
            <a:avLst/>
          </a:prstGeom>
          <a:ln w="12700">
            <a:miter lim="400000"/>
          </a:ln>
          <a:effectLst>
            <a:outerShdw blurRad="38100" dist="23000" dir="5400000" rotWithShape="0">
              <a:srgbClr val="808080">
                <a:alpha val="34999"/>
              </a:srgbClr>
            </a:outerShdw>
          </a:effectLst>
          <a:extLst>
            <a:ext uri="{C572A759-6A51-4108-AA02-DFA0A04FC94B}">
              <ma14:wrappingTextBoxFlag xmlns:ma14="http://schemas.microsoft.com/office/mac/drawingml/2011/main" xmlns="" val="1"/>
            </a:ext>
          </a:extLst>
        </p:spPr>
        <p:txBody>
          <a:bodyPr lIns="0" tIns="0" rIns="0" bIns="0" anchor="ctr">
            <a:spAutoFit/>
          </a:bodyPr>
          <a:lstStyle/>
          <a:p>
            <a:pPr marL="800100" lvl="0" indent="-800100">
              <a:lnSpc>
                <a:spcPct val="150000"/>
              </a:lnSpc>
              <a:spcBef>
                <a:spcPts val="600"/>
              </a:spcBef>
              <a:buClr>
                <a:srgbClr val="BFBFBF"/>
              </a:buClr>
              <a:buSzPct val="100000"/>
              <a:buFont typeface="Wingdings"/>
              <a:buChar char="▪"/>
            </a:pPr>
            <a:r>
              <a:rPr sz="2800" b="1">
                <a:solidFill>
                  <a:srgbClr val="BFBFBF"/>
                </a:solidFill>
              </a:rPr>
              <a:t>Why invest in Senegal</a:t>
            </a:r>
          </a:p>
          <a:p>
            <a:pPr marL="800100" lvl="0" indent="-800100">
              <a:lnSpc>
                <a:spcPct val="150000"/>
              </a:lnSpc>
              <a:spcBef>
                <a:spcPts val="600"/>
              </a:spcBef>
              <a:buClr>
                <a:srgbClr val="141313"/>
              </a:buClr>
              <a:buSzPct val="100000"/>
              <a:buFont typeface="Wingdings"/>
              <a:buChar char="▪"/>
            </a:pPr>
            <a:r>
              <a:rPr sz="2800" b="1">
                <a:solidFill>
                  <a:srgbClr val="141313"/>
                </a:solidFill>
              </a:rPr>
              <a:t>Airport sector</a:t>
            </a:r>
          </a:p>
          <a:p>
            <a:pPr marL="800100" lvl="0" indent="-800100">
              <a:lnSpc>
                <a:spcPct val="150000"/>
              </a:lnSpc>
              <a:spcBef>
                <a:spcPts val="600"/>
              </a:spcBef>
              <a:buClr>
                <a:srgbClr val="BFBFBF"/>
              </a:buClr>
              <a:buSzPct val="100000"/>
              <a:buFont typeface="Wingdings"/>
              <a:buChar char="▪"/>
            </a:pPr>
            <a:r>
              <a:rPr sz="2800" b="1">
                <a:solidFill>
                  <a:srgbClr val="BFBFBF"/>
                </a:solidFill>
              </a:rPr>
              <a:t>Tourism Opportunities</a:t>
            </a:r>
          </a:p>
        </p:txBody>
      </p:sp>
      <p:pic>
        <p:nvPicPr>
          <p:cNvPr id="58" name="image2.png" descr="Capture d’écran 2014-02-23 à 00.01.06.png"/>
          <p:cNvPicPr/>
          <p:nvPr/>
        </p:nvPicPr>
        <p:blipFill>
          <a:blip r:embed="rId2">
            <a:extLst/>
          </a:blip>
          <a:srcRect l="42410" t="33270" r="55851" b="61413"/>
          <a:stretch>
            <a:fillRect/>
          </a:stretch>
        </p:blipFill>
        <p:spPr>
          <a:xfrm>
            <a:off x="-1" y="0"/>
            <a:ext cx="603252" cy="1150938"/>
          </a:xfrm>
          <a:prstGeom prst="rect">
            <a:avLst/>
          </a:prstGeom>
          <a:ln w="12700">
            <a:miter lim="400000"/>
          </a:ln>
        </p:spPr>
      </p:pic>
      <p:pic>
        <p:nvPicPr>
          <p:cNvPr id="59" name="image2.png" descr="Capture d’écran 2014-02-23 à 00.01.06.png"/>
          <p:cNvPicPr/>
          <p:nvPr/>
        </p:nvPicPr>
        <p:blipFill>
          <a:blip r:embed="rId2">
            <a:extLst/>
          </a:blip>
          <a:srcRect l="42581" t="67912" r="54128" b="26923"/>
          <a:stretch>
            <a:fillRect/>
          </a:stretch>
        </p:blipFill>
        <p:spPr>
          <a:xfrm>
            <a:off x="28575" y="5991224"/>
            <a:ext cx="884238" cy="866777"/>
          </a:xfrm>
          <a:prstGeom prst="rect">
            <a:avLst/>
          </a:prstGeom>
          <a:ln w="12700">
            <a:miter lim="400000"/>
          </a:ln>
        </p:spPr>
      </p:pic>
      <p:pic>
        <p:nvPicPr>
          <p:cNvPr id="60" name="image3.png"/>
          <p:cNvPicPr/>
          <p:nvPr/>
        </p:nvPicPr>
        <p:blipFill>
          <a:blip r:embed="rId3">
            <a:extLst/>
          </a:blip>
          <a:srcRect l="1386" t="13406" r="70821" b="51156"/>
          <a:stretch>
            <a:fillRect/>
          </a:stretch>
        </p:blipFill>
        <p:spPr>
          <a:xfrm>
            <a:off x="3635895" y="260647"/>
            <a:ext cx="2160241" cy="1555375"/>
          </a:xfrm>
          <a:prstGeom prst="rect">
            <a:avLst/>
          </a:prstGeom>
          <a:ln w="12700">
            <a:miter lim="400000"/>
          </a:ln>
        </p:spPr>
      </p:pic>
    </p:spTree>
  </p:cSld>
  <p:clrMapOvr>
    <a:masterClrMapping/>
  </p:clrMapOvr>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57">
                                            <p:bg/>
                                          </p:spTgt>
                                        </p:tgtEl>
                                        <p:attrNameLst>
                                          <p:attrName>style.visibility</p:attrName>
                                        </p:attrNameLst>
                                      </p:cBhvr>
                                      <p:to>
                                        <p:strVal val="visible"/>
                                      </p:to>
                                    </p:set>
                                  </p:childTnLst>
                                </p:cTn>
                              </p:par>
                              <p:par>
                                <p:cTn id="7" presetID="1" presetClass="entr" presetSubtype="0" fill="hold" grpId="0">
                                  <p:stCondLst>
                                    <p:cond delay="0"/>
                                  </p:stCondLst>
                                  <p:iterate>
                                    <p:tmAbs val="0"/>
                                  </p:iterate>
                                  <p:childTnLst>
                                    <p:set>
                                      <p:cBhvr>
                                        <p:cTn id="8" fill="hold"/>
                                        <p:tgtEl>
                                          <p:spTgt spid="5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iterate>
                                    <p:tmAbs val="0"/>
                                  </p:iterate>
                                  <p:childTnLst>
                                    <p:set>
                                      <p:cBhvr>
                                        <p:cTn id="12" fill="hold"/>
                                        <p:tgtEl>
                                          <p:spTgt spid="5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5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build="p" bldLvl="5" animBg="1" advAuto="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Shape 62"/>
          <p:cNvSpPr>
            <a:spLocks noGrp="1"/>
          </p:cNvSpPr>
          <p:nvPr>
            <p:ph type="title"/>
          </p:nvPr>
        </p:nvSpPr>
        <p:spPr>
          <a:xfrm>
            <a:off x="457200" y="993228"/>
            <a:ext cx="8229600" cy="977463"/>
          </a:xfrm>
          <a:prstGeom prst="rect">
            <a:avLst/>
          </a:prstGeom>
        </p:spPr>
        <p:txBody>
          <a:bodyPr/>
          <a:lstStyle>
            <a:lvl1pPr>
              <a:defRPr sz="2800">
                <a:solidFill>
                  <a:srgbClr val="000000"/>
                </a:solidFill>
              </a:defRPr>
            </a:lvl1pPr>
          </a:lstStyle>
          <a:p>
            <a:pPr lvl="0">
              <a:defRPr sz="1800"/>
            </a:pPr>
            <a:r>
              <a:rPr sz="2800"/>
              <a:t>Senegal serves as the regional headquarter of major aviation organizations</a:t>
            </a:r>
          </a:p>
        </p:txBody>
      </p:sp>
      <p:pic>
        <p:nvPicPr>
          <p:cNvPr id="63" name="image4.jpg" descr="icao.jpg"/>
          <p:cNvPicPr/>
          <p:nvPr/>
        </p:nvPicPr>
        <p:blipFill>
          <a:blip r:embed="rId2">
            <a:extLst/>
          </a:blip>
          <a:stretch>
            <a:fillRect/>
          </a:stretch>
        </p:blipFill>
        <p:spPr>
          <a:xfrm>
            <a:off x="815766" y="2306542"/>
            <a:ext cx="2873584" cy="1882776"/>
          </a:xfrm>
          <a:prstGeom prst="rect">
            <a:avLst/>
          </a:prstGeom>
          <a:ln w="12700">
            <a:miter lim="400000"/>
          </a:ln>
        </p:spPr>
      </p:pic>
      <p:pic>
        <p:nvPicPr>
          <p:cNvPr id="64" name="image5.jpg" descr="Afcac.jpg"/>
          <p:cNvPicPr/>
          <p:nvPr/>
        </p:nvPicPr>
        <p:blipFill>
          <a:blip r:embed="rId3">
            <a:extLst/>
          </a:blip>
          <a:stretch>
            <a:fillRect/>
          </a:stretch>
        </p:blipFill>
        <p:spPr>
          <a:xfrm>
            <a:off x="5186855" y="2306542"/>
            <a:ext cx="3053475" cy="2016126"/>
          </a:xfrm>
          <a:prstGeom prst="rect">
            <a:avLst/>
          </a:prstGeom>
          <a:ln w="12700">
            <a:miter lim="400000"/>
          </a:ln>
        </p:spPr>
      </p:pic>
      <p:pic>
        <p:nvPicPr>
          <p:cNvPr id="65" name="image6.jpg" descr="ASECNA.jpg"/>
          <p:cNvPicPr/>
          <p:nvPr/>
        </p:nvPicPr>
        <p:blipFill>
          <a:blip r:embed="rId4">
            <a:extLst/>
          </a:blip>
          <a:stretch>
            <a:fillRect/>
          </a:stretch>
        </p:blipFill>
        <p:spPr>
          <a:xfrm>
            <a:off x="5633220" y="4770397"/>
            <a:ext cx="2323331" cy="1914642"/>
          </a:xfrm>
          <a:prstGeom prst="rect">
            <a:avLst/>
          </a:prstGeom>
          <a:ln w="12700">
            <a:miter lim="400000"/>
          </a:ln>
        </p:spPr>
      </p:pic>
      <p:pic>
        <p:nvPicPr>
          <p:cNvPr id="66" name="image7.jpg" descr="FAA image.jpg"/>
          <p:cNvPicPr/>
          <p:nvPr/>
        </p:nvPicPr>
        <p:blipFill>
          <a:blip r:embed="rId5">
            <a:extLst/>
          </a:blip>
          <a:stretch>
            <a:fillRect/>
          </a:stretch>
        </p:blipFill>
        <p:spPr>
          <a:xfrm>
            <a:off x="1105415" y="4556249"/>
            <a:ext cx="2489339" cy="2128790"/>
          </a:xfrm>
          <a:prstGeom prst="rect">
            <a:avLst/>
          </a:prstGeom>
          <a:ln w="12700">
            <a:miter lim="400000"/>
          </a:ln>
        </p:spPr>
      </p:pic>
      <p:sp>
        <p:nvSpPr>
          <p:cNvPr id="67" name="Shape 67"/>
          <p:cNvSpPr/>
          <p:nvPr/>
        </p:nvSpPr>
        <p:spPr>
          <a:xfrm>
            <a:off x="722922" y="-39077"/>
            <a:ext cx="8577386" cy="6883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4000" b="1">
                <a:solidFill>
                  <a:srgbClr val="FF0000"/>
                </a:solidFill>
              </a:defRPr>
            </a:lvl1pPr>
          </a:lstStyle>
          <a:p>
            <a:pPr lvl="0">
              <a:defRPr sz="1800" b="0">
                <a:solidFill>
                  <a:srgbClr val="000000"/>
                </a:solidFill>
              </a:defRPr>
            </a:pPr>
            <a:r>
              <a:rPr sz="4000" b="1">
                <a:solidFill>
                  <a:srgbClr val="FF0000"/>
                </a:solidFill>
              </a:rPr>
              <a:t>Aviation Capital</a:t>
            </a:r>
          </a:p>
        </p:txBody>
      </p:sp>
      <p:sp>
        <p:nvSpPr>
          <p:cNvPr id="68" name="Shape 68"/>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69" name="Shape 69"/>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Shape 71"/>
          <p:cNvSpPr>
            <a:spLocks noGrp="1"/>
          </p:cNvSpPr>
          <p:nvPr>
            <p:ph type="body" idx="1"/>
          </p:nvPr>
        </p:nvSpPr>
        <p:spPr>
          <a:xfrm>
            <a:off x="457200" y="1600200"/>
            <a:ext cx="8229600" cy="4525963"/>
          </a:xfrm>
          <a:prstGeom prst="rect">
            <a:avLst/>
          </a:prstGeom>
        </p:spPr>
        <p:txBody>
          <a:bodyPr/>
          <a:lstStyle/>
          <a:p>
            <a:pPr marL="300037" lvl="0" indent="-300037">
              <a:spcBef>
                <a:spcPts val="2400"/>
              </a:spcBef>
              <a:defRPr sz="1800"/>
            </a:pPr>
            <a:r>
              <a:rPr sz="2800"/>
              <a:t>Existence of an authority for monitoring aeronautical  activities according to the  ICAO &amp; FAA 's recommendations.</a:t>
            </a:r>
          </a:p>
          <a:p>
            <a:pPr marL="300037" lvl="0" indent="-300037">
              <a:spcBef>
                <a:spcPts val="2400"/>
              </a:spcBef>
              <a:defRPr sz="1800"/>
            </a:pPr>
            <a:r>
              <a:rPr sz="2800"/>
              <a:t>Regularly audited by ICAO, TSA &amp; WAEMU</a:t>
            </a:r>
          </a:p>
          <a:p>
            <a:pPr marL="300037" lvl="0" indent="-300037">
              <a:spcBef>
                <a:spcPts val="2400"/>
              </a:spcBef>
              <a:defRPr sz="1800"/>
            </a:pPr>
            <a:r>
              <a:rPr sz="2800"/>
              <a:t>In terms of safety, level of compliance :</a:t>
            </a:r>
          </a:p>
          <a:p>
            <a:pPr marL="1019855" lvl="1" indent="-310242">
              <a:spcBef>
                <a:spcPts val="2400"/>
              </a:spcBef>
              <a:buClr>
                <a:srgbClr val="FF0000"/>
              </a:buClr>
              <a:buChar char="√"/>
              <a:defRPr sz="1800"/>
            </a:pPr>
            <a:r>
              <a:rPr sz="2400">
                <a:solidFill>
                  <a:srgbClr val="FF0000"/>
                </a:solidFill>
              </a:rPr>
              <a:t>83% of monitoring system</a:t>
            </a:r>
            <a:endParaRPr sz="2800"/>
          </a:p>
          <a:p>
            <a:pPr marL="1019855" lvl="1" indent="-310242">
              <a:spcBef>
                <a:spcPts val="2400"/>
              </a:spcBef>
              <a:buClr>
                <a:srgbClr val="FF0000"/>
              </a:buClr>
              <a:buChar char="√"/>
              <a:defRPr sz="1800"/>
            </a:pPr>
            <a:r>
              <a:rPr sz="2400">
                <a:solidFill>
                  <a:srgbClr val="FF0000"/>
                </a:solidFill>
              </a:rPr>
              <a:t>62% of continuous surveillance system</a:t>
            </a:r>
          </a:p>
        </p:txBody>
      </p:sp>
      <p:sp>
        <p:nvSpPr>
          <p:cNvPr id="72" name="Shape 72"/>
          <p:cNvSpPr/>
          <p:nvPr/>
        </p:nvSpPr>
        <p:spPr>
          <a:xfrm>
            <a:off x="722922" y="-39077"/>
            <a:ext cx="8577386" cy="6883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4000" b="1">
                <a:solidFill>
                  <a:srgbClr val="FF0000"/>
                </a:solidFill>
              </a:defRPr>
            </a:lvl1pPr>
          </a:lstStyle>
          <a:p>
            <a:pPr lvl="0">
              <a:defRPr sz="1800" b="0">
                <a:solidFill>
                  <a:srgbClr val="000000"/>
                </a:solidFill>
              </a:defRPr>
            </a:pPr>
            <a:r>
              <a:rPr sz="4000" b="1">
                <a:solidFill>
                  <a:srgbClr val="FF0000"/>
                </a:solidFill>
              </a:rPr>
              <a:t>Monitoring capacity</a:t>
            </a:r>
          </a:p>
        </p:txBody>
      </p:sp>
      <p:sp>
        <p:nvSpPr>
          <p:cNvPr id="73" name="Shape 7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74" name="Shape 7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pic>
        <p:nvPicPr>
          <p:cNvPr id="75" name="image8.jpg" descr="anacim.jpg"/>
          <p:cNvPicPr/>
          <p:nvPr/>
        </p:nvPicPr>
        <p:blipFill>
          <a:blip r:embed="rId2">
            <a:extLst/>
          </a:blip>
          <a:stretch>
            <a:fillRect/>
          </a:stretch>
        </p:blipFill>
        <p:spPr>
          <a:xfrm>
            <a:off x="6324112" y="4524702"/>
            <a:ext cx="2552701" cy="1790701"/>
          </a:xfrm>
          <a:prstGeom prst="rect">
            <a:avLst/>
          </a:prstGeom>
          <a:ln w="12700">
            <a:miter lim="400000"/>
          </a:ln>
        </p:spPr>
      </p:pic>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Shape 77"/>
          <p:cNvSpPr>
            <a:spLocks noGrp="1"/>
          </p:cNvSpPr>
          <p:nvPr>
            <p:ph type="body" idx="1"/>
          </p:nvPr>
        </p:nvSpPr>
        <p:spPr>
          <a:xfrm>
            <a:off x="204951" y="1111469"/>
            <a:ext cx="4243552" cy="4525963"/>
          </a:xfrm>
          <a:prstGeom prst="rect">
            <a:avLst/>
          </a:prstGeom>
        </p:spPr>
        <p:txBody>
          <a:bodyPr/>
          <a:lstStyle/>
          <a:p>
            <a:pPr marL="361950" lvl="0" indent="-361950">
              <a:buClr>
                <a:srgbClr val="FF0000"/>
              </a:buClr>
              <a:buFont typeface="Wingdings"/>
              <a:buChar char="❖"/>
              <a:defRPr sz="1800"/>
            </a:pPr>
            <a:endParaRPr sz="2000">
              <a:solidFill>
                <a:srgbClr val="FF0000"/>
              </a:solidFill>
            </a:endParaRPr>
          </a:p>
          <a:p>
            <a:pPr marL="310242" lvl="0" indent="-310242">
              <a:spcBef>
                <a:spcPts val="500"/>
              </a:spcBef>
              <a:buClr>
                <a:srgbClr val="FF0000"/>
              </a:buClr>
              <a:buFont typeface="Wingdings"/>
              <a:buChar char="❖"/>
              <a:defRPr sz="1800"/>
            </a:pPr>
            <a:r>
              <a:rPr sz="2400">
                <a:solidFill>
                  <a:srgbClr val="FF0000"/>
                </a:solidFill>
              </a:rPr>
              <a:t>32 companies </a:t>
            </a:r>
            <a:r>
              <a:rPr sz="2400"/>
              <a:t>serve Dakar</a:t>
            </a:r>
          </a:p>
          <a:p>
            <a:pPr marL="361950" lvl="0" indent="-361950">
              <a:buFont typeface="Wingdings"/>
              <a:buChar char="❖"/>
              <a:defRPr sz="1800"/>
            </a:pPr>
            <a:endParaRPr sz="2400"/>
          </a:p>
          <a:p>
            <a:pPr marL="1071562" lvl="1" indent="-346075">
              <a:spcBef>
                <a:spcPts val="500"/>
              </a:spcBef>
              <a:buFont typeface="Wingdings"/>
              <a:buChar char="✓"/>
              <a:tabLst>
                <a:tab pos="723900" algn="l"/>
              </a:tabLst>
              <a:defRPr sz="1800"/>
            </a:pPr>
            <a:r>
              <a:rPr sz="2400"/>
              <a:t>27 regular</a:t>
            </a:r>
          </a:p>
          <a:p>
            <a:pPr marL="1071562" lvl="1" indent="-346075">
              <a:spcBef>
                <a:spcPts val="500"/>
              </a:spcBef>
              <a:buFont typeface="Wingdings"/>
              <a:buChar char="✓"/>
              <a:tabLst>
                <a:tab pos="723900" algn="l"/>
              </a:tabLst>
              <a:defRPr sz="1800"/>
            </a:pPr>
            <a:r>
              <a:rPr sz="2400"/>
              <a:t>02 charters</a:t>
            </a:r>
          </a:p>
          <a:p>
            <a:pPr marL="1071562" lvl="1" indent="-346075">
              <a:spcBef>
                <a:spcPts val="500"/>
              </a:spcBef>
              <a:buFont typeface="Wingdings"/>
              <a:buChar char="✓"/>
              <a:tabLst>
                <a:tab pos="723900" algn="l"/>
              </a:tabLst>
              <a:defRPr sz="1800"/>
            </a:pPr>
            <a:r>
              <a:rPr sz="2400"/>
              <a:t>03 cargo</a:t>
            </a:r>
          </a:p>
        </p:txBody>
      </p:sp>
      <p:sp>
        <p:nvSpPr>
          <p:cNvPr id="78" name="Shape 78"/>
          <p:cNvSpPr/>
          <p:nvPr/>
        </p:nvSpPr>
        <p:spPr>
          <a:xfrm>
            <a:off x="4648198" y="1252099"/>
            <a:ext cx="4388298" cy="296418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361950" lvl="0" indent="-361950">
              <a:spcBef>
                <a:spcPts val="600"/>
              </a:spcBef>
              <a:buClr>
                <a:srgbClr val="FF0000"/>
              </a:buClr>
              <a:buSzPct val="100000"/>
              <a:buFont typeface="Wingdings"/>
              <a:buChar char="❖"/>
            </a:pPr>
            <a:endParaRPr sz="2000">
              <a:solidFill>
                <a:srgbClr val="FF0000"/>
              </a:solidFill>
            </a:endParaRPr>
          </a:p>
          <a:p>
            <a:pPr marL="258535" lvl="0" indent="-258535">
              <a:spcBef>
                <a:spcPts val="400"/>
              </a:spcBef>
              <a:buClr>
                <a:srgbClr val="FF0000"/>
              </a:buClr>
              <a:buSzPct val="100000"/>
              <a:buFont typeface="Wingdings"/>
              <a:buChar char="❖"/>
            </a:pPr>
            <a:r>
              <a:rPr sz="2000">
                <a:solidFill>
                  <a:srgbClr val="FF0000"/>
                </a:solidFill>
              </a:rPr>
              <a:t>58 bilateral agreements</a:t>
            </a:r>
            <a:r>
              <a:rPr sz="2000"/>
              <a:t> signed </a:t>
            </a:r>
            <a:endParaRPr sz="2800"/>
          </a:p>
          <a:p>
            <a:pPr marL="701675" lvl="1" indent="-301625">
              <a:spcBef>
                <a:spcPts val="400"/>
              </a:spcBef>
              <a:buClr>
                <a:srgbClr val="FF0000"/>
              </a:buClr>
              <a:buSzPct val="100000"/>
              <a:buFont typeface="Wingdings"/>
              <a:buChar char="à"/>
            </a:pPr>
            <a:r>
              <a:rPr sz="2000">
                <a:solidFill>
                  <a:srgbClr val="FF0000"/>
                </a:solidFill>
              </a:rPr>
              <a:t>32 in open sky </a:t>
            </a:r>
            <a:endParaRPr sz="2400"/>
          </a:p>
          <a:p>
            <a:pPr marL="1013883" lvl="1" indent="-288395">
              <a:spcBef>
                <a:spcPts val="400"/>
              </a:spcBef>
              <a:buSzPct val="100000"/>
              <a:buFont typeface="Wingdings"/>
              <a:buChar char="✓"/>
              <a:tabLst>
                <a:tab pos="723900" algn="l"/>
              </a:tabLst>
            </a:pPr>
            <a:r>
              <a:rPr sz="2000"/>
              <a:t>29 within Yamoussoukro declaration for liberalization of traffic in Africa,</a:t>
            </a:r>
            <a:endParaRPr sz="2400"/>
          </a:p>
          <a:p>
            <a:pPr marL="1013883" lvl="1" indent="-288395">
              <a:spcBef>
                <a:spcPts val="400"/>
              </a:spcBef>
              <a:buSzPct val="100000"/>
              <a:buFont typeface="Wingdings"/>
              <a:buChar char="✓"/>
              <a:tabLst>
                <a:tab pos="723900" algn="l"/>
              </a:tabLst>
            </a:pPr>
            <a:r>
              <a:rPr sz="2000"/>
              <a:t> 03 agreements with USA, Kuwait and  UAE.</a:t>
            </a:r>
          </a:p>
        </p:txBody>
      </p:sp>
      <p:sp>
        <p:nvSpPr>
          <p:cNvPr id="79" name="Shape 79"/>
          <p:cNvSpPr/>
          <p:nvPr/>
        </p:nvSpPr>
        <p:spPr>
          <a:xfrm>
            <a:off x="722922" y="-39077"/>
            <a:ext cx="8577386" cy="6883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4000" b="1">
                <a:solidFill>
                  <a:srgbClr val="FF0000"/>
                </a:solidFill>
              </a:defRPr>
            </a:lvl1pPr>
          </a:lstStyle>
          <a:p>
            <a:pPr lvl="0">
              <a:defRPr sz="1800" b="0">
                <a:solidFill>
                  <a:srgbClr val="000000"/>
                </a:solidFill>
              </a:defRPr>
            </a:pPr>
            <a:r>
              <a:rPr sz="4000" b="1">
                <a:solidFill>
                  <a:srgbClr val="FF0000"/>
                </a:solidFill>
              </a:rPr>
              <a:t>Dakar AIRPORT connections  </a:t>
            </a:r>
          </a:p>
        </p:txBody>
      </p:sp>
      <p:sp>
        <p:nvSpPr>
          <p:cNvPr id="80" name="Shape 80"/>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81" name="Shape 81"/>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pic>
        <p:nvPicPr>
          <p:cNvPr id="82" name="image9.jpg" descr="delta.jpg"/>
          <p:cNvPicPr/>
          <p:nvPr/>
        </p:nvPicPr>
        <p:blipFill>
          <a:blip r:embed="rId2">
            <a:extLst/>
          </a:blip>
          <a:stretch>
            <a:fillRect/>
          </a:stretch>
        </p:blipFill>
        <p:spPr>
          <a:xfrm>
            <a:off x="504497" y="4025462"/>
            <a:ext cx="2619376" cy="1752601"/>
          </a:xfrm>
          <a:prstGeom prst="rect">
            <a:avLst/>
          </a:prstGeom>
          <a:ln w="12700">
            <a:miter lim="400000"/>
          </a:ln>
        </p:spPr>
      </p:pic>
      <p:pic>
        <p:nvPicPr>
          <p:cNvPr id="83" name="image10.png" descr="sans-titre.png"/>
          <p:cNvPicPr/>
          <p:nvPr/>
        </p:nvPicPr>
        <p:blipFill>
          <a:blip r:embed="rId3">
            <a:extLst/>
          </a:blip>
          <a:stretch>
            <a:fillRect/>
          </a:stretch>
        </p:blipFill>
        <p:spPr>
          <a:xfrm>
            <a:off x="3936944" y="4920812"/>
            <a:ext cx="3663519" cy="1714501"/>
          </a:xfrm>
          <a:prstGeom prst="rect">
            <a:avLst/>
          </a:prstGeom>
          <a:ln w="12700">
            <a:miter lim="400000"/>
          </a:ln>
        </p:spPr>
      </p:pic>
    </p:spTree>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Shape 85"/>
          <p:cNvSpPr>
            <a:spLocks noGrp="1"/>
          </p:cNvSpPr>
          <p:nvPr>
            <p:ph type="body" idx="1"/>
          </p:nvPr>
        </p:nvSpPr>
        <p:spPr>
          <a:xfrm>
            <a:off x="252248" y="1040524"/>
            <a:ext cx="4395952" cy="4525963"/>
          </a:xfrm>
          <a:prstGeom prst="rect">
            <a:avLst/>
          </a:prstGeom>
        </p:spPr>
        <p:txBody>
          <a:bodyPr/>
          <a:lstStyle/>
          <a:p>
            <a:pPr marL="413657" lvl="0" indent="-413657">
              <a:spcBef>
                <a:spcPts val="700"/>
              </a:spcBef>
              <a:buClr>
                <a:srgbClr val="FF0000"/>
              </a:buClr>
              <a:buFont typeface="Wingdings"/>
              <a:buChar char="❖"/>
              <a:defRPr sz="1800"/>
            </a:pPr>
            <a:r>
              <a:rPr sz="3200">
                <a:solidFill>
                  <a:srgbClr val="FF0000"/>
                </a:solidFill>
              </a:rPr>
              <a:t>02 major Airlines:</a:t>
            </a:r>
          </a:p>
          <a:p>
            <a:pPr marL="361950" lvl="0" indent="-361950">
              <a:buSzTx/>
              <a:buNone/>
              <a:defRPr sz="1800"/>
            </a:pPr>
            <a:endParaRPr sz="3200">
              <a:solidFill>
                <a:srgbClr val="FF0000"/>
              </a:solidFill>
            </a:endParaRPr>
          </a:p>
          <a:p>
            <a:pPr marL="762000" lvl="1" indent="-361950">
              <a:spcBef>
                <a:spcPts val="500"/>
              </a:spcBef>
              <a:buClr>
                <a:srgbClr val="FF0000"/>
              </a:buClr>
              <a:buFont typeface="Wingdings"/>
              <a:buChar char="❖"/>
              <a:defRPr sz="1800"/>
            </a:pPr>
            <a:r>
              <a:rPr sz="2400">
                <a:solidFill>
                  <a:srgbClr val="FF0000"/>
                </a:solidFill>
              </a:rPr>
              <a:t>DELTA  : 04  frequencies, </a:t>
            </a:r>
            <a:endParaRPr sz="2400"/>
          </a:p>
          <a:p>
            <a:pPr marL="762000" lvl="1" indent="-361950">
              <a:spcBef>
                <a:spcPts val="500"/>
              </a:spcBef>
              <a:buClr>
                <a:srgbClr val="FF0000"/>
              </a:buClr>
              <a:buFont typeface="Wingdings"/>
              <a:buChar char="❖"/>
              <a:defRPr sz="1800"/>
            </a:pPr>
            <a:r>
              <a:rPr sz="2400">
                <a:solidFill>
                  <a:srgbClr val="FF0000"/>
                </a:solidFill>
              </a:rPr>
              <a:t>SAA: 12 frequencies</a:t>
            </a:r>
            <a:endParaRPr sz="2400"/>
          </a:p>
          <a:p>
            <a:pPr marL="762000" lvl="1" indent="-361950">
              <a:spcBef>
                <a:spcPts val="500"/>
              </a:spcBef>
              <a:buClr>
                <a:srgbClr val="FF0000"/>
              </a:buClr>
              <a:buFont typeface="Wingdings"/>
              <a:buChar char="❖"/>
              <a:defRPr sz="1800"/>
            </a:pPr>
            <a:endParaRPr sz="2400">
              <a:solidFill>
                <a:srgbClr val="FF0000"/>
              </a:solidFill>
            </a:endParaRPr>
          </a:p>
          <a:p>
            <a:pPr marL="361950" lvl="1" indent="38100">
              <a:buSzTx/>
              <a:buNone/>
              <a:defRPr sz="1800"/>
            </a:pPr>
            <a:r>
              <a:rPr sz="2800" b="1">
                <a:solidFill>
                  <a:srgbClr val="FF0000"/>
                </a:solidFill>
              </a:rPr>
              <a:t>LAST POINT OF DEPARTURE TO USA  </a:t>
            </a:r>
          </a:p>
        </p:txBody>
      </p:sp>
      <p:sp>
        <p:nvSpPr>
          <p:cNvPr id="86" name="Shape 86"/>
          <p:cNvSpPr/>
          <p:nvPr/>
        </p:nvSpPr>
        <p:spPr>
          <a:xfrm>
            <a:off x="4648200" y="1600200"/>
            <a:ext cx="4038600" cy="401066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244928" lvl="0" indent="-244928">
              <a:spcBef>
                <a:spcPts val="400"/>
              </a:spcBef>
              <a:buSzPct val="100000"/>
              <a:buFont typeface="Arial"/>
              <a:buChar char="•"/>
            </a:pPr>
            <a:r>
              <a:rPr sz="2000"/>
              <a:t>The establishment of a connection from Miami to Dakar could help :</a:t>
            </a:r>
            <a:endParaRPr sz="2800"/>
          </a:p>
          <a:p>
            <a:pPr marL="840845" lvl="1" indent="-288395">
              <a:spcBef>
                <a:spcPts val="400"/>
              </a:spcBef>
              <a:buSzPct val="100000"/>
              <a:buFont typeface="Wingdings"/>
              <a:buChar char="✓"/>
              <a:tabLst>
                <a:tab pos="723900" algn="l"/>
              </a:tabLst>
            </a:pPr>
            <a:r>
              <a:rPr sz="2000"/>
              <a:t>to </a:t>
            </a:r>
            <a:r>
              <a:rPr sz="2000">
                <a:solidFill>
                  <a:srgbClr val="FF0000"/>
                </a:solidFill>
              </a:rPr>
              <a:t>reach a touristic market </a:t>
            </a:r>
            <a:r>
              <a:rPr sz="2000"/>
              <a:t>composed by afro americans living in the south of USA</a:t>
            </a:r>
            <a:endParaRPr sz="2400"/>
          </a:p>
          <a:p>
            <a:pPr marL="840845" lvl="1" indent="-288395">
              <a:spcBef>
                <a:spcPts val="400"/>
              </a:spcBef>
              <a:buSzPct val="100000"/>
              <a:buFont typeface="Wingdings"/>
              <a:buChar char="✓"/>
              <a:tabLst>
                <a:tab pos="723900" algn="l"/>
              </a:tabLst>
            </a:pPr>
            <a:r>
              <a:rPr sz="2000"/>
              <a:t> and </a:t>
            </a:r>
            <a:r>
              <a:rPr sz="2000">
                <a:solidFill>
                  <a:srgbClr val="FF0000"/>
                </a:solidFill>
              </a:rPr>
              <a:t>impulse opportunies within AGOA agreements </a:t>
            </a:r>
            <a:r>
              <a:rPr sz="2000"/>
              <a:t>in terms of commercial exchange (Cargo Village within DISEZ closed to AIBD)</a:t>
            </a:r>
          </a:p>
        </p:txBody>
      </p:sp>
      <p:sp>
        <p:nvSpPr>
          <p:cNvPr id="87" name="Shape 87"/>
          <p:cNvSpPr/>
          <p:nvPr/>
        </p:nvSpPr>
        <p:spPr>
          <a:xfrm>
            <a:off x="722922" y="-39076"/>
            <a:ext cx="8577386" cy="6248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3600" b="1">
                <a:solidFill>
                  <a:srgbClr val="FF0000"/>
                </a:solidFill>
              </a:defRPr>
            </a:lvl1pPr>
          </a:lstStyle>
          <a:p>
            <a:pPr lvl="0">
              <a:defRPr sz="1800" b="0">
                <a:solidFill>
                  <a:srgbClr val="000000"/>
                </a:solidFill>
              </a:defRPr>
            </a:pPr>
            <a:r>
              <a:rPr sz="3600" b="1">
                <a:solidFill>
                  <a:srgbClr val="FF0000"/>
                </a:solidFill>
              </a:rPr>
              <a:t>Dakar AIRPORT connections with USA  </a:t>
            </a:r>
          </a:p>
        </p:txBody>
      </p:sp>
      <p:sp>
        <p:nvSpPr>
          <p:cNvPr id="88" name="Shape 88"/>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89" name="Shape 89"/>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pic>
        <p:nvPicPr>
          <p:cNvPr id="90" name="image11.jpg" descr="saa.jpg"/>
          <p:cNvPicPr/>
          <p:nvPr/>
        </p:nvPicPr>
        <p:blipFill>
          <a:blip r:embed="rId2">
            <a:extLst/>
          </a:blip>
          <a:stretch>
            <a:fillRect/>
          </a:stretch>
        </p:blipFill>
        <p:spPr>
          <a:xfrm>
            <a:off x="252247" y="5155424"/>
            <a:ext cx="2438401" cy="1702576"/>
          </a:xfrm>
          <a:prstGeom prst="rect">
            <a:avLst/>
          </a:prstGeom>
          <a:ln w="12700">
            <a:miter lim="400000"/>
          </a:ln>
        </p:spPr>
      </p:pic>
      <p:pic>
        <p:nvPicPr>
          <p:cNvPr id="91" name="image9.jpg" descr="delta.jpg"/>
          <p:cNvPicPr/>
          <p:nvPr/>
        </p:nvPicPr>
        <p:blipFill>
          <a:blip r:embed="rId3">
            <a:extLst/>
          </a:blip>
          <a:stretch>
            <a:fillRect/>
          </a:stretch>
        </p:blipFill>
        <p:spPr>
          <a:xfrm>
            <a:off x="2931135" y="5105400"/>
            <a:ext cx="2619376" cy="1752600"/>
          </a:xfrm>
          <a:prstGeom prst="rect">
            <a:avLst/>
          </a:prstGeom>
          <a:ln w="12700">
            <a:miter lim="400000"/>
          </a:ln>
        </p:spPr>
      </p:pic>
    </p:spTree>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Shape 93"/>
          <p:cNvSpPr/>
          <p:nvPr/>
        </p:nvSpPr>
        <p:spPr>
          <a:xfrm>
            <a:off x="722922" y="-39077"/>
            <a:ext cx="8577386" cy="6883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4000" b="1">
                <a:solidFill>
                  <a:srgbClr val="FF0000"/>
                </a:solidFill>
              </a:defRPr>
            </a:lvl1pPr>
          </a:lstStyle>
          <a:p>
            <a:pPr lvl="0">
              <a:defRPr sz="1800" b="0">
                <a:solidFill>
                  <a:srgbClr val="000000"/>
                </a:solidFill>
              </a:defRPr>
            </a:pPr>
            <a:r>
              <a:rPr sz="4000" b="1">
                <a:solidFill>
                  <a:srgbClr val="FF0000"/>
                </a:solidFill>
              </a:rPr>
              <a:t>Worldwide connected……</a:t>
            </a:r>
          </a:p>
        </p:txBody>
      </p:sp>
      <p:sp>
        <p:nvSpPr>
          <p:cNvPr id="94" name="Shape 94"/>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95" name="Shape 95"/>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
        <p:nvSpPr>
          <p:cNvPr id="96" name="Shape 96"/>
          <p:cNvSpPr>
            <a:spLocks noGrp="1"/>
          </p:cNvSpPr>
          <p:nvPr>
            <p:ph type="body" idx="1"/>
          </p:nvPr>
        </p:nvSpPr>
        <p:spPr>
          <a:xfrm>
            <a:off x="4648200" y="1600200"/>
            <a:ext cx="4038600" cy="4525963"/>
          </a:xfrm>
          <a:prstGeom prst="rect">
            <a:avLst/>
          </a:prstGeom>
        </p:spPr>
        <p:txBody>
          <a:bodyPr/>
          <a:lstStyle/>
          <a:p>
            <a:pPr lvl="0"/>
            <a:endParaRPr/>
          </a:p>
        </p:txBody>
      </p:sp>
      <p:pic>
        <p:nvPicPr>
          <p:cNvPr id="97" name="image12.png" descr="C:\Users\Pavilion\Documents\Présentation\Dakar et le reste du monde.png"/>
          <p:cNvPicPr/>
          <p:nvPr/>
        </p:nvPicPr>
        <p:blipFill>
          <a:blip r:embed="rId2">
            <a:extLst/>
          </a:blip>
          <a:stretch>
            <a:fillRect/>
          </a:stretch>
        </p:blipFill>
        <p:spPr>
          <a:xfrm>
            <a:off x="2897188" y="1268412"/>
            <a:ext cx="6246813" cy="4945064"/>
          </a:xfrm>
          <a:prstGeom prst="rect">
            <a:avLst/>
          </a:prstGeom>
          <a:ln w="12700">
            <a:miter lim="400000"/>
          </a:ln>
        </p:spPr>
      </p:pic>
      <p:sp>
        <p:nvSpPr>
          <p:cNvPr id="98" name="Shape 98"/>
          <p:cNvSpPr/>
          <p:nvPr/>
        </p:nvSpPr>
        <p:spPr>
          <a:xfrm>
            <a:off x="-1" y="1196974"/>
            <a:ext cx="2843215" cy="28473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lvl="0">
              <a:lnSpc>
                <a:spcPct val="200000"/>
              </a:lnSpc>
            </a:pPr>
            <a:r>
              <a:rPr sz="2000" b="1"/>
              <a:t>Strategic Position :</a:t>
            </a:r>
          </a:p>
          <a:p>
            <a:pPr lvl="0">
              <a:lnSpc>
                <a:spcPct val="200000"/>
              </a:lnSpc>
              <a:buSzPct val="100000"/>
              <a:buFont typeface="Arial"/>
              <a:buChar char="•"/>
            </a:pPr>
            <a:r>
              <a:rPr sz="1600"/>
              <a:t>Between Europe and America</a:t>
            </a:r>
          </a:p>
          <a:p>
            <a:pPr lvl="0">
              <a:lnSpc>
                <a:spcPct val="200000"/>
              </a:lnSpc>
              <a:buSzPct val="100000"/>
              <a:buFont typeface="Arial"/>
              <a:buChar char="•"/>
            </a:pPr>
            <a:r>
              <a:rPr sz="1600"/>
              <a:t>Between the Middle East and America</a:t>
            </a:r>
          </a:p>
          <a:p>
            <a:pPr lvl="0">
              <a:lnSpc>
                <a:spcPct val="200000"/>
              </a:lnSpc>
              <a:buSzPct val="100000"/>
              <a:buFont typeface="Arial"/>
              <a:buChar char="•"/>
            </a:pPr>
            <a:r>
              <a:rPr sz="1600"/>
              <a:t>Between Europe and the south of Africa</a:t>
            </a:r>
          </a:p>
        </p:txBody>
      </p:sp>
      <p:sp>
        <p:nvSpPr>
          <p:cNvPr id="99" name="Shape 99"/>
          <p:cNvSpPr/>
          <p:nvPr/>
        </p:nvSpPr>
        <p:spPr>
          <a:xfrm>
            <a:off x="358940" y="6213475"/>
            <a:ext cx="7561261" cy="383540"/>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000" b="1"/>
            </a:lvl1pPr>
          </a:lstStyle>
          <a:p>
            <a:pPr lvl="0">
              <a:defRPr sz="1800" b="0"/>
            </a:pPr>
            <a:r>
              <a:rPr sz="2000" b="1"/>
              <a:t>SENEGAL:  JUST A FEW HOURS FROM THE REST OF THE WORLD  </a:t>
            </a:r>
          </a:p>
        </p:txBody>
      </p:sp>
    </p:spTree>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africa_map_3.jpg"/>
          <p:cNvPicPr>
            <a:picLocks noChangeAspect="1" noChangeArrowheads="1"/>
          </p:cNvPicPr>
          <p:nvPr/>
        </p:nvPicPr>
        <p:blipFill>
          <a:blip r:embed="rId2" cstate="print"/>
          <a:srcRect/>
          <a:stretch>
            <a:fillRect/>
          </a:stretch>
        </p:blipFill>
        <p:spPr bwMode="auto">
          <a:xfrm>
            <a:off x="214123" y="2536664"/>
            <a:ext cx="3234003" cy="3024336"/>
          </a:xfrm>
          <a:prstGeom prst="rect">
            <a:avLst/>
          </a:prstGeom>
          <a:noFill/>
          <a:ln w="9525">
            <a:noFill/>
            <a:miter lim="800000"/>
            <a:headEnd/>
            <a:tailEnd/>
          </a:ln>
        </p:spPr>
      </p:pic>
      <p:sp>
        <p:nvSpPr>
          <p:cNvPr id="8" name="Espace réservé du contenu 2"/>
          <p:cNvSpPr txBox="1">
            <a:spLocks/>
          </p:cNvSpPr>
          <p:nvPr/>
        </p:nvSpPr>
        <p:spPr>
          <a:xfrm>
            <a:off x="3275856" y="2708920"/>
            <a:ext cx="5868144" cy="3574621"/>
          </a:xfrm>
          <a:prstGeom prst="rect">
            <a:avLst/>
          </a:prstGeom>
        </p:spPr>
        <p:txBody>
          <a:bodyPr vert="horz">
            <a:noAutofit/>
          </a:bodyPr>
          <a:lstStyle/>
          <a:p>
            <a:pPr marL="365760" marR="0" lvl="0" indent="-256032" algn="l" defTabSz="914400" rtl="0" eaLnBrk="1" fontAlgn="auto" latinLnBrk="0" hangingPunct="1">
              <a:lnSpc>
                <a:spcPct val="100000"/>
              </a:lnSpc>
              <a:spcBef>
                <a:spcPts val="300"/>
              </a:spcBef>
              <a:spcAft>
                <a:spcPts val="0"/>
              </a:spcAft>
              <a:buClr>
                <a:schemeClr val="accent3"/>
              </a:buClr>
              <a:buSzTx/>
              <a:buFont typeface="Georgia"/>
              <a:buChar char="•"/>
              <a:tabLst/>
              <a:defRPr/>
            </a:pPr>
            <a:r>
              <a:rPr lang="en-US" sz="2000" dirty="0"/>
              <a:t>P</a:t>
            </a:r>
            <a:r>
              <a:rPr lang="en-US" sz="2000" dirty="0" smtClean="0"/>
              <a:t>opulation </a:t>
            </a:r>
          </a:p>
          <a:p>
            <a:pPr marL="822960" lvl="1" indent="-256032" defTabSz="914400">
              <a:spcBef>
                <a:spcPts val="300"/>
              </a:spcBef>
              <a:buClr>
                <a:schemeClr val="accent3"/>
              </a:buClr>
              <a:buFont typeface="Georgia"/>
              <a:buChar char="•"/>
              <a:defRPr/>
            </a:pPr>
            <a:r>
              <a:rPr lang="en-US" sz="2000" b="1" dirty="0" smtClean="0">
                <a:solidFill>
                  <a:srgbClr val="FF0000"/>
                </a:solidFill>
              </a:rPr>
              <a:t>&gt;</a:t>
            </a:r>
            <a:r>
              <a:rPr lang="en-US" sz="2000" dirty="0" smtClean="0"/>
              <a:t> China’s Population in </a:t>
            </a:r>
            <a:r>
              <a:rPr lang="en-US" sz="2000" b="1" dirty="0" smtClean="0">
                <a:solidFill>
                  <a:srgbClr val="0070C0"/>
                </a:solidFill>
              </a:rPr>
              <a:t>2020</a:t>
            </a:r>
            <a:r>
              <a:rPr lang="en-US" sz="2000" dirty="0" smtClean="0"/>
              <a:t> </a:t>
            </a:r>
            <a:r>
              <a:rPr lang="fr-FR" sz="2000" dirty="0" smtClean="0"/>
              <a:t>, </a:t>
            </a:r>
          </a:p>
          <a:p>
            <a:pPr marL="822960" lvl="1" indent="-256032" defTabSz="914400">
              <a:spcBef>
                <a:spcPts val="300"/>
              </a:spcBef>
              <a:buClr>
                <a:schemeClr val="accent3"/>
              </a:buClr>
              <a:buFont typeface="Georgia"/>
              <a:buChar char="•"/>
              <a:defRPr/>
            </a:pPr>
            <a:r>
              <a:rPr lang="en-US" sz="2000" b="1" dirty="0" smtClean="0">
                <a:solidFill>
                  <a:srgbClr val="FF0000"/>
                </a:solidFill>
              </a:rPr>
              <a:t>1.5 billion </a:t>
            </a:r>
            <a:r>
              <a:rPr lang="en-US" sz="2000" dirty="0"/>
              <a:t>i</a:t>
            </a:r>
            <a:r>
              <a:rPr lang="en-US" sz="2000" dirty="0" smtClean="0"/>
              <a:t>n</a:t>
            </a:r>
            <a:r>
              <a:rPr lang="en-US" sz="2000" dirty="0" smtClean="0">
                <a:solidFill>
                  <a:srgbClr val="FF0000"/>
                </a:solidFill>
              </a:rPr>
              <a:t> </a:t>
            </a:r>
            <a:r>
              <a:rPr lang="en-US" sz="2000" b="1" dirty="0" smtClean="0">
                <a:solidFill>
                  <a:srgbClr val="0070C0"/>
                </a:solidFill>
              </a:rPr>
              <a:t>2030</a:t>
            </a:r>
            <a:r>
              <a:rPr lang="en-US" sz="2000" dirty="0" smtClean="0">
                <a:solidFill>
                  <a:srgbClr val="0070C0"/>
                </a:solidFill>
              </a:rPr>
              <a:t> </a:t>
            </a:r>
            <a:endParaRPr lang="en-US" sz="2000" dirty="0" smtClean="0"/>
          </a:p>
          <a:p>
            <a:pPr marL="822960" lvl="1" indent="-256032" defTabSz="914400">
              <a:spcBef>
                <a:spcPts val="300"/>
              </a:spcBef>
              <a:buClr>
                <a:schemeClr val="accent3"/>
              </a:buClr>
              <a:buFont typeface="Georgia"/>
              <a:buChar char="•"/>
              <a:defRPr/>
            </a:pPr>
            <a:r>
              <a:rPr lang="en-US" sz="2000" b="1" dirty="0" smtClean="0">
                <a:solidFill>
                  <a:srgbClr val="FF0000"/>
                </a:solidFill>
              </a:rPr>
              <a:t>2.1 billions  </a:t>
            </a:r>
            <a:r>
              <a:rPr lang="en-US" sz="2000" dirty="0"/>
              <a:t>i</a:t>
            </a:r>
            <a:r>
              <a:rPr lang="en-US" sz="2000" dirty="0" smtClean="0"/>
              <a:t>n</a:t>
            </a:r>
            <a:r>
              <a:rPr lang="en-US" sz="2000" b="1" dirty="0" smtClean="0">
                <a:solidFill>
                  <a:srgbClr val="0070C0"/>
                </a:solidFill>
              </a:rPr>
              <a:t>2050</a:t>
            </a:r>
            <a:endParaRPr lang="en-US" sz="2000" b="1" dirty="0" smtClean="0">
              <a:solidFill>
                <a:srgbClr val="FF0000"/>
              </a:solidFill>
            </a:endParaRPr>
          </a:p>
          <a:p>
            <a:pPr marL="365760" marR="0" lvl="0" indent="-256032" algn="l" defTabSz="914400" rtl="0" eaLnBrk="1" fontAlgn="auto" latinLnBrk="0" hangingPunct="1">
              <a:lnSpc>
                <a:spcPct val="100000"/>
              </a:lnSpc>
              <a:spcBef>
                <a:spcPts val="300"/>
              </a:spcBef>
              <a:spcAft>
                <a:spcPts val="0"/>
              </a:spcAft>
              <a:buClr>
                <a:schemeClr val="accent3"/>
              </a:buClr>
              <a:buSzTx/>
              <a:buFont typeface="Georgia"/>
              <a:buNone/>
              <a:tabLst/>
              <a:defRPr/>
            </a:pPr>
            <a:endParaRPr kumimoji="0" lang="en-US" sz="1100" b="0" i="0" u="none" strike="noStrike" kern="1200" cap="none" spc="0" normalizeH="0" baseline="0" noProof="0" dirty="0" smtClean="0">
              <a:ln>
                <a:noFill/>
              </a:ln>
              <a:solidFill>
                <a:srgbClr val="FF0000"/>
              </a:solidFill>
              <a:effectLst/>
              <a:uLnTx/>
              <a:uFillTx/>
              <a:latin typeface="+mn-lt"/>
              <a:ea typeface="+mn-ea"/>
              <a:cs typeface="+mn-cs"/>
            </a:endParaRPr>
          </a:p>
          <a:p>
            <a:pPr marL="365760" lvl="0" indent="-256032" defTabSz="914400">
              <a:spcBef>
                <a:spcPts val="300"/>
              </a:spcBef>
              <a:buClr>
                <a:schemeClr val="accent3"/>
              </a:buClr>
              <a:buFont typeface="Georgia"/>
              <a:buChar char="•"/>
              <a:defRPr/>
            </a:pPr>
            <a:r>
              <a:rPr lang="en-US" sz="2000" b="1" dirty="0">
                <a:solidFill>
                  <a:srgbClr val="FF0000"/>
                </a:solidFill>
              </a:rPr>
              <a:t>75</a:t>
            </a:r>
            <a:r>
              <a:rPr lang="en-US" sz="2000" b="1" dirty="0" smtClean="0">
                <a:solidFill>
                  <a:srgbClr val="FF0000"/>
                </a:solidFill>
              </a:rPr>
              <a:t>%  </a:t>
            </a:r>
            <a:r>
              <a:rPr lang="en-US" sz="2000" dirty="0" smtClean="0">
                <a:solidFill>
                  <a:srgbClr val="000000"/>
                </a:solidFill>
              </a:rPr>
              <a:t>Educated</a:t>
            </a:r>
            <a:r>
              <a:rPr lang="en-US" sz="2000" b="1" dirty="0" smtClean="0">
                <a:solidFill>
                  <a:srgbClr val="FF0000"/>
                </a:solidFill>
              </a:rPr>
              <a:t>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Population</a:t>
            </a:r>
            <a:r>
              <a:rPr kumimoji="0" lang="en-US" sz="2000" b="0" i="0" u="none" strike="noStrike" kern="1200" cap="none" spc="0" normalizeH="0" noProof="0" dirty="0" smtClean="0">
                <a:ln>
                  <a:noFill/>
                </a:ln>
                <a:solidFill>
                  <a:schemeClr val="tx1"/>
                </a:solidFill>
                <a:effectLst/>
                <a:uLnTx/>
                <a:uFillTx/>
                <a:latin typeface="+mn-lt"/>
                <a:ea typeface="+mn-ea"/>
                <a:cs typeface="+mn-cs"/>
              </a:rPr>
              <a:t> i</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n </a:t>
            </a:r>
            <a:r>
              <a:rPr lang="en-US" sz="2000" b="1" dirty="0" smtClean="0">
                <a:solidFill>
                  <a:srgbClr val="0070C0"/>
                </a:solidFill>
              </a:rPr>
              <a:t>2020</a:t>
            </a:r>
            <a:r>
              <a:rPr lang="en-US" sz="2000" dirty="0" smtClean="0"/>
              <a:t> </a:t>
            </a:r>
            <a:endParaRPr kumimoji="0" lang="en-US" sz="1200" b="0" i="0" u="none" strike="noStrike" kern="1200" cap="none" spc="0" normalizeH="0" baseline="0" noProof="0" dirty="0" smtClean="0">
              <a:ln>
                <a:noFill/>
              </a:ln>
              <a:solidFill>
                <a:srgbClr val="FF0000"/>
              </a:solidFill>
              <a:effectLst/>
              <a:uLnTx/>
              <a:uFillTx/>
              <a:latin typeface="+mn-lt"/>
              <a:ea typeface="+mn-ea"/>
              <a:cs typeface="+mn-cs"/>
            </a:endParaRPr>
          </a:p>
          <a:p>
            <a:pPr marL="365760" indent="-256032">
              <a:spcBef>
                <a:spcPts val="300"/>
              </a:spcBef>
              <a:buClr>
                <a:schemeClr val="accent3"/>
              </a:buClr>
              <a:buFont typeface="Georgia"/>
              <a:buChar char="•"/>
            </a:pPr>
            <a:endParaRPr lang="en-US" sz="1000" dirty="0" smtClean="0">
              <a:solidFill>
                <a:srgbClr val="FF0000"/>
              </a:solidFill>
            </a:endParaRPr>
          </a:p>
          <a:p>
            <a:pPr marL="365760" indent="-256032">
              <a:spcBef>
                <a:spcPts val="300"/>
              </a:spcBef>
              <a:buClr>
                <a:schemeClr val="accent3"/>
              </a:buClr>
              <a:buFont typeface="Georgia"/>
              <a:buChar char="•"/>
            </a:pPr>
            <a:r>
              <a:rPr lang="en-US" sz="2000" b="1" dirty="0">
                <a:solidFill>
                  <a:srgbClr val="FF0000"/>
                </a:solidFill>
              </a:rPr>
              <a:t>$ 1.4 </a:t>
            </a:r>
            <a:r>
              <a:rPr lang="en-US" sz="2000" b="1" dirty="0" smtClean="0">
                <a:solidFill>
                  <a:srgbClr val="FF0000"/>
                </a:solidFill>
              </a:rPr>
              <a:t>trillion </a:t>
            </a:r>
            <a:r>
              <a:rPr lang="en-US" sz="2000" dirty="0" smtClean="0"/>
              <a:t>Consuming expenses in </a:t>
            </a:r>
            <a:r>
              <a:rPr lang="en-US" sz="2000" b="1" dirty="0" smtClean="0">
                <a:solidFill>
                  <a:srgbClr val="0070C0"/>
                </a:solidFill>
              </a:rPr>
              <a:t>2020</a:t>
            </a:r>
            <a:r>
              <a:rPr lang="en-US" sz="2000" dirty="0" smtClean="0">
                <a:solidFill>
                  <a:srgbClr val="0070C0"/>
                </a:solidFill>
              </a:rPr>
              <a:t> </a:t>
            </a:r>
            <a:endParaRPr lang="en-US" sz="2000" dirty="0" smtClean="0">
              <a:solidFill>
                <a:srgbClr val="FF0000"/>
              </a:solidFill>
            </a:endParaRPr>
          </a:p>
          <a:p>
            <a:pPr marL="365760" marR="0" lvl="0" indent="-256032" algn="l" defTabSz="914400" rtl="0" eaLnBrk="1" fontAlgn="auto" latinLnBrk="0" hangingPunct="1">
              <a:lnSpc>
                <a:spcPct val="100000"/>
              </a:lnSpc>
              <a:spcBef>
                <a:spcPts val="300"/>
              </a:spcBef>
              <a:spcAft>
                <a:spcPts val="0"/>
              </a:spcAft>
              <a:buClr>
                <a:schemeClr val="accent3"/>
              </a:buClr>
              <a:buSzTx/>
              <a:buFont typeface="Georgia"/>
              <a:buNone/>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p>
            <a:pPr marL="365760" lvl="0" indent="-256032" defTabSz="914400">
              <a:spcBef>
                <a:spcPts val="300"/>
              </a:spcBef>
              <a:buClr>
                <a:schemeClr val="accent3"/>
              </a:buClr>
              <a:buFont typeface="Georgia"/>
              <a:buChar char="•"/>
              <a:defRPr/>
            </a:pPr>
            <a:r>
              <a:rPr lang="en-US" sz="2000" b="1" dirty="0">
                <a:solidFill>
                  <a:srgbClr val="FF0000"/>
                </a:solidFill>
              </a:rPr>
              <a:t>8</a:t>
            </a:r>
            <a:r>
              <a:rPr lang="en-US" sz="2000" b="1" dirty="0" smtClean="0">
                <a:solidFill>
                  <a:srgbClr val="FF0000"/>
                </a:solidFill>
              </a:rPr>
              <a:t>% </a:t>
            </a:r>
            <a:r>
              <a:rPr kumimoji="0" lang="en-US" sz="2000" b="0" i="0" u="none" strike="noStrike" kern="1200" cap="none" spc="0" normalizeH="0" baseline="0" noProof="0" dirty="0" smtClean="0">
                <a:ln>
                  <a:noFill/>
                </a:ln>
                <a:solidFill>
                  <a:schemeClr val="tx1"/>
                </a:solidFill>
                <a:effectLst/>
                <a:uLnTx/>
                <a:uFillTx/>
                <a:latin typeface="+mn-lt"/>
                <a:ea typeface="+mn-ea"/>
                <a:cs typeface="+mn-cs"/>
              </a:rPr>
              <a:t>growth rate in </a:t>
            </a:r>
            <a:r>
              <a:rPr lang="en-US" sz="2000" b="1" dirty="0" smtClean="0">
                <a:solidFill>
                  <a:srgbClr val="0070C0"/>
                </a:solidFill>
              </a:rPr>
              <a:t>2020</a:t>
            </a:r>
            <a:endParaRPr kumimoji="0" lang="en-US" sz="2000" b="0" i="0" u="none" strike="noStrike" kern="1200" cap="none" spc="0" normalizeH="0" baseline="0" noProof="0" dirty="0" smtClean="0">
              <a:ln>
                <a:noFill/>
              </a:ln>
              <a:solidFill>
                <a:srgbClr val="FF0000"/>
              </a:solidFill>
              <a:effectLst/>
              <a:uLnTx/>
              <a:uFillTx/>
              <a:latin typeface="+mn-lt"/>
              <a:ea typeface="+mn-ea"/>
              <a:cs typeface="+mn-cs"/>
            </a:endParaRPr>
          </a:p>
          <a:p>
            <a:pPr marL="365760" marR="0" lvl="0" indent="-256032" algn="l" defTabSz="914400" rtl="0" eaLnBrk="1" fontAlgn="auto" latinLnBrk="0" hangingPunct="1">
              <a:lnSpc>
                <a:spcPct val="100000"/>
              </a:lnSpc>
              <a:spcBef>
                <a:spcPts val="300"/>
              </a:spcBef>
              <a:spcAft>
                <a:spcPts val="0"/>
              </a:spcAft>
              <a:buClr>
                <a:schemeClr val="accent3"/>
              </a:buClr>
              <a:buSzTx/>
              <a:buFont typeface="Georgia"/>
              <a:buChar char="•"/>
              <a:tabLst/>
              <a:defRPr/>
            </a:pPr>
            <a:endParaRPr kumimoji="0" lang="fr-FR" sz="2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0" name="Rectangle 9"/>
          <p:cNvSpPr/>
          <p:nvPr/>
        </p:nvSpPr>
        <p:spPr>
          <a:xfrm>
            <a:off x="722922" y="0"/>
            <a:ext cx="8577386" cy="769441"/>
          </a:xfrm>
          <a:prstGeom prst="rect">
            <a:avLst/>
          </a:prstGeom>
        </p:spPr>
        <p:txBody>
          <a:bodyPr wrap="square">
            <a:spAutoFit/>
          </a:bodyPr>
          <a:lstStyle/>
          <a:p>
            <a:r>
              <a:rPr lang="fr-FR" sz="4400" b="1" dirty="0" err="1" smtClean="0">
                <a:solidFill>
                  <a:srgbClr val="FF0000"/>
                </a:solidFill>
                <a:cs typeface="Arial" pitchFamily="34" charset="0"/>
              </a:rPr>
              <a:t>Africa</a:t>
            </a:r>
            <a:r>
              <a:rPr lang="fr-FR" sz="4400" b="1" dirty="0" smtClean="0">
                <a:solidFill>
                  <a:srgbClr val="FF0000"/>
                </a:solidFill>
                <a:cs typeface="Arial" pitchFamily="34" charset="0"/>
              </a:rPr>
              <a:t>, a land of  future</a:t>
            </a:r>
            <a:endParaRPr lang="fr-FR" sz="4400" b="1" dirty="0" smtClean="0">
              <a:solidFill>
                <a:srgbClr val="AB0000"/>
              </a:solidFill>
              <a:cs typeface="Arial" pitchFamily="34" charset="0"/>
            </a:endParaRPr>
          </a:p>
        </p:txBody>
      </p:sp>
      <p:sp>
        <p:nvSpPr>
          <p:cNvPr id="11" name="Titre 2"/>
          <p:cNvSpPr txBox="1">
            <a:spLocks/>
          </p:cNvSpPr>
          <p:nvPr/>
        </p:nvSpPr>
        <p:spPr>
          <a:xfrm>
            <a:off x="3286975" y="1843083"/>
            <a:ext cx="5749521" cy="649813"/>
          </a:xfrm>
          <a:prstGeom prst="rect">
            <a:avLst/>
          </a:prstGeom>
          <a:noFill/>
        </p:spPr>
        <p:txBody>
          <a:bodyPr vert="horz" anchor="ctr">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r>
              <a:rPr lang="en-US" sz="3200" b="1" dirty="0" smtClean="0">
                <a:solidFill>
                  <a:schemeClr val="tx1"/>
                </a:solidFill>
                <a:effectLst>
                  <a:outerShdw blurRad="38100" dist="38100" dir="2700000" algn="tl">
                    <a:srgbClr val="000000">
                      <a:alpha val="43137"/>
                    </a:srgbClr>
                  </a:outerShdw>
                </a:effectLst>
              </a:rPr>
              <a:t>Demographical Challenge</a:t>
            </a:r>
            <a:endParaRPr lang="fr-FR" sz="3200" dirty="0">
              <a:solidFill>
                <a:schemeClr val="tx1"/>
              </a:solidFill>
            </a:endParaRPr>
          </a:p>
        </p:txBody>
      </p:sp>
      <p:sp>
        <p:nvSpPr>
          <p:cNvPr id="5" name="ZoneTexte 4"/>
          <p:cNvSpPr txBox="1"/>
          <p:nvPr/>
        </p:nvSpPr>
        <p:spPr>
          <a:xfrm>
            <a:off x="8748464" y="897687"/>
            <a:ext cx="184731" cy="646331"/>
          </a:xfrm>
          <a:prstGeom prst="rect">
            <a:avLst/>
          </a:prstGeom>
          <a:noFill/>
        </p:spPr>
        <p:txBody>
          <a:bodyPr wrap="none" rtlCol="0">
            <a:spAutoFit/>
          </a:bodyPr>
          <a:lstStyle/>
          <a:p>
            <a:endParaRPr lang="fr-FR" dirty="0" smtClean="0"/>
          </a:p>
          <a:p>
            <a:endParaRPr lang="fr-FR" dirty="0"/>
          </a:p>
        </p:txBody>
      </p:sp>
      <p:sp>
        <p:nvSpPr>
          <p:cNvPr id="3" name="Rectangle 2"/>
          <p:cNvSpPr/>
          <p:nvPr/>
        </p:nvSpPr>
        <p:spPr>
          <a:xfrm>
            <a:off x="722922" y="897687"/>
            <a:ext cx="8421078"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4" name="Rectangle 3"/>
          <p:cNvSpPr/>
          <p:nvPr/>
        </p:nvSpPr>
        <p:spPr>
          <a:xfrm>
            <a:off x="555624" y="956748"/>
            <a:ext cx="3352067" cy="646331"/>
          </a:xfrm>
          <a:prstGeom prst="rect">
            <a:avLst/>
          </a:prstGeom>
        </p:spPr>
        <p:txBody>
          <a:bodyPr wrap="square">
            <a:spAutoFit/>
          </a:bodyPr>
          <a:lstStyle/>
          <a:p>
            <a:r>
              <a:rPr lang="fr-FR" sz="3600" b="1" dirty="0" smtClean="0">
                <a:cs typeface="Arial" pitchFamily="34" charset="0"/>
              </a:rPr>
              <a:t> Perspectives </a:t>
            </a:r>
            <a:endParaRPr lang="fr-FR" sz="1400" b="1" dirty="0"/>
          </a:p>
        </p:txBody>
      </p:sp>
      <p:sp>
        <p:nvSpPr>
          <p:cNvPr id="14" name="Ellipse 13"/>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3227760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25"/>
          <p:cNvGrpSpPr/>
          <p:nvPr/>
        </p:nvGrpSpPr>
        <p:grpSpPr>
          <a:xfrm>
            <a:off x="320720" y="1352710"/>
            <a:ext cx="3501747" cy="3660466"/>
            <a:chOff x="5390866" y="984294"/>
            <a:chExt cx="3493836" cy="3150979"/>
          </a:xfrm>
        </p:grpSpPr>
        <p:sp>
          <p:nvSpPr>
            <p:cNvPr id="27" name="Content Placeholder 2"/>
            <p:cNvSpPr txBox="1">
              <a:spLocks/>
            </p:cNvSpPr>
            <p:nvPr/>
          </p:nvSpPr>
          <p:spPr>
            <a:xfrm>
              <a:off x="5390866" y="1409749"/>
              <a:ext cx="3493836" cy="2725524"/>
            </a:xfrm>
            <a:prstGeom prst="rect">
              <a:avLst/>
            </a:prstGeom>
            <a:ln/>
          </p:spPr>
          <p:style>
            <a:lnRef idx="2">
              <a:schemeClr val="accent2"/>
            </a:lnRef>
            <a:fillRef idx="1">
              <a:schemeClr val="lt1"/>
            </a:fillRef>
            <a:effectRef idx="0">
              <a:schemeClr val="accent2"/>
            </a:effectRef>
            <a:fontRef idx="minor">
              <a:schemeClr val="dk1"/>
            </a:fontRef>
          </p:style>
          <p:txBody>
            <a:bodyPr vert="horz" lIns="91440" tIns="45720" rIns="91440" bIns="45720" rtlCol="0">
              <a:normAutofit/>
            </a:bodyPr>
            <a:lstStyle/>
            <a:p>
              <a:pPr marL="355600" indent="-260350">
                <a:spcBef>
                  <a:spcPct val="20000"/>
                </a:spcBef>
                <a:spcAft>
                  <a:spcPts val="1200"/>
                </a:spcAft>
                <a:buFont typeface="Arial"/>
                <a:buChar char="•"/>
                <a:defRPr/>
              </a:pPr>
              <a:r>
                <a:rPr lang="fr-FR" b="1" dirty="0" err="1" smtClean="0">
                  <a:solidFill>
                    <a:srgbClr val="C00000"/>
                  </a:solidFill>
                  <a:effectLst>
                    <a:outerShdw blurRad="38100" dist="38100" dir="2700000" algn="tl">
                      <a:srgbClr val="000000">
                        <a:alpha val="43137"/>
                      </a:srgbClr>
                    </a:outerShdw>
                  </a:effectLst>
                </a:rPr>
                <a:t>Passenger</a:t>
              </a:r>
              <a:r>
                <a:rPr lang="fr-FR" b="1" dirty="0" smtClean="0">
                  <a:solidFill>
                    <a:srgbClr val="C00000"/>
                  </a:solidFill>
                  <a:effectLst>
                    <a:outerShdw blurRad="38100" dist="38100" dir="2700000" algn="tl">
                      <a:srgbClr val="000000">
                        <a:alpha val="43137"/>
                      </a:srgbClr>
                    </a:outerShdw>
                  </a:effectLst>
                </a:rPr>
                <a:t> </a:t>
              </a:r>
              <a:r>
                <a:rPr lang="fr-FR" dirty="0" err="1" smtClean="0"/>
                <a:t>Capacity</a:t>
              </a:r>
              <a:r>
                <a:rPr lang="fr-FR" dirty="0" smtClean="0"/>
                <a:t> of </a:t>
              </a:r>
              <a:r>
                <a:rPr lang="fr-FR" b="1" dirty="0" smtClean="0">
                  <a:solidFill>
                    <a:srgbClr val="C00000"/>
                  </a:solidFill>
                  <a:effectLst>
                    <a:outerShdw blurRad="38100" dist="38100" dir="2700000" algn="tl">
                      <a:srgbClr val="000000">
                        <a:alpha val="43137"/>
                      </a:srgbClr>
                    </a:outerShdw>
                  </a:effectLst>
                </a:rPr>
                <a:t>1,8 million </a:t>
              </a:r>
            </a:p>
            <a:p>
              <a:pPr marL="355600" indent="-260350">
                <a:spcBef>
                  <a:spcPct val="20000"/>
                </a:spcBef>
                <a:spcAft>
                  <a:spcPts val="1200"/>
                </a:spcAft>
                <a:buFont typeface="Arial"/>
                <a:buChar char="•"/>
                <a:defRPr/>
              </a:pPr>
              <a:r>
                <a:rPr lang="fr-FR" b="1" dirty="0" smtClean="0">
                  <a:solidFill>
                    <a:srgbClr val="C00000"/>
                  </a:solidFill>
                  <a:effectLst>
                    <a:outerShdw blurRad="38100" dist="38100" dir="2700000" algn="tl">
                      <a:srgbClr val="000000">
                        <a:alpha val="43137"/>
                      </a:srgbClr>
                    </a:outerShdw>
                  </a:effectLst>
                </a:rPr>
                <a:t> </a:t>
              </a:r>
              <a:r>
                <a:rPr lang="fr-FR" dirty="0" err="1" smtClean="0">
                  <a:solidFill>
                    <a:schemeClr val="tx1"/>
                  </a:solidFill>
                  <a:effectLst>
                    <a:outerShdw blurRad="38100" dist="38100" dir="2700000" algn="tl">
                      <a:srgbClr val="000000">
                        <a:alpha val="43137"/>
                      </a:srgbClr>
                    </a:outerShdw>
                  </a:effectLst>
                </a:rPr>
                <a:t>Potential</a:t>
              </a:r>
              <a:r>
                <a:rPr lang="fr-FR" dirty="0" smtClean="0">
                  <a:solidFill>
                    <a:schemeClr val="tx1"/>
                  </a:solidFill>
                  <a:effectLst>
                    <a:outerShdw blurRad="38100" dist="38100" dir="2700000" algn="tl">
                      <a:srgbClr val="000000">
                        <a:alpha val="43137"/>
                      </a:srgbClr>
                    </a:outerShdw>
                  </a:effectLst>
                </a:rPr>
                <a:t> of business </a:t>
              </a:r>
              <a:r>
                <a:rPr lang="fr-FR" b="1" dirty="0" err="1" smtClean="0">
                  <a:solidFill>
                    <a:srgbClr val="C00000"/>
                  </a:solidFill>
                  <a:effectLst>
                    <a:outerShdw blurRad="38100" dist="38100" dir="2700000" algn="tl">
                      <a:srgbClr val="000000">
                        <a:alpha val="43137"/>
                      </a:srgbClr>
                    </a:outerShdw>
                  </a:effectLst>
                </a:rPr>
                <a:t>tourism</a:t>
              </a:r>
              <a:r>
                <a:rPr lang="fr-FR" b="1" dirty="0" smtClean="0">
                  <a:solidFill>
                    <a:srgbClr val="C00000"/>
                  </a:solidFill>
                  <a:effectLst>
                    <a:outerShdw blurRad="38100" dist="38100" dir="2700000" algn="tl">
                      <a:srgbClr val="000000">
                        <a:alpha val="43137"/>
                      </a:srgbClr>
                    </a:outerShdw>
                  </a:effectLst>
                </a:rPr>
                <a:t>, </a:t>
              </a:r>
              <a:r>
                <a:rPr lang="fr-FR" b="1" dirty="0" err="1" smtClean="0">
                  <a:solidFill>
                    <a:srgbClr val="C00000"/>
                  </a:solidFill>
                  <a:effectLst>
                    <a:outerShdw blurRad="38100" dist="38100" dir="2700000" algn="tl">
                      <a:srgbClr val="000000">
                        <a:alpha val="43137"/>
                      </a:srgbClr>
                    </a:outerShdw>
                  </a:effectLst>
                </a:rPr>
                <a:t>medical</a:t>
              </a:r>
              <a:r>
                <a:rPr lang="fr-FR" b="1" dirty="0" smtClean="0">
                  <a:solidFill>
                    <a:srgbClr val="C00000"/>
                  </a:solidFill>
                  <a:effectLst>
                    <a:outerShdw blurRad="38100" dist="38100" dir="2700000" algn="tl">
                      <a:srgbClr val="000000">
                        <a:alpha val="43137"/>
                      </a:srgbClr>
                    </a:outerShdw>
                  </a:effectLst>
                </a:rPr>
                <a:t> </a:t>
              </a:r>
              <a:r>
                <a:rPr lang="fr-FR" b="1" dirty="0" err="1" smtClean="0">
                  <a:solidFill>
                    <a:srgbClr val="C00000"/>
                  </a:solidFill>
                  <a:effectLst>
                    <a:outerShdw blurRad="38100" dist="38100" dir="2700000" algn="tl">
                      <a:srgbClr val="000000">
                        <a:alpha val="43137"/>
                      </a:srgbClr>
                    </a:outerShdw>
                  </a:effectLst>
                </a:rPr>
                <a:t>tourism</a:t>
              </a:r>
              <a:r>
                <a:rPr lang="fr-FR" b="1" dirty="0" smtClean="0">
                  <a:solidFill>
                    <a:srgbClr val="C00000"/>
                  </a:solidFill>
                  <a:effectLst>
                    <a:outerShdw blurRad="38100" dist="38100" dir="2700000" algn="tl">
                      <a:srgbClr val="000000">
                        <a:alpha val="43137"/>
                      </a:srgbClr>
                    </a:outerShdw>
                  </a:effectLst>
                </a:rPr>
                <a:t> , </a:t>
              </a:r>
              <a:r>
                <a:rPr lang="fr-FR" b="1" dirty="0" err="1" smtClean="0">
                  <a:solidFill>
                    <a:srgbClr val="C00000"/>
                  </a:solidFill>
                  <a:effectLst>
                    <a:outerShdw blurRad="38100" dist="38100" dir="2700000" algn="tl">
                      <a:srgbClr val="000000">
                        <a:alpha val="43137"/>
                      </a:srgbClr>
                    </a:outerShdw>
                  </a:effectLst>
                </a:rPr>
                <a:t>seaside</a:t>
              </a:r>
              <a:r>
                <a:rPr lang="fr-FR" b="1" dirty="0" smtClean="0">
                  <a:solidFill>
                    <a:srgbClr val="C00000"/>
                  </a:solidFill>
                  <a:effectLst>
                    <a:outerShdw blurRad="38100" dist="38100" dir="2700000" algn="tl">
                      <a:srgbClr val="000000">
                        <a:alpha val="43137"/>
                      </a:srgbClr>
                    </a:outerShdw>
                  </a:effectLst>
                </a:rPr>
                <a:t> </a:t>
              </a:r>
              <a:r>
                <a:rPr lang="fr-FR" b="1" dirty="0" err="1" smtClean="0">
                  <a:solidFill>
                    <a:srgbClr val="C00000"/>
                  </a:solidFill>
                  <a:effectLst>
                    <a:outerShdw blurRad="38100" dist="38100" dir="2700000" algn="tl">
                      <a:srgbClr val="000000">
                        <a:alpha val="43137"/>
                      </a:srgbClr>
                    </a:outerShdw>
                  </a:effectLst>
                </a:rPr>
                <a:t>tourism</a:t>
              </a:r>
              <a:r>
                <a:rPr lang="fr-FR" b="1" dirty="0" smtClean="0">
                  <a:solidFill>
                    <a:srgbClr val="C00000"/>
                  </a:solidFill>
                  <a:effectLst>
                    <a:outerShdw blurRad="38100" dist="38100" dir="2700000" algn="tl">
                      <a:srgbClr val="000000">
                        <a:alpha val="43137"/>
                      </a:srgbClr>
                    </a:outerShdw>
                  </a:effectLst>
                </a:rPr>
                <a:t> and </a:t>
              </a:r>
              <a:r>
                <a:rPr lang="fr-FR" b="1" dirty="0" err="1" smtClean="0">
                  <a:solidFill>
                    <a:srgbClr val="C00000"/>
                  </a:solidFill>
                  <a:effectLst>
                    <a:outerShdw blurRad="38100" dist="38100" dir="2700000" algn="tl">
                      <a:srgbClr val="000000">
                        <a:alpha val="43137"/>
                      </a:srgbClr>
                    </a:outerShdw>
                  </a:effectLst>
                </a:rPr>
                <a:t>other</a:t>
              </a:r>
              <a:r>
                <a:rPr lang="fr-FR" b="1" dirty="0" smtClean="0">
                  <a:solidFill>
                    <a:srgbClr val="C00000"/>
                  </a:solidFill>
                  <a:effectLst>
                    <a:outerShdw blurRad="38100" dist="38100" dir="2700000" algn="tl">
                      <a:srgbClr val="000000">
                        <a:alpha val="43137"/>
                      </a:srgbClr>
                    </a:outerShdw>
                  </a:effectLst>
                </a:rPr>
                <a:t> type of </a:t>
              </a:r>
              <a:r>
                <a:rPr lang="fr-FR" b="1" dirty="0" err="1" smtClean="0">
                  <a:solidFill>
                    <a:srgbClr val="C00000"/>
                  </a:solidFill>
                  <a:effectLst>
                    <a:outerShdw blurRad="38100" dist="38100" dir="2700000" algn="tl">
                      <a:srgbClr val="000000">
                        <a:alpha val="43137"/>
                      </a:srgbClr>
                    </a:outerShdw>
                  </a:effectLst>
                </a:rPr>
                <a:t>tourism</a:t>
              </a:r>
              <a:endParaRPr lang="fr-FR" b="1" dirty="0" smtClean="0">
                <a:solidFill>
                  <a:srgbClr val="C00000"/>
                </a:solidFill>
                <a:effectLst>
                  <a:outerShdw blurRad="38100" dist="38100" dir="2700000" algn="tl">
                    <a:srgbClr val="000000">
                      <a:alpha val="43137"/>
                    </a:srgbClr>
                  </a:outerShdw>
                </a:effectLst>
              </a:endParaRPr>
            </a:p>
            <a:p>
              <a:pPr marL="355600" indent="-260350">
                <a:spcBef>
                  <a:spcPct val="20000"/>
                </a:spcBef>
                <a:spcAft>
                  <a:spcPts val="1200"/>
                </a:spcAft>
                <a:buFont typeface="Arial"/>
                <a:buChar char="•"/>
                <a:defRPr/>
              </a:pPr>
              <a:endParaRPr lang="fr-FR" sz="2400" b="1" dirty="0" smtClean="0">
                <a:solidFill>
                  <a:srgbClr val="C00000"/>
                </a:solidFill>
                <a:effectLst>
                  <a:outerShdw blurRad="38100" dist="38100" dir="2700000" algn="tl">
                    <a:srgbClr val="000000">
                      <a:alpha val="43137"/>
                    </a:srgbClr>
                  </a:outerShdw>
                </a:effectLst>
              </a:endParaRPr>
            </a:p>
            <a:p>
              <a:pPr marL="355600" indent="-260350">
                <a:spcBef>
                  <a:spcPct val="20000"/>
                </a:spcBef>
                <a:spcAft>
                  <a:spcPts val="1200"/>
                </a:spcAft>
                <a:buFont typeface="Arial"/>
                <a:buChar char="•"/>
                <a:defRPr/>
              </a:pPr>
              <a:endParaRPr lang="fr-FR" dirty="0" smtClean="0"/>
            </a:p>
          </p:txBody>
        </p:sp>
        <p:sp>
          <p:nvSpPr>
            <p:cNvPr id="28" name="ZoneTexte 27"/>
            <p:cNvSpPr txBox="1"/>
            <p:nvPr/>
          </p:nvSpPr>
          <p:spPr>
            <a:xfrm>
              <a:off x="6013775" y="984294"/>
              <a:ext cx="2793928" cy="307777"/>
            </a:xfrm>
            <a:prstGeom prst="rect">
              <a:avLst/>
            </a:prstGeom>
            <a:ln>
              <a:noFill/>
            </a:ln>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p>
              <a:pPr marL="355600" indent="-260350">
                <a:spcBef>
                  <a:spcPct val="20000"/>
                </a:spcBef>
                <a:spcAft>
                  <a:spcPts val="1200"/>
                </a:spcAft>
              </a:pPr>
              <a:r>
                <a:rPr lang="fr-FR" sz="2800" b="1" dirty="0" err="1" smtClean="0">
                  <a:solidFill>
                    <a:schemeClr val="tx1"/>
                  </a:solidFill>
                  <a:effectLst>
                    <a:outerShdw blurRad="38100" dist="38100" dir="2700000" algn="tl">
                      <a:srgbClr val="000000">
                        <a:alpha val="43137"/>
                      </a:srgbClr>
                    </a:outerShdw>
                  </a:effectLst>
                </a:rPr>
                <a:t>From</a:t>
              </a:r>
              <a:r>
                <a:rPr lang="fr-FR" sz="2800" b="1" dirty="0" smtClean="0">
                  <a:solidFill>
                    <a:schemeClr val="tx1"/>
                  </a:solidFill>
                  <a:effectLst>
                    <a:outerShdw blurRad="38100" dist="38100" dir="2700000" algn="tl">
                      <a:srgbClr val="000000">
                        <a:alpha val="43137"/>
                      </a:srgbClr>
                    </a:outerShdw>
                  </a:effectLst>
                </a:rPr>
                <a:t>….</a:t>
              </a:r>
            </a:p>
          </p:txBody>
        </p:sp>
      </p:grpSp>
      <p:sp>
        <p:nvSpPr>
          <p:cNvPr id="9" name="Espace réservé du numéro de diapositive 8"/>
          <p:cNvSpPr>
            <a:spLocks noGrp="1"/>
          </p:cNvSpPr>
          <p:nvPr>
            <p:ph type="sldNum" sz="quarter" idx="12"/>
          </p:nvPr>
        </p:nvSpPr>
        <p:spPr>
          <a:xfrm>
            <a:off x="6504352" y="6356350"/>
            <a:ext cx="2133600" cy="365125"/>
          </a:xfrm>
        </p:spPr>
        <p:txBody>
          <a:bodyPr/>
          <a:lstStyle/>
          <a:p>
            <a:fld id="{C6CAE510-2E18-4644-9DBF-437BBE941DEC}" type="slidenum">
              <a:rPr lang="en-US" smtClean="0"/>
              <a:pPr/>
              <a:t>30</a:t>
            </a:fld>
            <a:endParaRPr lang="en-US"/>
          </a:p>
        </p:txBody>
      </p:sp>
      <p:sp>
        <p:nvSpPr>
          <p:cNvPr id="17" name="Flèche droite rayée 16"/>
          <p:cNvSpPr/>
          <p:nvPr/>
        </p:nvSpPr>
        <p:spPr>
          <a:xfrm>
            <a:off x="4215220" y="2769230"/>
            <a:ext cx="1043829" cy="750626"/>
          </a:xfrm>
          <a:prstGeom prst="stripedRightArrow">
            <a:avLst/>
          </a:prstGeom>
          <a:gradFill>
            <a:gsLst>
              <a:gs pos="0">
                <a:schemeClr val="accent2">
                  <a:lumMod val="40000"/>
                  <a:lumOff val="60000"/>
                </a:schemeClr>
              </a:gs>
              <a:gs pos="100000">
                <a:schemeClr val="accent3">
                  <a:lumMod val="40000"/>
                  <a:lumOff val="60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grpSp>
        <p:nvGrpSpPr>
          <p:cNvPr id="3" name="Groupe 24"/>
          <p:cNvGrpSpPr/>
          <p:nvPr/>
        </p:nvGrpSpPr>
        <p:grpSpPr>
          <a:xfrm>
            <a:off x="5483350" y="1321601"/>
            <a:ext cx="3526318" cy="3691575"/>
            <a:chOff x="5423014" y="896187"/>
            <a:chExt cx="3526318" cy="4317953"/>
          </a:xfrm>
        </p:grpSpPr>
        <p:sp>
          <p:nvSpPr>
            <p:cNvPr id="19" name="Content Placeholder 2"/>
            <p:cNvSpPr txBox="1">
              <a:spLocks/>
            </p:cNvSpPr>
            <p:nvPr/>
          </p:nvSpPr>
          <p:spPr>
            <a:xfrm>
              <a:off x="5423014" y="1507514"/>
              <a:ext cx="3526318" cy="3706626"/>
            </a:xfrm>
            <a:prstGeom prst="rect">
              <a:avLst/>
            </a:prstGeom>
          </p:spPr>
          <p:style>
            <a:lnRef idx="2">
              <a:schemeClr val="accent3"/>
            </a:lnRef>
            <a:fillRef idx="1">
              <a:schemeClr val="lt1"/>
            </a:fillRef>
            <a:effectRef idx="0">
              <a:schemeClr val="accent3"/>
            </a:effectRef>
            <a:fontRef idx="minor">
              <a:schemeClr val="dk1"/>
            </a:fontRef>
          </p:style>
          <p:txBody>
            <a:bodyPr vert="horz" lIns="91440" tIns="45720" rIns="91440" bIns="45720" rtlCol="0">
              <a:noAutofit/>
            </a:bodyPr>
            <a:lstStyle/>
            <a:p>
              <a:pPr marL="268288" indent="-173038">
                <a:spcAft>
                  <a:spcPts val="600"/>
                </a:spcAft>
                <a:buFont typeface="Arial"/>
                <a:buChar char="•"/>
                <a:defRPr/>
              </a:pPr>
              <a:r>
                <a:rPr lang="fr-FR" sz="2000" dirty="0" err="1" smtClean="0"/>
                <a:t>Passengers</a:t>
              </a:r>
              <a:r>
                <a:rPr lang="fr-FR" sz="2000" b="1" dirty="0">
                  <a:solidFill>
                    <a:srgbClr val="C00000"/>
                  </a:solidFill>
                  <a:effectLst>
                    <a:outerShdw blurRad="38100" dist="38100" dir="2700000" algn="tl">
                      <a:srgbClr val="000000">
                        <a:alpha val="43137"/>
                      </a:srgbClr>
                    </a:outerShdw>
                  </a:effectLst>
                </a:rPr>
                <a:t> </a:t>
              </a:r>
              <a:r>
                <a:rPr lang="fr-FR" sz="2000" b="1" dirty="0" err="1">
                  <a:solidFill>
                    <a:srgbClr val="C00000"/>
                  </a:solidFill>
                  <a:effectLst>
                    <a:outerShdw blurRad="38100" dist="38100" dir="2700000" algn="tl">
                      <a:srgbClr val="000000">
                        <a:alpha val="43137"/>
                      </a:srgbClr>
                    </a:outerShdw>
                  </a:effectLst>
                </a:rPr>
                <a:t>Capacity</a:t>
              </a:r>
              <a:r>
                <a:rPr lang="fr-FR" sz="2000" b="1" dirty="0">
                  <a:solidFill>
                    <a:srgbClr val="C00000"/>
                  </a:solidFill>
                  <a:effectLst>
                    <a:outerShdw blurRad="38100" dist="38100" dir="2700000" algn="tl">
                      <a:srgbClr val="000000">
                        <a:alpha val="43137"/>
                      </a:srgbClr>
                    </a:outerShdw>
                  </a:effectLst>
                </a:rPr>
                <a:t> of  6 </a:t>
              </a:r>
              <a:r>
                <a:rPr lang="fr-FR" sz="2000" b="1" dirty="0" smtClean="0">
                  <a:solidFill>
                    <a:srgbClr val="C00000"/>
                  </a:solidFill>
                  <a:effectLst>
                    <a:outerShdw blurRad="38100" dist="38100" dir="2700000" algn="tl">
                      <a:srgbClr val="000000">
                        <a:alpha val="43137"/>
                      </a:srgbClr>
                    </a:outerShdw>
                  </a:effectLst>
                </a:rPr>
                <a:t>millions </a:t>
              </a:r>
              <a:r>
                <a:rPr lang="fr-FR" sz="2000" dirty="0" smtClean="0">
                  <a:solidFill>
                    <a:schemeClr val="tx1"/>
                  </a:solidFill>
                </a:rPr>
                <a:t>by 2025 </a:t>
              </a:r>
            </a:p>
            <a:p>
              <a:pPr marL="381000" indent="-285750">
                <a:spcAft>
                  <a:spcPts val="600"/>
                </a:spcAft>
                <a:buFont typeface="Wingdings" charset="2"/>
                <a:buChar char="ü"/>
                <a:defRPr/>
              </a:pPr>
              <a:r>
                <a:rPr lang="fr-FR" sz="1400" b="1" dirty="0" smtClean="0">
                  <a:solidFill>
                    <a:srgbClr val="C00000"/>
                  </a:solidFill>
                  <a:effectLst>
                    <a:outerShdw blurRad="38100" dist="38100" dir="2700000" algn="tl">
                      <a:srgbClr val="000000">
                        <a:alpha val="43137"/>
                      </a:srgbClr>
                    </a:outerShdw>
                  </a:effectLst>
                </a:rPr>
                <a:t>1  </a:t>
              </a:r>
              <a:r>
                <a:rPr lang="fr-FR" sz="1400" b="1" dirty="0" err="1" smtClean="0">
                  <a:solidFill>
                    <a:srgbClr val="C00000"/>
                  </a:solidFill>
                  <a:effectLst>
                    <a:outerShdw blurRad="38100" dist="38100" dir="2700000" algn="tl">
                      <a:srgbClr val="000000">
                        <a:alpha val="43137"/>
                      </a:srgbClr>
                    </a:outerShdw>
                  </a:effectLst>
                </a:rPr>
                <a:t>Airport</a:t>
              </a:r>
              <a:r>
                <a:rPr lang="fr-FR" sz="1400" b="1" dirty="0" smtClean="0">
                  <a:solidFill>
                    <a:srgbClr val="C00000"/>
                  </a:solidFill>
                  <a:effectLst>
                    <a:outerShdw blurRad="38100" dist="38100" dir="2700000" algn="tl">
                      <a:srgbClr val="000000">
                        <a:alpha val="43137"/>
                      </a:srgbClr>
                    </a:outerShdw>
                  </a:effectLst>
                </a:rPr>
                <a:t> </a:t>
              </a:r>
              <a:r>
                <a:rPr lang="fr-FR" sz="1400" dirty="0" err="1" smtClean="0"/>
                <a:t>with</a:t>
              </a:r>
              <a:r>
                <a:rPr lang="fr-FR" sz="1400" dirty="0" smtClean="0"/>
                <a:t> the </a:t>
              </a:r>
              <a:r>
                <a:rPr lang="fr-FR" sz="1400" dirty="0" err="1" smtClean="0"/>
                <a:t>largest</a:t>
              </a:r>
              <a:r>
                <a:rPr lang="fr-FR" sz="1400" dirty="0" smtClean="0"/>
                <a:t> </a:t>
              </a:r>
              <a:r>
                <a:rPr lang="fr-FR" sz="1400" b="1" dirty="0" err="1" smtClean="0">
                  <a:solidFill>
                    <a:srgbClr val="C00000"/>
                  </a:solidFill>
                  <a:effectLst>
                    <a:outerShdw blurRad="38100" dist="38100" dir="2700000" algn="tl">
                      <a:srgbClr val="000000">
                        <a:alpha val="43137"/>
                      </a:srgbClr>
                    </a:outerShdw>
                  </a:effectLst>
                </a:rPr>
                <a:t>capacity</a:t>
              </a:r>
              <a:r>
                <a:rPr lang="fr-FR" sz="1400" b="1" dirty="0" smtClean="0">
                  <a:solidFill>
                    <a:srgbClr val="C00000"/>
                  </a:solidFill>
                  <a:effectLst>
                    <a:outerShdw blurRad="38100" dist="38100" dir="2700000" algn="tl">
                      <a:srgbClr val="000000">
                        <a:alpha val="43137"/>
                      </a:srgbClr>
                    </a:outerShdw>
                  </a:effectLst>
                </a:rPr>
                <a:t>  </a:t>
              </a:r>
              <a:r>
                <a:rPr lang="fr-FR" sz="1400" dirty="0" smtClean="0">
                  <a:solidFill>
                    <a:srgbClr val="000000"/>
                  </a:solidFill>
                  <a:effectLst>
                    <a:outerShdw blurRad="38100" dist="38100" dir="2700000" algn="tl">
                      <a:srgbClr val="000000">
                        <a:alpha val="43137"/>
                      </a:srgbClr>
                    </a:outerShdw>
                  </a:effectLst>
                </a:rPr>
                <a:t>of the </a:t>
              </a:r>
              <a:r>
                <a:rPr lang="fr-FR" sz="1400" dirty="0" err="1" smtClean="0">
                  <a:solidFill>
                    <a:srgbClr val="000000"/>
                  </a:solidFill>
                  <a:effectLst>
                    <a:outerShdw blurRad="38100" dist="38100" dir="2700000" algn="tl">
                      <a:srgbClr val="000000">
                        <a:alpha val="43137"/>
                      </a:srgbClr>
                    </a:outerShdw>
                  </a:effectLst>
                </a:rPr>
                <a:t>subregion</a:t>
              </a:r>
              <a:endParaRPr lang="fr-FR" sz="1400" dirty="0" smtClean="0">
                <a:solidFill>
                  <a:srgbClr val="000000"/>
                </a:solidFill>
                <a:effectLst>
                  <a:outerShdw blurRad="38100" dist="38100" dir="2700000" algn="tl">
                    <a:srgbClr val="000000">
                      <a:alpha val="43137"/>
                    </a:srgbClr>
                  </a:outerShdw>
                </a:effectLst>
              </a:endParaRPr>
            </a:p>
            <a:p>
              <a:pPr marL="381000" indent="-285750">
                <a:spcAft>
                  <a:spcPts val="600"/>
                </a:spcAft>
                <a:buFont typeface="Wingdings" charset="2"/>
                <a:buChar char="ü"/>
                <a:defRPr/>
              </a:pPr>
              <a:r>
                <a:rPr lang="fr-FR" sz="1400" dirty="0" smtClean="0">
                  <a:solidFill>
                    <a:schemeClr val="tx1"/>
                  </a:solidFill>
                  <a:effectLst>
                    <a:outerShdw blurRad="38100" dist="38100" dir="2700000" algn="tl">
                      <a:srgbClr val="000000">
                        <a:alpha val="43137"/>
                      </a:srgbClr>
                    </a:outerShdw>
                  </a:effectLst>
                </a:rPr>
                <a:t>More  </a:t>
              </a:r>
              <a:r>
                <a:rPr lang="fr-FR" sz="1400" dirty="0" err="1" smtClean="0">
                  <a:solidFill>
                    <a:schemeClr val="tx1"/>
                  </a:solidFill>
                  <a:effectLst>
                    <a:outerShdw blurRad="38100" dist="38100" dir="2700000" algn="tl">
                      <a:srgbClr val="000000">
                        <a:alpha val="43137"/>
                      </a:srgbClr>
                    </a:outerShdw>
                  </a:effectLst>
                </a:rPr>
                <a:t>than</a:t>
              </a:r>
              <a:r>
                <a:rPr lang="fr-FR" sz="1400" dirty="0" smtClean="0">
                  <a:solidFill>
                    <a:schemeClr val="tx1"/>
                  </a:solidFill>
                  <a:effectLst>
                    <a:outerShdw blurRad="38100" dist="38100" dir="2700000" algn="tl">
                      <a:srgbClr val="000000">
                        <a:alpha val="43137"/>
                      </a:srgbClr>
                    </a:outerShdw>
                  </a:effectLst>
                </a:rPr>
                <a:t> </a:t>
              </a:r>
              <a:r>
                <a:rPr lang="fr-FR" sz="1400" b="1" dirty="0" smtClean="0">
                  <a:solidFill>
                    <a:srgbClr val="C00000"/>
                  </a:solidFill>
                  <a:effectLst>
                    <a:outerShdw blurRad="38100" dist="38100" dir="2700000" algn="tl">
                      <a:srgbClr val="000000">
                        <a:alpha val="43137"/>
                      </a:srgbClr>
                    </a:outerShdw>
                  </a:effectLst>
                </a:rPr>
                <a:t>5  </a:t>
              </a:r>
              <a:r>
                <a:rPr lang="fr-FR" sz="1400" b="1" dirty="0" err="1" smtClean="0">
                  <a:solidFill>
                    <a:srgbClr val="C00000"/>
                  </a:solidFill>
                  <a:effectLst>
                    <a:outerShdw blurRad="38100" dist="38100" dir="2700000" algn="tl">
                      <a:srgbClr val="000000">
                        <a:alpha val="43137"/>
                      </a:srgbClr>
                    </a:outerShdw>
                  </a:effectLst>
                </a:rPr>
                <a:t>airports</a:t>
              </a:r>
              <a:r>
                <a:rPr lang="fr-FR" sz="1400" b="1" dirty="0" smtClean="0">
                  <a:solidFill>
                    <a:srgbClr val="C00000"/>
                  </a:solidFill>
                  <a:effectLst>
                    <a:outerShdw blurRad="38100" dist="38100" dir="2700000" algn="tl">
                      <a:srgbClr val="000000">
                        <a:alpha val="43137"/>
                      </a:srgbClr>
                    </a:outerShdw>
                  </a:effectLst>
                </a:rPr>
                <a:t> and </a:t>
              </a:r>
              <a:r>
                <a:rPr lang="fr-FR" sz="1400" b="1" dirty="0" err="1" smtClean="0">
                  <a:solidFill>
                    <a:srgbClr val="C00000"/>
                  </a:solidFill>
                  <a:effectLst>
                    <a:outerShdw blurRad="38100" dist="38100" dir="2700000" algn="tl">
                      <a:srgbClr val="000000">
                        <a:alpha val="43137"/>
                      </a:srgbClr>
                    </a:outerShdw>
                  </a:effectLst>
                </a:rPr>
                <a:t>airfields</a:t>
              </a:r>
              <a:r>
                <a:rPr lang="fr-FR" sz="1400" b="1" dirty="0" smtClean="0">
                  <a:solidFill>
                    <a:srgbClr val="C00000"/>
                  </a:solidFill>
                  <a:effectLst>
                    <a:outerShdw blurRad="38100" dist="38100" dir="2700000" algn="tl">
                      <a:srgbClr val="000000">
                        <a:alpha val="43137"/>
                      </a:srgbClr>
                    </a:outerShdw>
                  </a:effectLst>
                </a:rPr>
                <a:t> </a:t>
              </a:r>
              <a:r>
                <a:rPr lang="fr-FR" sz="1400" dirty="0" err="1"/>
                <a:t>fully</a:t>
              </a:r>
              <a:r>
                <a:rPr lang="fr-FR" sz="1400" dirty="0"/>
                <a:t> </a:t>
              </a:r>
              <a:r>
                <a:rPr lang="fr-FR" sz="1400" dirty="0" err="1"/>
                <a:t>rehabilitated</a:t>
              </a:r>
              <a:r>
                <a:rPr lang="fr-FR" sz="1400" dirty="0"/>
                <a:t> </a:t>
              </a:r>
              <a:r>
                <a:rPr lang="fr-FR" sz="1400" dirty="0" smtClean="0"/>
                <a:t>all over the country</a:t>
              </a:r>
              <a:endParaRPr lang="fr-FR" sz="1400" dirty="0"/>
            </a:p>
            <a:p>
              <a:pPr marL="266700" indent="-171450">
                <a:spcAft>
                  <a:spcPts val="600"/>
                </a:spcAft>
                <a:buFont typeface="Arial"/>
                <a:buChar char="•"/>
                <a:defRPr/>
              </a:pPr>
              <a:r>
                <a:rPr lang="fr-FR" sz="2000" dirty="0" smtClean="0"/>
                <a:t>Reference Maintenance Platform</a:t>
              </a:r>
              <a:endParaRPr lang="fr-FR" sz="2000" dirty="0"/>
            </a:p>
            <a:p>
              <a:pPr marL="266700" indent="-171450">
                <a:spcAft>
                  <a:spcPts val="600"/>
                </a:spcAft>
                <a:buFont typeface="Arial"/>
                <a:buChar char="•"/>
                <a:defRPr/>
              </a:pPr>
              <a:r>
                <a:rPr lang="fr-FR" sz="2000" dirty="0" smtClean="0">
                  <a:solidFill>
                    <a:prstClr val="black"/>
                  </a:solidFill>
                </a:rPr>
                <a:t>Over </a:t>
              </a:r>
              <a:r>
                <a:rPr lang="fr-FR" sz="2000" b="1" dirty="0" smtClean="0">
                  <a:solidFill>
                    <a:srgbClr val="C00000"/>
                  </a:solidFill>
                  <a:effectLst>
                    <a:outerShdw blurRad="38100" dist="38100" dir="2700000" algn="tl">
                      <a:srgbClr val="000000">
                        <a:alpha val="43137"/>
                      </a:srgbClr>
                    </a:outerShdw>
                  </a:effectLst>
                </a:rPr>
                <a:t>3 new </a:t>
              </a:r>
              <a:r>
                <a:rPr lang="fr-FR" sz="2000" b="1" dirty="0" err="1" smtClean="0">
                  <a:solidFill>
                    <a:srgbClr val="C00000"/>
                  </a:solidFill>
                  <a:effectLst>
                    <a:outerShdw blurRad="38100" dist="38100" dir="2700000" algn="tl">
                      <a:srgbClr val="000000">
                        <a:alpha val="43137"/>
                      </a:srgbClr>
                    </a:outerShdw>
                  </a:effectLst>
                </a:rPr>
                <a:t>tourist</a:t>
              </a:r>
              <a:r>
                <a:rPr lang="fr-FR" sz="2000" b="1" dirty="0" smtClean="0">
                  <a:solidFill>
                    <a:srgbClr val="C00000"/>
                  </a:solidFill>
                  <a:effectLst>
                    <a:outerShdw blurRad="38100" dist="38100" dir="2700000" algn="tl">
                      <a:srgbClr val="000000">
                        <a:alpha val="43137"/>
                      </a:srgbClr>
                    </a:outerShdw>
                  </a:effectLst>
                </a:rPr>
                <a:t> sites </a:t>
              </a:r>
              <a:r>
                <a:rPr lang="fr-FR" sz="2000" dirty="0" err="1" smtClean="0">
                  <a:solidFill>
                    <a:prstClr val="black"/>
                  </a:solidFill>
                </a:rPr>
                <a:t>fitted</a:t>
              </a:r>
              <a:r>
                <a:rPr lang="fr-FR" sz="2000" dirty="0" smtClean="0">
                  <a:solidFill>
                    <a:prstClr val="black"/>
                  </a:solidFill>
                </a:rPr>
                <a:t> out</a:t>
              </a:r>
              <a:endParaRPr lang="fr-FR" sz="2000" dirty="0"/>
            </a:p>
          </p:txBody>
        </p:sp>
        <p:sp>
          <p:nvSpPr>
            <p:cNvPr id="22" name="ZoneTexte 21"/>
            <p:cNvSpPr txBox="1"/>
            <p:nvPr/>
          </p:nvSpPr>
          <p:spPr>
            <a:xfrm>
              <a:off x="5941096" y="896187"/>
              <a:ext cx="2362200" cy="447615"/>
            </a:xfrm>
            <a:prstGeom prst="rect">
              <a:avLst/>
            </a:prstGeom>
            <a:ln>
              <a:noFill/>
            </a:ln>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en-US"/>
              </a:defPPr>
              <a:lvl1pPr marL="355600" indent="-260350">
                <a:spcBef>
                  <a:spcPct val="20000"/>
                </a:spcBef>
                <a:spcAft>
                  <a:spcPts val="1200"/>
                </a:spcAft>
                <a:defRPr sz="3200" b="1">
                  <a:solidFill>
                    <a:schemeClr val="tx2"/>
                  </a:solidFill>
                  <a:effectLst>
                    <a:outerShdw blurRad="38100" dist="38100" dir="2700000" algn="tl">
                      <a:srgbClr val="000000">
                        <a:alpha val="43137"/>
                      </a:srgbClr>
                    </a:outerShdw>
                  </a:effectLs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fr-FR" sz="2800" dirty="0">
                  <a:solidFill>
                    <a:schemeClr val="tx1"/>
                  </a:solidFill>
                </a:rPr>
                <a:t>…</a:t>
              </a:r>
              <a:r>
                <a:rPr lang="fr-FR" sz="2800" dirty="0" smtClean="0">
                  <a:solidFill>
                    <a:schemeClr val="tx1"/>
                  </a:solidFill>
                </a:rPr>
                <a:t>.To...</a:t>
              </a:r>
              <a:endParaRPr lang="fr-FR" dirty="0">
                <a:solidFill>
                  <a:schemeClr val="tx1"/>
                </a:solidFill>
              </a:endParaRPr>
            </a:p>
          </p:txBody>
        </p:sp>
      </p:grpSp>
      <p:sp>
        <p:nvSpPr>
          <p:cNvPr id="12" name="Title 1"/>
          <p:cNvSpPr>
            <a:spLocks noGrp="1"/>
          </p:cNvSpPr>
          <p:nvPr>
            <p:ph type="title"/>
          </p:nvPr>
        </p:nvSpPr>
        <p:spPr>
          <a:xfrm>
            <a:off x="1027366" y="-140107"/>
            <a:ext cx="7533494" cy="955343"/>
          </a:xfrm>
        </p:spPr>
        <p:txBody>
          <a:bodyPr>
            <a:noAutofit/>
          </a:bodyPr>
          <a:lstStyle/>
          <a:p>
            <a:pPr algn="l" defTabSz="914400" eaLnBrk="0" hangingPunct="0">
              <a:defRPr/>
            </a:pPr>
            <a:r>
              <a:rPr lang="en-US" sz="2400" dirty="0" smtClean="0">
                <a:solidFill>
                  <a:srgbClr val="C00000"/>
                </a:solidFill>
                <a:latin typeface="Cambria" pitchFamily="18" charset="0"/>
              </a:rPr>
              <a:t>A Sky hub…..</a:t>
            </a:r>
            <a:br>
              <a:rPr lang="en-US" sz="2400" dirty="0" smtClean="0">
                <a:solidFill>
                  <a:srgbClr val="C00000"/>
                </a:solidFill>
                <a:latin typeface="Cambria" pitchFamily="18" charset="0"/>
              </a:rPr>
            </a:br>
            <a:r>
              <a:rPr lang="en-US" sz="1600" dirty="0" smtClean="0">
                <a:solidFill>
                  <a:srgbClr val="C00000"/>
                </a:solidFill>
                <a:latin typeface="Cambria" pitchFamily="18" charset="0"/>
              </a:rPr>
              <a:t>with a new modern airport and new touristic zones</a:t>
            </a:r>
            <a:endParaRPr lang="en-US" sz="2400" dirty="0">
              <a:solidFill>
                <a:srgbClr val="C00000"/>
              </a:solidFill>
              <a:latin typeface="Cambria" pitchFamily="18" charset="0"/>
            </a:endParaRPr>
          </a:p>
        </p:txBody>
      </p:sp>
      <p:grpSp>
        <p:nvGrpSpPr>
          <p:cNvPr id="4" name="Groupe 17"/>
          <p:cNvGrpSpPr/>
          <p:nvPr/>
        </p:nvGrpSpPr>
        <p:grpSpPr>
          <a:xfrm>
            <a:off x="711704" y="1672002"/>
            <a:ext cx="7676720" cy="4645755"/>
            <a:chOff x="711704" y="1672002"/>
            <a:chExt cx="7676720" cy="4645755"/>
          </a:xfrm>
        </p:grpSpPr>
        <p:pic>
          <p:nvPicPr>
            <p:cNvPr id="13" name="Picture 2"/>
            <p:cNvPicPr>
              <a:picLocks noChangeAspect="1" noChangeArrowheads="1"/>
            </p:cNvPicPr>
            <p:nvPr/>
          </p:nvPicPr>
          <p:blipFill>
            <a:blip r:embed="rId2" cstate="print"/>
            <a:srcRect l="23493" t="24849" r="23566" b="25781"/>
            <a:stretch>
              <a:fillRect/>
            </a:stretch>
          </p:blipFill>
          <p:spPr bwMode="auto">
            <a:xfrm>
              <a:off x="711704" y="1672002"/>
              <a:ext cx="3893796" cy="2050473"/>
            </a:xfrm>
            <a:prstGeom prst="rect">
              <a:avLst/>
            </a:prstGeom>
            <a:noFill/>
            <a:ln w="9525">
              <a:noFill/>
              <a:miter lim="800000"/>
              <a:headEnd/>
              <a:tailEnd/>
            </a:ln>
          </p:spPr>
        </p:pic>
        <p:pic>
          <p:nvPicPr>
            <p:cNvPr id="14" name="Picture 5"/>
            <p:cNvPicPr>
              <a:picLocks noChangeAspect="1" noChangeArrowheads="1"/>
            </p:cNvPicPr>
            <p:nvPr/>
          </p:nvPicPr>
          <p:blipFill>
            <a:blip r:embed="rId3" cstate="print"/>
            <a:srcRect l="23048" t="20360" r="23155" b="24527"/>
            <a:stretch>
              <a:fillRect/>
            </a:stretch>
          </p:blipFill>
          <p:spPr bwMode="auto">
            <a:xfrm>
              <a:off x="856893" y="4149080"/>
              <a:ext cx="3748608" cy="2168677"/>
            </a:xfrm>
            <a:prstGeom prst="rect">
              <a:avLst/>
            </a:prstGeom>
            <a:noFill/>
            <a:ln w="9525">
              <a:noFill/>
              <a:miter lim="800000"/>
              <a:headEnd/>
              <a:tailEnd/>
            </a:ln>
          </p:spPr>
        </p:pic>
        <p:pic>
          <p:nvPicPr>
            <p:cNvPr id="15" name="Picture 6"/>
            <p:cNvPicPr>
              <a:picLocks noChangeAspect="1" noChangeArrowheads="1"/>
            </p:cNvPicPr>
            <p:nvPr/>
          </p:nvPicPr>
          <p:blipFill>
            <a:blip r:embed="rId4" cstate="print"/>
            <a:srcRect l="24866" t="20739" r="24759" b="24148"/>
            <a:stretch>
              <a:fillRect/>
            </a:stretch>
          </p:blipFill>
          <p:spPr bwMode="auto">
            <a:xfrm>
              <a:off x="4860032" y="4149080"/>
              <a:ext cx="3510127" cy="2168677"/>
            </a:xfrm>
            <a:prstGeom prst="rect">
              <a:avLst/>
            </a:prstGeom>
            <a:noFill/>
            <a:ln w="9525">
              <a:noFill/>
              <a:miter lim="800000"/>
              <a:headEnd/>
              <a:tailEnd/>
            </a:ln>
          </p:spPr>
        </p:pic>
        <p:pic>
          <p:nvPicPr>
            <p:cNvPr id="16" name="Picture 2"/>
            <p:cNvPicPr>
              <a:picLocks noChangeAspect="1" noChangeArrowheads="1"/>
            </p:cNvPicPr>
            <p:nvPr/>
          </p:nvPicPr>
          <p:blipFill>
            <a:blip r:embed="rId5" cstate="print"/>
            <a:srcRect l="23621" t="30141" r="23571" b="34422"/>
            <a:stretch>
              <a:fillRect/>
            </a:stretch>
          </p:blipFill>
          <p:spPr bwMode="auto">
            <a:xfrm>
              <a:off x="4860032" y="1672002"/>
              <a:ext cx="3528392" cy="2045030"/>
            </a:xfrm>
            <a:prstGeom prst="rect">
              <a:avLst/>
            </a:prstGeom>
            <a:noFill/>
            <a:ln w="9525">
              <a:noFill/>
              <a:miter lim="800000"/>
              <a:headEnd/>
              <a:tailEnd/>
            </a:ln>
          </p:spPr>
        </p:pic>
      </p:grpSp>
      <p:sp>
        <p:nvSpPr>
          <p:cNvPr id="18" name="Shape 88"/>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20" name="Shape 89"/>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extLst>
      <p:ext uri="{BB962C8B-B14F-4D97-AF65-F5344CB8AC3E}">
        <p14:creationId xmlns:mc="http://schemas.openxmlformats.org/markup-compatibility/2006" xmlns:mv="urn:schemas-microsoft-com:mac:vml" xmlns:p14="http://schemas.microsoft.com/office/powerpoint/2010/main" xmlns="" val="552826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xit" presetSubtype="10" fill="hold" nodeType="clickEffect">
                                  <p:stCondLst>
                                    <p:cond delay="0"/>
                                  </p:stCondLst>
                                  <p:childTnLst>
                                    <p:animEffect transition="out" filter="checkerboard(across)">
                                      <p:cBhvr>
                                        <p:cTn id="14" dur="500"/>
                                        <p:tgtEl>
                                          <p:spTgt spid="2"/>
                                        </p:tgtEl>
                                      </p:cBhvr>
                                    </p:animEffect>
                                    <p:set>
                                      <p:cBhvr>
                                        <p:cTn id="15" dur="1" fill="hold">
                                          <p:stCondLst>
                                            <p:cond delay="499"/>
                                          </p:stCondLst>
                                        </p:cTn>
                                        <p:tgtEl>
                                          <p:spTgt spid="2"/>
                                        </p:tgtEl>
                                        <p:attrNameLst>
                                          <p:attrName>style.visibility</p:attrName>
                                        </p:attrNameLst>
                                      </p:cBhvr>
                                      <p:to>
                                        <p:strVal val="hidden"/>
                                      </p:to>
                                    </p:set>
                                  </p:childTnLst>
                                </p:cTn>
                              </p:par>
                              <p:par>
                                <p:cTn id="16" presetID="5" presetClass="exit" presetSubtype="10" fill="hold" nodeType="withEffect">
                                  <p:stCondLst>
                                    <p:cond delay="0"/>
                                  </p:stCondLst>
                                  <p:childTnLst>
                                    <p:animEffect transition="out" filter="checkerboard(across)">
                                      <p:cBhvr>
                                        <p:cTn id="17" dur="500"/>
                                        <p:tgtEl>
                                          <p:spTgt spid="17"/>
                                        </p:tgtEl>
                                      </p:cBhvr>
                                    </p:animEffect>
                                    <p:set>
                                      <p:cBhvr>
                                        <p:cTn id="18" dur="1" fill="hold">
                                          <p:stCondLst>
                                            <p:cond delay="499"/>
                                          </p:stCondLst>
                                        </p:cTn>
                                        <p:tgtEl>
                                          <p:spTgt spid="17"/>
                                        </p:tgtEl>
                                        <p:attrNameLst>
                                          <p:attrName>style.visibility</p:attrName>
                                        </p:attrNameLst>
                                      </p:cBhvr>
                                      <p:to>
                                        <p:strVal val="hidden"/>
                                      </p:to>
                                    </p:set>
                                  </p:childTnLst>
                                </p:cTn>
                              </p:par>
                              <p:par>
                                <p:cTn id="19" presetID="5" presetClass="exit" presetSubtype="10" fill="hold" nodeType="withEffect">
                                  <p:stCondLst>
                                    <p:cond delay="0"/>
                                  </p:stCondLst>
                                  <p:childTnLst>
                                    <p:animEffect transition="out" filter="checkerboard(across)">
                                      <p:cBhvr>
                                        <p:cTn id="20" dur="500"/>
                                        <p:tgtEl>
                                          <p:spTgt spid="3"/>
                                        </p:tgtEl>
                                      </p:cBhvr>
                                    </p:animEffect>
                                    <p:set>
                                      <p:cBhvr>
                                        <p:cTn id="21" dur="1" fill="hold">
                                          <p:stCondLst>
                                            <p:cond delay="499"/>
                                          </p:stCondLst>
                                        </p:cTn>
                                        <p:tgtEl>
                                          <p:spTgt spid="3"/>
                                        </p:tgtEl>
                                        <p:attrNameLst>
                                          <p:attrName>style.visibility</p:attrName>
                                        </p:attrNameLst>
                                      </p:cBhvr>
                                      <p:to>
                                        <p:strVal val="hidden"/>
                                      </p:to>
                                    </p:set>
                                  </p:childTnLst>
                                </p:cTn>
                              </p:par>
                            </p:childTnLst>
                          </p:cTn>
                        </p:par>
                        <p:par>
                          <p:cTn id="22" fill="hold">
                            <p:stCondLst>
                              <p:cond delay="500"/>
                            </p:stCondLst>
                            <p:childTnLst>
                              <p:par>
                                <p:cTn id="23" presetID="5" presetClass="entr" presetSubtype="10" fill="hold" nodeType="after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checkerboard(across)">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Shape 112"/>
          <p:cNvSpPr/>
          <p:nvPr/>
        </p:nvSpPr>
        <p:spPr>
          <a:xfrm>
            <a:off x="323849" y="224421"/>
            <a:ext cx="8249034" cy="3693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sz="2800" b="1"/>
            </a:lvl1pPr>
          </a:lstStyle>
          <a:p>
            <a:pPr lvl="0">
              <a:defRPr sz="1800" b="0"/>
            </a:pPr>
            <a:r>
              <a:rPr dirty="0">
                <a:latin typeface="Cambria" pitchFamily="18" charset="0"/>
              </a:rPr>
              <a:t> </a:t>
            </a:r>
            <a:r>
              <a:rPr lang="en-US" sz="1800" dirty="0" smtClean="0">
                <a:solidFill>
                  <a:srgbClr val="C00000"/>
                </a:solidFill>
                <a:latin typeface="Cambria" pitchFamily="18" charset="0"/>
                <a:ea typeface="+mj-ea"/>
                <a:cs typeface="+mj-cs"/>
              </a:rPr>
              <a:t>MRO in Africa: Industry profile, global trends and  potential competitors</a:t>
            </a:r>
            <a:endParaRPr lang="en-US" sz="1800" dirty="0">
              <a:solidFill>
                <a:srgbClr val="C00000"/>
              </a:solidFill>
              <a:latin typeface="Cambria" pitchFamily="18" charset="0"/>
              <a:ea typeface="+mj-ea"/>
              <a:cs typeface="+mj-cs"/>
            </a:endParaRPr>
          </a:p>
        </p:txBody>
      </p:sp>
      <p:sp>
        <p:nvSpPr>
          <p:cNvPr id="113" name="Shape 113"/>
          <p:cNvSpPr/>
          <p:nvPr/>
        </p:nvSpPr>
        <p:spPr>
          <a:xfrm>
            <a:off x="323849" y="1341437"/>
            <a:ext cx="5462598" cy="35585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lvl="0">
              <a:buSzPct val="100000"/>
              <a:buFont typeface="Arial"/>
              <a:buChar char="•"/>
            </a:pPr>
            <a:r>
              <a:t>Africa weighs for 4,5 % of the global  market in air transport MRO which  is about 2 billion USD</a:t>
            </a:r>
          </a:p>
          <a:p>
            <a:pPr lvl="0"/>
            <a:endParaRPr/>
          </a:p>
          <a:p>
            <a:pPr lvl="0">
              <a:buSzPct val="100000"/>
              <a:buFont typeface="Arial"/>
              <a:buChar char="•"/>
            </a:pPr>
            <a:r>
              <a:t>Globalization has triggered the creation of strategic partnership between low labor cost service providers and higher ones</a:t>
            </a:r>
          </a:p>
          <a:p>
            <a:pPr lvl="0"/>
            <a:endParaRPr/>
          </a:p>
          <a:p>
            <a:pPr lvl="0">
              <a:buSzPct val="100000"/>
              <a:buFont typeface="Arial"/>
              <a:buChar char="•"/>
            </a:pPr>
            <a:r>
              <a:t> Most of the airlines in West Africa use narrow-body aircraft. However the second generation Boeing 737 is the most used one for passengers.</a:t>
            </a:r>
          </a:p>
          <a:p>
            <a:pPr lvl="0">
              <a:buSzPct val="100000"/>
              <a:buFont typeface="Arial"/>
              <a:buChar char="•"/>
            </a:pPr>
            <a:endParaRPr/>
          </a:p>
          <a:p>
            <a:pPr lvl="0">
              <a:buSzPct val="100000"/>
              <a:buFont typeface="Arial"/>
              <a:buChar char="•"/>
            </a:pPr>
            <a:r>
              <a:t>There is </a:t>
            </a:r>
            <a:r>
              <a:rPr b="1"/>
              <a:t>not an MRO Center in west Africa. </a:t>
            </a:r>
          </a:p>
        </p:txBody>
      </p:sp>
      <p:pic>
        <p:nvPicPr>
          <p:cNvPr id="114" name="image19.png"/>
          <p:cNvPicPr/>
          <p:nvPr/>
        </p:nvPicPr>
        <p:blipFill>
          <a:blip r:embed="rId2">
            <a:extLst/>
          </a:blip>
          <a:stretch>
            <a:fillRect/>
          </a:stretch>
        </p:blipFill>
        <p:spPr>
          <a:xfrm>
            <a:off x="5786447" y="1285859"/>
            <a:ext cx="3357555" cy="4572034"/>
          </a:xfrm>
          <a:prstGeom prst="rect">
            <a:avLst/>
          </a:prstGeom>
          <a:ln w="12700">
            <a:miter lim="400000"/>
          </a:ln>
        </p:spPr>
      </p:pic>
      <p:sp>
        <p:nvSpPr>
          <p:cNvPr id="7" name="Shape 88"/>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8" name="Shape 89"/>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spd="med"/>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Shape 118"/>
          <p:cNvSpPr/>
          <p:nvPr/>
        </p:nvSpPr>
        <p:spPr>
          <a:xfrm>
            <a:off x="804041" y="188912"/>
            <a:ext cx="8135007" cy="461665"/>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sz="2800" b="1"/>
            </a:lvl1pPr>
          </a:lstStyle>
          <a:p>
            <a:pPr lvl="0" algn="l">
              <a:defRPr sz="1800" b="0"/>
            </a:pPr>
            <a:r>
              <a:rPr sz="2400" b="0" dirty="0">
                <a:latin typeface="Cambria" pitchFamily="18" charset="0"/>
              </a:rPr>
              <a:t> </a:t>
            </a:r>
            <a:r>
              <a:rPr lang="en-US" sz="2400" b="0" dirty="0" smtClean="0">
                <a:solidFill>
                  <a:srgbClr val="C00000"/>
                </a:solidFill>
                <a:latin typeface="Cambria" pitchFamily="18" charset="0"/>
                <a:ea typeface="+mj-ea"/>
                <a:cs typeface="+mj-cs"/>
              </a:rPr>
              <a:t>MRO in Senegal: Diagnosis and Realization options </a:t>
            </a:r>
            <a:endParaRPr lang="en-US" sz="2400" b="0" dirty="0">
              <a:solidFill>
                <a:srgbClr val="C00000"/>
              </a:solidFill>
              <a:latin typeface="Cambria" pitchFamily="18" charset="0"/>
              <a:ea typeface="+mj-ea"/>
              <a:cs typeface="+mj-cs"/>
            </a:endParaRPr>
          </a:p>
        </p:txBody>
      </p:sp>
      <p:sp>
        <p:nvSpPr>
          <p:cNvPr id="119" name="Shape 119"/>
          <p:cNvSpPr/>
          <p:nvPr/>
        </p:nvSpPr>
        <p:spPr>
          <a:xfrm>
            <a:off x="395288" y="1628774"/>
            <a:ext cx="4752976" cy="40919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lvl="0">
              <a:buSzPct val="100000"/>
              <a:buFont typeface="Arial"/>
              <a:buChar char="•"/>
            </a:pPr>
            <a:r>
              <a:t>The main objective behind the construction of the new airport is to make of Dakar a hub by betting on its historic role to be a point of transit for intercontinental flights.</a:t>
            </a:r>
          </a:p>
          <a:p>
            <a:pPr lvl="0"/>
            <a:endParaRPr/>
          </a:p>
          <a:p>
            <a:pPr lvl="0">
              <a:buSzPct val="100000"/>
              <a:buFont typeface="Arial"/>
              <a:buChar char="•"/>
            </a:pPr>
            <a:r>
              <a:t>To accomplish that goal realizing a MRO center that offers efficient and competitive services is a must.</a:t>
            </a:r>
          </a:p>
          <a:p>
            <a:pPr lvl="0">
              <a:buSzPct val="100000"/>
              <a:buFont typeface="Arial"/>
              <a:buChar char="•"/>
            </a:pPr>
            <a:endParaRPr/>
          </a:p>
          <a:p>
            <a:pPr lvl="0">
              <a:buSzPct val="100000"/>
              <a:buFont typeface="Arial"/>
              <a:buChar char="•"/>
            </a:pPr>
            <a:r>
              <a:t>Also concentrate on intercontinental aeronautical activities including but not limited to technical stops </a:t>
            </a:r>
          </a:p>
          <a:p>
            <a:pPr lvl="0">
              <a:buSzPct val="100000"/>
              <a:buFont typeface="Arial"/>
              <a:buChar char="•"/>
            </a:pPr>
            <a:endParaRPr/>
          </a:p>
          <a:p>
            <a:pPr lvl="0">
              <a:buSzPct val="100000"/>
              <a:buFont typeface="Arial"/>
              <a:buChar char="•"/>
            </a:pPr>
            <a:r>
              <a:t>Realization options: </a:t>
            </a:r>
            <a:r>
              <a:rPr b="1"/>
              <a:t>A PPP is foreseen</a:t>
            </a:r>
            <a:r>
              <a:t>.</a:t>
            </a:r>
          </a:p>
        </p:txBody>
      </p:sp>
      <p:pic>
        <p:nvPicPr>
          <p:cNvPr id="120" name="image20.jpg" descr="CID.jpg"/>
          <p:cNvPicPr/>
          <p:nvPr/>
        </p:nvPicPr>
        <p:blipFill>
          <a:blip r:embed="rId2">
            <a:extLst/>
          </a:blip>
          <a:stretch>
            <a:fillRect/>
          </a:stretch>
        </p:blipFill>
        <p:spPr>
          <a:xfrm>
            <a:off x="5292725" y="1773238"/>
            <a:ext cx="3455988" cy="3311526"/>
          </a:xfrm>
          <a:prstGeom prst="rect">
            <a:avLst/>
          </a:prstGeom>
          <a:ln w="12700">
            <a:miter lim="400000"/>
          </a:ln>
        </p:spPr>
      </p:pic>
      <p:sp>
        <p:nvSpPr>
          <p:cNvPr id="7" name="Shape 88"/>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8" name="Shape 89"/>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Shape 124"/>
          <p:cNvSpPr/>
          <p:nvPr/>
        </p:nvSpPr>
        <p:spPr>
          <a:xfrm>
            <a:off x="722922" y="188912"/>
            <a:ext cx="8216126" cy="523220"/>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lgn="ctr">
              <a:defRPr sz="2800" b="1"/>
            </a:lvl1pPr>
          </a:lstStyle>
          <a:p>
            <a:pPr lvl="0" algn="l">
              <a:defRPr sz="1800" b="0"/>
            </a:pPr>
            <a:r>
              <a:rPr sz="2800" b="0" dirty="0"/>
              <a:t> </a:t>
            </a:r>
            <a:r>
              <a:rPr lang="en-US" sz="2400" b="0" dirty="0" smtClean="0">
                <a:solidFill>
                  <a:srgbClr val="C00000"/>
                </a:solidFill>
                <a:latin typeface="Cambria" pitchFamily="18" charset="0"/>
                <a:ea typeface="+mj-ea"/>
                <a:cs typeface="+mj-cs"/>
              </a:rPr>
              <a:t>MRO in Senegal: Assessment of future demand </a:t>
            </a:r>
            <a:endParaRPr lang="en-US" sz="2400" b="0" dirty="0">
              <a:solidFill>
                <a:srgbClr val="C00000"/>
              </a:solidFill>
              <a:latin typeface="Cambria" pitchFamily="18" charset="0"/>
              <a:ea typeface="+mj-ea"/>
              <a:cs typeface="+mj-cs"/>
            </a:endParaRPr>
          </a:p>
        </p:txBody>
      </p:sp>
      <p:sp>
        <p:nvSpPr>
          <p:cNvPr id="125" name="Shape 125"/>
          <p:cNvSpPr/>
          <p:nvPr/>
        </p:nvSpPr>
        <p:spPr>
          <a:xfrm>
            <a:off x="250825" y="1142999"/>
            <a:ext cx="4968875" cy="5355312"/>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173038" lvl="0" indent="-173038">
              <a:buSzPct val="100000"/>
              <a:buFont typeface="Arial"/>
              <a:buChar char="•"/>
            </a:pPr>
            <a:r>
              <a:rPr dirty="0"/>
              <a:t>There are about 38 destinations in Africa being reached from Dakar, also direct flights to Europe, North America and South America (Cargo) are carried,</a:t>
            </a:r>
          </a:p>
          <a:p>
            <a:pPr marL="173038" lvl="0" indent="-173038"/>
            <a:endParaRPr dirty="0"/>
          </a:p>
          <a:p>
            <a:pPr marL="173038" lvl="0" indent="-173038">
              <a:buSzPct val="100000"/>
              <a:buFont typeface="Arial"/>
              <a:buChar char="•"/>
            </a:pPr>
            <a:r>
              <a:rPr dirty="0"/>
              <a:t>About 12 leading airlines come to Dakar , out of which you can list Delta, South African Airways, Air France, Iberia, TAP, Lufthansa.</a:t>
            </a:r>
          </a:p>
          <a:p>
            <a:pPr marL="173038" lvl="0" indent="-173038"/>
            <a:endParaRPr dirty="0"/>
          </a:p>
          <a:p>
            <a:pPr marL="173038" lvl="0" indent="-173038">
              <a:buSzPct val="100000"/>
              <a:buFont typeface="Arial"/>
              <a:buChar char="•"/>
            </a:pPr>
            <a:r>
              <a:rPr dirty="0"/>
              <a:t>For that reason we propose a modular way to start the activities step by step by having:</a:t>
            </a:r>
          </a:p>
          <a:p>
            <a:pPr lvl="0">
              <a:buSzPct val="100000"/>
              <a:buFont typeface="Arial"/>
              <a:buChar char="•"/>
            </a:pPr>
            <a:endParaRPr dirty="0"/>
          </a:p>
          <a:p>
            <a:pPr marL="630238" lvl="2" indent="-268288">
              <a:buSzPct val="100000"/>
              <a:buFont typeface="Wingdings" pitchFamily="2" charset="2"/>
              <a:buChar char="Ø"/>
            </a:pPr>
            <a:r>
              <a:rPr b="1" dirty="0"/>
              <a:t>Stopovers/Technical stops including Check A&amp;B,</a:t>
            </a:r>
          </a:p>
          <a:p>
            <a:pPr marL="630238" lvl="2" indent="-268288">
              <a:buSzPct val="100000"/>
              <a:buFont typeface="Wingdings" pitchFamily="2" charset="2"/>
              <a:buChar char="Ø"/>
            </a:pPr>
            <a:r>
              <a:rPr b="1" dirty="0"/>
              <a:t>Aircraft on ground maintenance et not planned,</a:t>
            </a:r>
          </a:p>
          <a:p>
            <a:pPr marL="630238" lvl="2" indent="-268288">
              <a:buSzPct val="100000"/>
              <a:buFont typeface="Wingdings" pitchFamily="2" charset="2"/>
              <a:buChar char="Ø"/>
            </a:pPr>
            <a:r>
              <a:rPr b="1" dirty="0"/>
              <a:t>Heavy Maintenance check C &amp; D,</a:t>
            </a:r>
          </a:p>
          <a:p>
            <a:pPr marL="630238" lvl="2" indent="-268288">
              <a:buSzPct val="100000"/>
              <a:buFont typeface="Wingdings" pitchFamily="2" charset="2"/>
              <a:buChar char="Ø"/>
            </a:pPr>
            <a:r>
              <a:rPr b="1" dirty="0"/>
              <a:t>Interior and external works on aircraft,</a:t>
            </a:r>
          </a:p>
          <a:p>
            <a:pPr marL="630238" lvl="2" indent="-268288">
              <a:buSzPct val="100000"/>
              <a:buFont typeface="Wingdings" pitchFamily="2" charset="2"/>
              <a:buChar char="Ø"/>
            </a:pPr>
            <a:r>
              <a:rPr b="1" dirty="0"/>
              <a:t>Aircraft maintenance logistics .</a:t>
            </a:r>
          </a:p>
        </p:txBody>
      </p:sp>
      <p:pic>
        <p:nvPicPr>
          <p:cNvPr id="126" name="image21.jpg" descr="MRO mgmnt.jpg"/>
          <p:cNvPicPr/>
          <p:nvPr/>
        </p:nvPicPr>
        <p:blipFill>
          <a:blip r:embed="rId2">
            <a:extLst/>
          </a:blip>
          <a:stretch>
            <a:fillRect/>
          </a:stretch>
        </p:blipFill>
        <p:spPr>
          <a:xfrm>
            <a:off x="5316537" y="1484312"/>
            <a:ext cx="3827463" cy="1746251"/>
          </a:xfrm>
          <a:prstGeom prst="rect">
            <a:avLst/>
          </a:prstGeom>
          <a:ln w="12700">
            <a:miter lim="400000"/>
          </a:ln>
        </p:spPr>
      </p:pic>
      <p:pic>
        <p:nvPicPr>
          <p:cNvPr id="127" name="image22.jpg" descr="MRO mgmnt1.jpg"/>
          <p:cNvPicPr/>
          <p:nvPr/>
        </p:nvPicPr>
        <p:blipFill>
          <a:blip r:embed="rId3">
            <a:extLst/>
          </a:blip>
          <a:stretch>
            <a:fillRect/>
          </a:stretch>
        </p:blipFill>
        <p:spPr>
          <a:xfrm>
            <a:off x="5292725" y="3284537"/>
            <a:ext cx="3851275" cy="2186097"/>
          </a:xfrm>
          <a:prstGeom prst="rect">
            <a:avLst/>
          </a:prstGeom>
          <a:ln w="12700">
            <a:miter lim="400000"/>
          </a:ln>
        </p:spPr>
      </p:pic>
      <p:sp>
        <p:nvSpPr>
          <p:cNvPr id="8" name="Shape 88"/>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9" name="Shape 89"/>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9" name="image23.png"/>
          <p:cNvPicPr/>
          <p:nvPr/>
        </p:nvPicPr>
        <p:blipFill>
          <a:blip r:embed="rId2">
            <a:extLst/>
          </a:blip>
          <a:srcRect l="14618" t="17474" r="25250" b="19971"/>
          <a:stretch>
            <a:fillRect/>
          </a:stretch>
        </p:blipFill>
        <p:spPr>
          <a:xfrm>
            <a:off x="392113" y="1447800"/>
            <a:ext cx="8142287" cy="4511675"/>
          </a:xfrm>
          <a:prstGeom prst="rect">
            <a:avLst/>
          </a:prstGeom>
          <a:ln w="12700">
            <a:miter lim="400000"/>
          </a:ln>
        </p:spPr>
      </p:pic>
      <p:grpSp>
        <p:nvGrpSpPr>
          <p:cNvPr id="2" name="Group 132"/>
          <p:cNvGrpSpPr/>
          <p:nvPr/>
        </p:nvGrpSpPr>
        <p:grpSpPr>
          <a:xfrm>
            <a:off x="2514600" y="1828800"/>
            <a:ext cx="1219201" cy="533401"/>
            <a:chOff x="0" y="0"/>
            <a:chExt cx="1219200" cy="533400"/>
          </a:xfrm>
        </p:grpSpPr>
        <p:sp>
          <p:nvSpPr>
            <p:cNvPr id="130" name="Shape 130"/>
            <p:cNvSpPr/>
            <p:nvPr/>
          </p:nvSpPr>
          <p:spPr>
            <a:xfrm>
              <a:off x="0" y="0"/>
              <a:ext cx="1219201"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00B050"/>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31" name="Shape 131"/>
            <p:cNvSpPr/>
            <p:nvPr/>
          </p:nvSpPr>
          <p:spPr>
            <a:xfrm>
              <a:off x="0" y="113659"/>
              <a:ext cx="1219200" cy="19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lvl1pPr algn="ctr">
                <a:defRPr sz="1200" b="1"/>
              </a:lvl1pPr>
            </a:lstStyle>
            <a:p>
              <a:pPr lvl="0">
                <a:defRPr sz="1800" b="0"/>
              </a:pPr>
              <a:r>
                <a:rPr sz="1200" b="1"/>
                <a:t>VVIP</a:t>
              </a:r>
            </a:p>
          </p:txBody>
        </p:sp>
      </p:grpSp>
      <p:grpSp>
        <p:nvGrpSpPr>
          <p:cNvPr id="3" name="Group 135"/>
          <p:cNvGrpSpPr/>
          <p:nvPr/>
        </p:nvGrpSpPr>
        <p:grpSpPr>
          <a:xfrm>
            <a:off x="990600" y="1628775"/>
            <a:ext cx="1204914" cy="733426"/>
            <a:chOff x="0" y="0"/>
            <a:chExt cx="1204913" cy="733425"/>
          </a:xfrm>
        </p:grpSpPr>
        <p:sp>
          <p:nvSpPr>
            <p:cNvPr id="133" name="Shape 133"/>
            <p:cNvSpPr/>
            <p:nvPr/>
          </p:nvSpPr>
          <p:spPr>
            <a:xfrm>
              <a:off x="0" y="0"/>
              <a:ext cx="1204914" cy="73342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4F81BD"/>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34" name="Shape 134"/>
            <p:cNvSpPr/>
            <p:nvPr/>
          </p:nvSpPr>
          <p:spPr>
            <a:xfrm>
              <a:off x="0" y="15869"/>
              <a:ext cx="1204913" cy="5550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p>
              <a:pPr lvl="0" algn="ctr"/>
              <a:r>
                <a:rPr sz="1200" b="1"/>
                <a:t>Presidential Aircraft</a:t>
              </a:r>
            </a:p>
            <a:p>
              <a:pPr lvl="0" algn="ctr"/>
              <a:r>
                <a:rPr sz="1200" b="1"/>
                <a:t>Hangar </a:t>
              </a:r>
            </a:p>
          </p:txBody>
        </p:sp>
      </p:grpSp>
      <p:grpSp>
        <p:nvGrpSpPr>
          <p:cNvPr id="4" name="Group 138"/>
          <p:cNvGrpSpPr/>
          <p:nvPr/>
        </p:nvGrpSpPr>
        <p:grpSpPr>
          <a:xfrm>
            <a:off x="3962400" y="1828800"/>
            <a:ext cx="1219201" cy="533401"/>
            <a:chOff x="0" y="0"/>
            <a:chExt cx="1219200" cy="533400"/>
          </a:xfrm>
        </p:grpSpPr>
        <p:sp>
          <p:nvSpPr>
            <p:cNvPr id="136" name="Shape 136"/>
            <p:cNvSpPr/>
            <p:nvPr/>
          </p:nvSpPr>
          <p:spPr>
            <a:xfrm>
              <a:off x="0" y="0"/>
              <a:ext cx="1219201"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4F81BD"/>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37" name="Shape 137"/>
            <p:cNvSpPr/>
            <p:nvPr/>
          </p:nvSpPr>
          <p:spPr>
            <a:xfrm>
              <a:off x="0" y="113659"/>
              <a:ext cx="1219200" cy="19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lvl1pPr algn="ctr">
                <a:defRPr sz="1200" b="1"/>
              </a:lvl1pPr>
            </a:lstStyle>
            <a:p>
              <a:pPr lvl="0">
                <a:defRPr sz="1800" b="0"/>
              </a:pPr>
              <a:r>
                <a:rPr sz="1200" b="1"/>
                <a:t>Handling</a:t>
              </a:r>
            </a:p>
          </p:txBody>
        </p:sp>
      </p:grpSp>
      <p:grpSp>
        <p:nvGrpSpPr>
          <p:cNvPr id="5" name="Group 141"/>
          <p:cNvGrpSpPr/>
          <p:nvPr/>
        </p:nvGrpSpPr>
        <p:grpSpPr>
          <a:xfrm>
            <a:off x="6858000" y="1828800"/>
            <a:ext cx="1219201" cy="533401"/>
            <a:chOff x="0" y="0"/>
            <a:chExt cx="1219200" cy="533400"/>
          </a:xfrm>
        </p:grpSpPr>
        <p:sp>
          <p:nvSpPr>
            <p:cNvPr id="139" name="Shape 139"/>
            <p:cNvSpPr/>
            <p:nvPr/>
          </p:nvSpPr>
          <p:spPr>
            <a:xfrm>
              <a:off x="0" y="0"/>
              <a:ext cx="1219201"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4F81BD"/>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40" name="Shape 140"/>
            <p:cNvSpPr/>
            <p:nvPr/>
          </p:nvSpPr>
          <p:spPr>
            <a:xfrm>
              <a:off x="0" y="113659"/>
              <a:ext cx="1219200" cy="19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lvl1pPr algn="ctr">
                <a:defRPr sz="1200" b="1"/>
              </a:lvl1pPr>
            </a:lstStyle>
            <a:p>
              <a:pPr lvl="0">
                <a:defRPr sz="1800" b="0"/>
              </a:pPr>
              <a:r>
                <a:rPr sz="1200" b="1"/>
                <a:t>Fuel Farm</a:t>
              </a:r>
            </a:p>
          </p:txBody>
        </p:sp>
      </p:grpSp>
      <p:grpSp>
        <p:nvGrpSpPr>
          <p:cNvPr id="6" name="Group 144"/>
          <p:cNvGrpSpPr/>
          <p:nvPr/>
        </p:nvGrpSpPr>
        <p:grpSpPr>
          <a:xfrm>
            <a:off x="5410200" y="1828800"/>
            <a:ext cx="1219201" cy="533401"/>
            <a:chOff x="0" y="0"/>
            <a:chExt cx="1219200" cy="533400"/>
          </a:xfrm>
        </p:grpSpPr>
        <p:sp>
          <p:nvSpPr>
            <p:cNvPr id="142" name="Shape 142"/>
            <p:cNvSpPr/>
            <p:nvPr/>
          </p:nvSpPr>
          <p:spPr>
            <a:xfrm>
              <a:off x="0" y="0"/>
              <a:ext cx="1219201"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4F81BD"/>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43" name="Shape 143"/>
            <p:cNvSpPr/>
            <p:nvPr/>
          </p:nvSpPr>
          <p:spPr>
            <a:xfrm>
              <a:off x="0" y="24759"/>
              <a:ext cx="1219200" cy="377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lvl1pPr algn="ctr">
                <a:defRPr sz="1200" b="1"/>
              </a:lvl1pPr>
            </a:lstStyle>
            <a:p>
              <a:pPr lvl="0">
                <a:defRPr sz="1800" b="0"/>
              </a:pPr>
              <a:r>
                <a:rPr sz="1200" b="1"/>
                <a:t>Assigned official lodgings</a:t>
              </a:r>
            </a:p>
          </p:txBody>
        </p:sp>
      </p:grpSp>
      <p:grpSp>
        <p:nvGrpSpPr>
          <p:cNvPr id="7" name="Group 147"/>
          <p:cNvGrpSpPr/>
          <p:nvPr/>
        </p:nvGrpSpPr>
        <p:grpSpPr>
          <a:xfrm>
            <a:off x="1371599" y="5410199"/>
            <a:ext cx="1220790" cy="533402"/>
            <a:chOff x="0" y="0"/>
            <a:chExt cx="1220788" cy="533400"/>
          </a:xfrm>
        </p:grpSpPr>
        <p:sp>
          <p:nvSpPr>
            <p:cNvPr id="145" name="Shape 145"/>
            <p:cNvSpPr/>
            <p:nvPr/>
          </p:nvSpPr>
          <p:spPr>
            <a:xfrm rot="10800000" flipH="1">
              <a:off x="0" y="0"/>
              <a:ext cx="1220789"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00B050"/>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46" name="Shape 146"/>
            <p:cNvSpPr/>
            <p:nvPr/>
          </p:nvSpPr>
          <p:spPr>
            <a:xfrm>
              <a:off x="0" y="131440"/>
              <a:ext cx="1220788" cy="377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p>
              <a:pPr lvl="0" algn="ctr"/>
              <a:r>
                <a:rPr sz="1200" b="1"/>
                <a:t>General</a:t>
              </a:r>
            </a:p>
            <a:p>
              <a:pPr lvl="0" algn="ctr"/>
              <a:r>
                <a:rPr sz="1200" b="1"/>
                <a:t>Aviation</a:t>
              </a:r>
            </a:p>
          </p:txBody>
        </p:sp>
      </p:grpSp>
      <p:sp>
        <p:nvSpPr>
          <p:cNvPr id="148" name="Shape 148"/>
          <p:cNvSpPr/>
          <p:nvPr/>
        </p:nvSpPr>
        <p:spPr>
          <a:xfrm>
            <a:off x="3908425" y="3657600"/>
            <a:ext cx="53975" cy="53975"/>
          </a:xfrm>
          <a:prstGeom prst="rect">
            <a:avLst/>
          </a:prstGeom>
          <a:solidFill>
            <a:srgbClr val="800080"/>
          </a:solidFill>
          <a:ln>
            <a:solidFill>
              <a:srgbClr val="800080"/>
            </a:solidFill>
            <a:miter/>
          </a:ln>
          <a:effectLst>
            <a:outerShdw blurRad="12700" dist="38100" dir="5400000" rotWithShape="0">
              <a:srgbClr val="000000">
                <a:alpha val="43137"/>
              </a:srgbClr>
            </a:outerShdw>
          </a:effectLst>
        </p:spPr>
        <p:txBody>
          <a:bodyPr lIns="0" tIns="0" rIns="0" bIns="0" anchor="ctr"/>
          <a:lstStyle/>
          <a:p>
            <a:pPr lvl="0" algn="ctr" defTabSz="914219">
              <a:defRPr>
                <a:solidFill>
                  <a:srgbClr val="FFFFFF"/>
                </a:solidFill>
              </a:defRPr>
            </a:pPr>
            <a:endParaRPr/>
          </a:p>
        </p:txBody>
      </p:sp>
      <p:sp>
        <p:nvSpPr>
          <p:cNvPr id="149" name="Shape 149"/>
          <p:cNvSpPr/>
          <p:nvPr/>
        </p:nvSpPr>
        <p:spPr>
          <a:xfrm>
            <a:off x="1600200" y="2362200"/>
            <a:ext cx="457201" cy="1524001"/>
          </a:xfrm>
          <a:prstGeom prst="line">
            <a:avLst/>
          </a:prstGeom>
          <a:ln w="1905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50" name="Shape 150"/>
          <p:cNvSpPr/>
          <p:nvPr/>
        </p:nvSpPr>
        <p:spPr>
          <a:xfrm>
            <a:off x="3124200" y="2362200"/>
            <a:ext cx="762001" cy="1295401"/>
          </a:xfrm>
          <a:prstGeom prst="line">
            <a:avLst/>
          </a:prstGeom>
          <a:ln w="19050">
            <a:solidFill>
              <a:srgbClr val="FF6600"/>
            </a:solidFill>
            <a:round/>
            <a:tailEnd type="triangle"/>
          </a:ln>
        </p:spPr>
        <p:txBody>
          <a:bodyPr lIns="0" tIns="0" rIns="0" bIns="0"/>
          <a:lstStyle/>
          <a:p>
            <a:pPr lvl="0">
              <a:defRPr sz="1200">
                <a:latin typeface="+mj-lt"/>
                <a:ea typeface="+mj-ea"/>
                <a:cs typeface="+mj-cs"/>
                <a:sym typeface="Helvetica"/>
              </a:defRPr>
            </a:pPr>
            <a:endParaRPr/>
          </a:p>
        </p:txBody>
      </p:sp>
      <p:grpSp>
        <p:nvGrpSpPr>
          <p:cNvPr id="8" name="Group 153"/>
          <p:cNvGrpSpPr/>
          <p:nvPr/>
        </p:nvGrpSpPr>
        <p:grpSpPr>
          <a:xfrm>
            <a:off x="3047999" y="5410199"/>
            <a:ext cx="1220790" cy="533402"/>
            <a:chOff x="0" y="0"/>
            <a:chExt cx="1220788" cy="533400"/>
          </a:xfrm>
        </p:grpSpPr>
        <p:sp>
          <p:nvSpPr>
            <p:cNvPr id="151" name="Shape 151"/>
            <p:cNvSpPr/>
            <p:nvPr/>
          </p:nvSpPr>
          <p:spPr>
            <a:xfrm rot="10800000" flipH="1">
              <a:off x="0" y="0"/>
              <a:ext cx="1220789"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00B050"/>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52" name="Shape 152"/>
            <p:cNvSpPr/>
            <p:nvPr/>
          </p:nvSpPr>
          <p:spPr>
            <a:xfrm>
              <a:off x="0" y="131440"/>
              <a:ext cx="1220788" cy="377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p>
              <a:pPr lvl="0" algn="ctr"/>
              <a:r>
                <a:rPr sz="1200" b="1"/>
                <a:t>Aircraft</a:t>
              </a:r>
            </a:p>
            <a:p>
              <a:pPr lvl="0" algn="ctr"/>
              <a:r>
                <a:rPr sz="1200" b="1"/>
                <a:t>Maintenance </a:t>
              </a:r>
            </a:p>
          </p:txBody>
        </p:sp>
      </p:grpSp>
      <p:grpSp>
        <p:nvGrpSpPr>
          <p:cNvPr id="9" name="Group 156"/>
          <p:cNvGrpSpPr/>
          <p:nvPr/>
        </p:nvGrpSpPr>
        <p:grpSpPr>
          <a:xfrm>
            <a:off x="6553199" y="5410199"/>
            <a:ext cx="1220790" cy="533402"/>
            <a:chOff x="0" y="0"/>
            <a:chExt cx="1220788" cy="533400"/>
          </a:xfrm>
        </p:grpSpPr>
        <p:sp>
          <p:nvSpPr>
            <p:cNvPr id="154" name="Shape 154"/>
            <p:cNvSpPr/>
            <p:nvPr/>
          </p:nvSpPr>
          <p:spPr>
            <a:xfrm rot="10800000" flipH="1">
              <a:off x="0" y="0"/>
              <a:ext cx="1220789"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4F81BD"/>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55" name="Shape 155"/>
            <p:cNvSpPr/>
            <p:nvPr/>
          </p:nvSpPr>
          <p:spPr>
            <a:xfrm>
              <a:off x="0" y="220340"/>
              <a:ext cx="1220788" cy="19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lvl1pPr algn="ctr">
                <a:defRPr sz="1200" b="1"/>
              </a:lvl1pPr>
            </a:lstStyle>
            <a:p>
              <a:pPr lvl="0">
                <a:defRPr sz="1800" b="0"/>
              </a:pPr>
              <a:r>
                <a:rPr sz="1200" b="1"/>
                <a:t>Catering</a:t>
              </a:r>
            </a:p>
          </p:txBody>
        </p:sp>
      </p:grpSp>
      <p:grpSp>
        <p:nvGrpSpPr>
          <p:cNvPr id="10" name="Group 159"/>
          <p:cNvGrpSpPr/>
          <p:nvPr/>
        </p:nvGrpSpPr>
        <p:grpSpPr>
          <a:xfrm>
            <a:off x="4876799" y="5410199"/>
            <a:ext cx="1220790" cy="533402"/>
            <a:chOff x="0" y="0"/>
            <a:chExt cx="1220788" cy="533400"/>
          </a:xfrm>
        </p:grpSpPr>
        <p:sp>
          <p:nvSpPr>
            <p:cNvPr id="157" name="Shape 157"/>
            <p:cNvSpPr/>
            <p:nvPr/>
          </p:nvSpPr>
          <p:spPr>
            <a:xfrm rot="10800000" flipH="1">
              <a:off x="0" y="0"/>
              <a:ext cx="1220789"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4F81BD"/>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58" name="Shape 158"/>
            <p:cNvSpPr/>
            <p:nvPr/>
          </p:nvSpPr>
          <p:spPr>
            <a:xfrm>
              <a:off x="0" y="131440"/>
              <a:ext cx="1220788" cy="3772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p>
              <a:pPr lvl="0" algn="ctr"/>
              <a:r>
                <a:rPr sz="1200" b="1"/>
                <a:t>Administrative</a:t>
              </a:r>
            </a:p>
            <a:p>
              <a:pPr lvl="0" algn="ctr"/>
              <a:r>
                <a:rPr sz="1200" b="1"/>
                <a:t>Buildings</a:t>
              </a:r>
            </a:p>
          </p:txBody>
        </p:sp>
      </p:grpSp>
      <p:sp>
        <p:nvSpPr>
          <p:cNvPr id="160" name="Shape 160"/>
          <p:cNvSpPr/>
          <p:nvPr/>
        </p:nvSpPr>
        <p:spPr>
          <a:xfrm flipH="1" flipV="1">
            <a:off x="6781799" y="3886199"/>
            <a:ext cx="381001" cy="1524001"/>
          </a:xfrm>
          <a:prstGeom prst="line">
            <a:avLst/>
          </a:prstGeom>
          <a:ln w="2540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61" name="Shape 161"/>
          <p:cNvSpPr/>
          <p:nvPr/>
        </p:nvSpPr>
        <p:spPr>
          <a:xfrm flipV="1">
            <a:off x="5486400" y="3733799"/>
            <a:ext cx="914401" cy="1676401"/>
          </a:xfrm>
          <a:prstGeom prst="line">
            <a:avLst/>
          </a:prstGeom>
          <a:ln w="2540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62" name="Shape 162"/>
          <p:cNvSpPr/>
          <p:nvPr/>
        </p:nvSpPr>
        <p:spPr>
          <a:xfrm flipV="1">
            <a:off x="3657600" y="5229224"/>
            <a:ext cx="1490664" cy="180976"/>
          </a:xfrm>
          <a:prstGeom prst="line">
            <a:avLst/>
          </a:prstGeom>
          <a:ln w="2540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63" name="Shape 163"/>
          <p:cNvSpPr/>
          <p:nvPr/>
        </p:nvSpPr>
        <p:spPr>
          <a:xfrm flipV="1">
            <a:off x="1981200" y="3657599"/>
            <a:ext cx="1371601" cy="1752601"/>
          </a:xfrm>
          <a:prstGeom prst="line">
            <a:avLst/>
          </a:prstGeom>
          <a:ln w="2540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64" name="Shape 164"/>
          <p:cNvSpPr/>
          <p:nvPr/>
        </p:nvSpPr>
        <p:spPr>
          <a:xfrm>
            <a:off x="6781800" y="3124200"/>
            <a:ext cx="381000" cy="269875"/>
          </a:xfrm>
          <a:prstGeom prst="rect">
            <a:avLst/>
          </a:prstGeom>
          <a:solidFill>
            <a:srgbClr val="800000"/>
          </a:solidFill>
          <a:ln>
            <a:solidFill/>
            <a:miter/>
          </a:ln>
        </p:spPr>
        <p:txBody>
          <a:bodyPr lIns="0" tIns="0" rIns="0" bIns="0" anchor="ctr"/>
          <a:lstStyle/>
          <a:p>
            <a:pPr lvl="0" algn="ctr"/>
            <a:endParaRPr/>
          </a:p>
        </p:txBody>
      </p:sp>
      <p:sp>
        <p:nvSpPr>
          <p:cNvPr id="165" name="Shape 165"/>
          <p:cNvSpPr/>
          <p:nvPr/>
        </p:nvSpPr>
        <p:spPr>
          <a:xfrm>
            <a:off x="6019800" y="2362200"/>
            <a:ext cx="990601" cy="762001"/>
          </a:xfrm>
          <a:prstGeom prst="line">
            <a:avLst/>
          </a:prstGeom>
          <a:ln w="2540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66" name="Shape 166"/>
          <p:cNvSpPr/>
          <p:nvPr/>
        </p:nvSpPr>
        <p:spPr>
          <a:xfrm flipH="1">
            <a:off x="7391399" y="2362200"/>
            <a:ext cx="76201" cy="1371601"/>
          </a:xfrm>
          <a:prstGeom prst="line">
            <a:avLst/>
          </a:prstGeom>
          <a:ln w="2540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67" name="Shape 167"/>
          <p:cNvSpPr/>
          <p:nvPr/>
        </p:nvSpPr>
        <p:spPr>
          <a:xfrm>
            <a:off x="4572000" y="2362200"/>
            <a:ext cx="2057401" cy="1447801"/>
          </a:xfrm>
          <a:prstGeom prst="line">
            <a:avLst/>
          </a:prstGeom>
          <a:ln w="25400">
            <a:solidFill>
              <a:srgbClr val="FF6600"/>
            </a:solidFill>
            <a:round/>
            <a:tailEnd type="triangle"/>
          </a:ln>
        </p:spPr>
        <p:txBody>
          <a:bodyPr lIns="0" tIns="0" rIns="0" bIns="0"/>
          <a:lstStyle/>
          <a:p>
            <a:pPr lvl="0">
              <a:defRPr sz="1200">
                <a:latin typeface="+mj-lt"/>
                <a:ea typeface="+mj-ea"/>
                <a:cs typeface="+mj-cs"/>
                <a:sym typeface="Helvetica"/>
              </a:defRPr>
            </a:pPr>
            <a:endParaRPr/>
          </a:p>
        </p:txBody>
      </p:sp>
      <p:grpSp>
        <p:nvGrpSpPr>
          <p:cNvPr id="11" name="Group 170">
            <a:hlinkClick r:id="rId3" action="ppaction://hlinksldjump"/>
          </p:cNvPr>
          <p:cNvGrpSpPr/>
          <p:nvPr/>
        </p:nvGrpSpPr>
        <p:grpSpPr>
          <a:xfrm>
            <a:off x="3200400" y="2362200"/>
            <a:ext cx="1219201" cy="533401"/>
            <a:chOff x="0" y="0"/>
            <a:chExt cx="1219200" cy="533400"/>
          </a:xfrm>
        </p:grpSpPr>
        <p:sp>
          <p:nvSpPr>
            <p:cNvPr id="168" name="Shape 168"/>
            <p:cNvSpPr/>
            <p:nvPr/>
          </p:nvSpPr>
          <p:spPr>
            <a:xfrm>
              <a:off x="0" y="0"/>
              <a:ext cx="1219201" cy="5334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7280"/>
                  </a:lnTo>
                  <a:lnTo>
                    <a:pt x="10800" y="21600"/>
                  </a:lnTo>
                  <a:lnTo>
                    <a:pt x="0" y="17280"/>
                  </a:lnTo>
                  <a:close/>
                </a:path>
              </a:pathLst>
            </a:custGeom>
            <a:solidFill>
              <a:srgbClr val="00B050"/>
            </a:solidFill>
            <a:ln w="9525" cap="flat">
              <a:solidFill>
                <a:srgbClr val="006666"/>
              </a:solidFill>
              <a:prstDash val="solid"/>
              <a:miter lim="800000"/>
            </a:ln>
            <a:effectLst/>
          </p:spPr>
          <p:txBody>
            <a:bodyPr wrap="square" lIns="0" tIns="0" rIns="0" bIns="0" numCol="1" anchor="ctr">
              <a:noAutofit/>
            </a:bodyPr>
            <a:lstStyle/>
            <a:p>
              <a:pPr lvl="0" algn="ctr"/>
              <a:endParaRPr/>
            </a:p>
          </p:txBody>
        </p:sp>
        <p:sp>
          <p:nvSpPr>
            <p:cNvPr id="169" name="Shape 169"/>
            <p:cNvSpPr/>
            <p:nvPr/>
          </p:nvSpPr>
          <p:spPr>
            <a:xfrm>
              <a:off x="0" y="113659"/>
              <a:ext cx="1219200" cy="19940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10800" tIns="10800" rIns="10800" bIns="10800" numCol="1" anchor="ctr">
              <a:spAutoFit/>
            </a:bodyPr>
            <a:lstStyle>
              <a:lvl1pPr algn="ctr">
                <a:defRPr sz="1200" b="1"/>
              </a:lvl1pPr>
            </a:lstStyle>
            <a:p>
              <a:pPr lvl="0">
                <a:defRPr sz="1800" b="0"/>
              </a:pPr>
              <a:r>
                <a:rPr sz="1200" b="1"/>
                <a:t>Hotel</a:t>
              </a:r>
            </a:p>
          </p:txBody>
        </p:sp>
      </p:grpSp>
      <p:sp>
        <p:nvSpPr>
          <p:cNvPr id="171" name="Shape 171"/>
          <p:cNvSpPr/>
          <p:nvPr/>
        </p:nvSpPr>
        <p:spPr>
          <a:xfrm>
            <a:off x="3886200" y="2895600"/>
            <a:ext cx="228601" cy="609601"/>
          </a:xfrm>
          <a:prstGeom prst="line">
            <a:avLst/>
          </a:prstGeom>
          <a:ln w="19050">
            <a:solidFill>
              <a:srgbClr val="FF6600"/>
            </a:solidFill>
            <a:round/>
            <a:tailEnd type="triangle"/>
          </a:ln>
        </p:spPr>
        <p:txBody>
          <a:bodyPr lIns="0" tIns="0" rIns="0" bIns="0"/>
          <a:lstStyle/>
          <a:p>
            <a:pPr lvl="0">
              <a:defRPr sz="1200">
                <a:latin typeface="+mj-lt"/>
                <a:ea typeface="+mj-ea"/>
                <a:cs typeface="+mj-cs"/>
                <a:sym typeface="Helvetica"/>
              </a:defRPr>
            </a:pPr>
            <a:endParaRPr/>
          </a:p>
        </p:txBody>
      </p:sp>
      <p:sp>
        <p:nvSpPr>
          <p:cNvPr id="172" name="Shape 172"/>
          <p:cNvSpPr/>
          <p:nvPr/>
        </p:nvSpPr>
        <p:spPr>
          <a:xfrm>
            <a:off x="722922" y="-39077"/>
            <a:ext cx="8577386" cy="6883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4000" b="1">
                <a:solidFill>
                  <a:srgbClr val="FF0000"/>
                </a:solidFill>
              </a:defRPr>
            </a:lvl1pPr>
          </a:lstStyle>
          <a:p>
            <a:pPr lvl="0">
              <a:defRPr sz="1800" b="0">
                <a:solidFill>
                  <a:srgbClr val="000000"/>
                </a:solidFill>
              </a:defRPr>
            </a:pPr>
            <a:r>
              <a:rPr sz="4000" b="1">
                <a:solidFill>
                  <a:srgbClr val="FF0000"/>
                </a:solidFill>
              </a:rPr>
              <a:t>MRO Localization in AIBD</a:t>
            </a:r>
          </a:p>
        </p:txBody>
      </p:sp>
      <p:sp>
        <p:nvSpPr>
          <p:cNvPr id="173" name="Shape 17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74" name="Shape 17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
        <p:nvSpPr>
          <p:cNvPr id="175" name="Shape 175"/>
          <p:cNvSpPr/>
          <p:nvPr/>
        </p:nvSpPr>
        <p:spPr>
          <a:xfrm>
            <a:off x="2671217" y="5229225"/>
            <a:ext cx="2039007" cy="114004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63500">
            <a:solidFill>
              <a:srgbClr val="C0504D"/>
            </a:solidFill>
          </a:ln>
        </p:spPr>
        <p:txBody>
          <a:bodyPr lIns="0" tIns="0" rIns="0" bIns="0" anchor="ctr"/>
          <a:lstStyle/>
          <a:p>
            <a:pPr lvl="0" algn="ctr"/>
            <a:endParaRPr/>
          </a:p>
        </p:txBody>
      </p:sp>
    </p:spTree>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Shape 177"/>
          <p:cNvSpPr/>
          <p:nvPr/>
        </p:nvSpPr>
        <p:spPr>
          <a:xfrm>
            <a:off x="228600" y="1237550"/>
            <a:ext cx="4419600" cy="23266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153811" lvl="0" indent="-153811">
              <a:spcBef>
                <a:spcPts val="600"/>
              </a:spcBef>
              <a:buSzPct val="100000"/>
              <a:buFont typeface="Arial"/>
              <a:buChar char="•"/>
            </a:pPr>
            <a:r>
              <a:rPr sz="1600"/>
              <a:t>Option to realize it thru BOT: PPP</a:t>
            </a:r>
          </a:p>
          <a:p>
            <a:pPr marL="153811" lvl="0" indent="-153811">
              <a:spcBef>
                <a:spcPts val="600"/>
              </a:spcBef>
              <a:buSzPct val="100000"/>
              <a:buFont typeface="Arial"/>
              <a:buChar char="•"/>
            </a:pPr>
            <a:r>
              <a:rPr sz="1600"/>
              <a:t>Preliminary and detailed project studies already completed</a:t>
            </a:r>
          </a:p>
          <a:p>
            <a:pPr marL="153811" lvl="0" indent="-153811">
              <a:spcBef>
                <a:spcPts val="600"/>
              </a:spcBef>
              <a:buSzPct val="100000"/>
              <a:buFont typeface="Arial"/>
              <a:buChar char="•"/>
            </a:pPr>
            <a:r>
              <a:rPr sz="1600"/>
              <a:t>Selected option 1 code E aircraft (B 747) &amp; option 2 code C aircraft (A 320) (30700m² hangar)</a:t>
            </a:r>
          </a:p>
          <a:p>
            <a:pPr marL="153811" lvl="0" indent="-153811">
              <a:spcBef>
                <a:spcPts val="600"/>
              </a:spcBef>
              <a:buSzPct val="100000"/>
              <a:buFont typeface="Arial"/>
              <a:buChar char="•"/>
            </a:pPr>
            <a:r>
              <a:rPr sz="1600"/>
              <a:t>Adequate aircraft stands </a:t>
            </a:r>
          </a:p>
          <a:p>
            <a:pPr marL="153811" lvl="0" indent="-153811">
              <a:spcBef>
                <a:spcPts val="600"/>
              </a:spcBef>
              <a:buSzPct val="100000"/>
              <a:buFont typeface="Arial"/>
              <a:buChar char="•"/>
            </a:pPr>
            <a:r>
              <a:rPr sz="1600"/>
              <a:t>A total cost  about 58 millions USD</a:t>
            </a:r>
          </a:p>
        </p:txBody>
      </p:sp>
      <p:pic>
        <p:nvPicPr>
          <p:cNvPr id="178" name="image24.png"/>
          <p:cNvPicPr/>
          <p:nvPr/>
        </p:nvPicPr>
        <p:blipFill>
          <a:blip r:embed="rId2">
            <a:extLst/>
          </a:blip>
          <a:stretch>
            <a:fillRect/>
          </a:stretch>
        </p:blipFill>
        <p:spPr>
          <a:xfrm>
            <a:off x="4648200" y="1676400"/>
            <a:ext cx="4297363" cy="1981200"/>
          </a:xfrm>
          <a:prstGeom prst="rect">
            <a:avLst/>
          </a:prstGeom>
          <a:ln w="12700">
            <a:miter lim="400000"/>
          </a:ln>
        </p:spPr>
      </p:pic>
      <p:pic>
        <p:nvPicPr>
          <p:cNvPr id="179" name="image25.png"/>
          <p:cNvPicPr/>
          <p:nvPr/>
        </p:nvPicPr>
        <p:blipFill>
          <a:blip r:embed="rId3">
            <a:extLst/>
          </a:blip>
          <a:stretch>
            <a:fillRect/>
          </a:stretch>
        </p:blipFill>
        <p:spPr>
          <a:xfrm>
            <a:off x="5164282" y="3961372"/>
            <a:ext cx="3206915" cy="2515628"/>
          </a:xfrm>
          <a:prstGeom prst="rect">
            <a:avLst/>
          </a:prstGeom>
          <a:ln w="12700">
            <a:miter lim="400000"/>
          </a:ln>
        </p:spPr>
      </p:pic>
      <p:pic>
        <p:nvPicPr>
          <p:cNvPr id="180" name="image26.png"/>
          <p:cNvPicPr/>
          <p:nvPr/>
        </p:nvPicPr>
        <p:blipFill>
          <a:blip r:embed="rId4">
            <a:extLst/>
          </a:blip>
          <a:stretch>
            <a:fillRect/>
          </a:stretch>
        </p:blipFill>
        <p:spPr>
          <a:xfrm>
            <a:off x="533400" y="3714750"/>
            <a:ext cx="4114800" cy="2762250"/>
          </a:xfrm>
          <a:prstGeom prst="rect">
            <a:avLst/>
          </a:prstGeom>
          <a:ln w="12700">
            <a:miter lim="400000"/>
          </a:ln>
        </p:spPr>
      </p:pic>
      <p:sp>
        <p:nvSpPr>
          <p:cNvPr id="181" name="Shape 181"/>
          <p:cNvSpPr/>
          <p:nvPr/>
        </p:nvSpPr>
        <p:spPr>
          <a:xfrm>
            <a:off x="722922" y="150115"/>
            <a:ext cx="8577386" cy="4978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800" b="1">
                <a:solidFill>
                  <a:srgbClr val="FF0000"/>
                </a:solidFill>
              </a:defRPr>
            </a:lvl1pPr>
          </a:lstStyle>
          <a:p>
            <a:pPr lvl="0">
              <a:defRPr sz="1800" b="0">
                <a:solidFill>
                  <a:srgbClr val="000000"/>
                </a:solidFill>
              </a:defRPr>
            </a:pPr>
            <a:r>
              <a:rPr sz="2800" b="1">
                <a:solidFill>
                  <a:srgbClr val="FF0000"/>
                </a:solidFill>
              </a:rPr>
              <a:t>MRO Sizing, Option &amp; Financial estimates</a:t>
            </a:r>
          </a:p>
        </p:txBody>
      </p:sp>
      <p:sp>
        <p:nvSpPr>
          <p:cNvPr id="182" name="Shape 182"/>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83" name="Shape 183"/>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spd="med"/>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Shape 185"/>
          <p:cNvSpPr/>
          <p:nvPr/>
        </p:nvSpPr>
        <p:spPr>
          <a:xfrm>
            <a:off x="710633" y="1072054"/>
            <a:ext cx="7660562" cy="28727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268288" lvl="0" indent="-268288">
              <a:spcBef>
                <a:spcPts val="1800"/>
              </a:spcBef>
              <a:buSzPct val="100000"/>
              <a:buFont typeface="Wingdings"/>
              <a:buChar char="❖"/>
            </a:pPr>
            <a:r>
              <a:t>With the option retained of having 1 code E and 2 code C aircraft and to offer a great quality of service we can foresee:</a:t>
            </a:r>
          </a:p>
          <a:p>
            <a:pPr marL="725487" lvl="1" indent="-268287">
              <a:spcBef>
                <a:spcPts val="1800"/>
              </a:spcBef>
              <a:buSzPct val="100000"/>
              <a:buFont typeface="Wingdings"/>
              <a:buChar char="✓"/>
            </a:pPr>
            <a:r>
              <a:rPr b="1"/>
              <a:t>Revenues for 467 000 hours at 7 Billions CFA</a:t>
            </a:r>
          </a:p>
          <a:p>
            <a:pPr marL="725487" lvl="1" indent="-268287">
              <a:spcBef>
                <a:spcPts val="1800"/>
              </a:spcBef>
              <a:buSzPct val="100000"/>
              <a:buFont typeface="Wingdings"/>
              <a:buChar char="✓"/>
            </a:pPr>
            <a:r>
              <a:rPr b="1"/>
              <a:t>Materials revenue from 3 to 7 Billions CFA according to tasks</a:t>
            </a:r>
          </a:p>
          <a:p>
            <a:pPr marL="725487" lvl="1" indent="-268287">
              <a:spcBef>
                <a:spcPts val="1800"/>
              </a:spcBef>
              <a:buSzPct val="100000"/>
              <a:buFont typeface="Wingdings"/>
              <a:buChar char="✓"/>
            </a:pPr>
            <a:r>
              <a:rPr b="1"/>
              <a:t>External vendors revenue from 7 to 10 billions CFA</a:t>
            </a:r>
          </a:p>
          <a:p>
            <a:pPr marL="268288" lvl="0" indent="-268288">
              <a:spcBef>
                <a:spcPts val="1800"/>
              </a:spcBef>
              <a:buSzPct val="100000"/>
              <a:buFont typeface="Wingdings"/>
              <a:buChar char="❖"/>
            </a:pPr>
            <a:r>
              <a:t>Required allocated yearly revenues are to be at about 2,6 Billions CFA to cover capital obligations for the hangar and the supporting facilities</a:t>
            </a:r>
          </a:p>
        </p:txBody>
      </p:sp>
      <p:sp>
        <p:nvSpPr>
          <p:cNvPr id="186" name="Shape 186"/>
          <p:cNvSpPr/>
          <p:nvPr/>
        </p:nvSpPr>
        <p:spPr>
          <a:xfrm>
            <a:off x="722922" y="150115"/>
            <a:ext cx="8577386" cy="4978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800" b="1">
                <a:solidFill>
                  <a:srgbClr val="FF0000"/>
                </a:solidFill>
              </a:defRPr>
            </a:lvl1pPr>
          </a:lstStyle>
          <a:p>
            <a:pPr lvl="0">
              <a:defRPr sz="1800" b="0">
                <a:solidFill>
                  <a:srgbClr val="000000"/>
                </a:solidFill>
              </a:defRPr>
            </a:pPr>
            <a:r>
              <a:rPr sz="2800" b="1">
                <a:solidFill>
                  <a:srgbClr val="FF0000"/>
                </a:solidFill>
              </a:rPr>
              <a:t>Financial Analysis </a:t>
            </a:r>
          </a:p>
        </p:txBody>
      </p:sp>
      <p:sp>
        <p:nvSpPr>
          <p:cNvPr id="187" name="Shape 187"/>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88" name="Shape 188"/>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pic>
        <p:nvPicPr>
          <p:cNvPr id="189" name="image27.jpg" descr="money.jpg"/>
          <p:cNvPicPr/>
          <p:nvPr/>
        </p:nvPicPr>
        <p:blipFill>
          <a:blip r:embed="rId2">
            <a:extLst/>
          </a:blip>
          <a:stretch>
            <a:fillRect/>
          </a:stretch>
        </p:blipFill>
        <p:spPr>
          <a:xfrm>
            <a:off x="4922837" y="4026710"/>
            <a:ext cx="3268663" cy="2355040"/>
          </a:xfrm>
          <a:prstGeom prst="rect">
            <a:avLst/>
          </a:prstGeom>
          <a:ln w="12700">
            <a:miter lim="400000"/>
          </a:ln>
        </p:spPr>
      </p:pic>
      <p:pic>
        <p:nvPicPr>
          <p:cNvPr id="190" name="image28.jpg" descr="Finanial.jpg"/>
          <p:cNvPicPr/>
          <p:nvPr/>
        </p:nvPicPr>
        <p:blipFill>
          <a:blip r:embed="rId3">
            <a:extLst/>
          </a:blip>
          <a:stretch>
            <a:fillRect/>
          </a:stretch>
        </p:blipFill>
        <p:spPr>
          <a:xfrm>
            <a:off x="961697" y="4335517"/>
            <a:ext cx="3742068" cy="2108147"/>
          </a:xfrm>
          <a:prstGeom prst="rect">
            <a:avLst/>
          </a:prstGeom>
          <a:ln w="12700">
            <a:miter lim="400000"/>
          </a:ln>
        </p:spPr>
      </p:pic>
    </p:spTree>
  </p:cSld>
  <p:clrMapOvr>
    <a:masterClrMapping/>
  </p:clrMapOvr>
  <p:transition spd="med"/>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Shape 192"/>
          <p:cNvSpPr/>
          <p:nvPr/>
        </p:nvSpPr>
        <p:spPr>
          <a:xfrm>
            <a:off x="722922" y="150115"/>
            <a:ext cx="8577386" cy="4978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800" b="1">
                <a:solidFill>
                  <a:srgbClr val="FF0000"/>
                </a:solidFill>
              </a:defRPr>
            </a:lvl1pPr>
          </a:lstStyle>
          <a:p>
            <a:pPr lvl="0">
              <a:defRPr sz="1800" b="0">
                <a:solidFill>
                  <a:srgbClr val="000000"/>
                </a:solidFill>
              </a:defRPr>
            </a:pPr>
            <a:r>
              <a:rPr sz="2800" b="1">
                <a:solidFill>
                  <a:srgbClr val="FF0000"/>
                </a:solidFill>
              </a:rPr>
              <a:t>Conclusions and Recommendations</a:t>
            </a:r>
          </a:p>
        </p:txBody>
      </p:sp>
      <p:sp>
        <p:nvSpPr>
          <p:cNvPr id="193"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94"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
        <p:nvSpPr>
          <p:cNvPr id="195" name="Shape 195"/>
          <p:cNvSpPr/>
          <p:nvPr/>
        </p:nvSpPr>
        <p:spPr>
          <a:xfrm>
            <a:off x="378372" y="1196974"/>
            <a:ext cx="8586242" cy="40919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lvl="0"/>
            <a:r>
              <a:rPr dirty="0"/>
              <a:t>An MRO service at the new airport should be based on the following strategic points:</a:t>
            </a:r>
          </a:p>
          <a:p>
            <a:pPr lvl="0"/>
            <a:endParaRPr dirty="0"/>
          </a:p>
          <a:p>
            <a:pPr marL="725488" lvl="1" indent="-268288">
              <a:buSzPct val="100000"/>
              <a:buFont typeface="Wingdings" pitchFamily="2" charset="2"/>
              <a:buChar char="v"/>
            </a:pPr>
            <a:r>
              <a:rPr dirty="0"/>
              <a:t>Obtain a maximum of profit with a minimum of expenses by building at first:</a:t>
            </a:r>
          </a:p>
          <a:p>
            <a:pPr lvl="3" indent="-300038">
              <a:buFont typeface="Wingdings" pitchFamily="2" charset="2"/>
              <a:buChar char="Ø"/>
            </a:pPr>
            <a:r>
              <a:rPr lang="fr-FR" dirty="0" smtClean="0"/>
              <a:t>A</a:t>
            </a:r>
            <a:r>
              <a:rPr dirty="0" smtClean="0"/>
              <a:t> </a:t>
            </a:r>
            <a:r>
              <a:rPr dirty="0"/>
              <a:t>light maintenance hangar with its shops</a:t>
            </a:r>
          </a:p>
          <a:p>
            <a:pPr lvl="3" indent="-300038">
              <a:buFont typeface="Wingdings" pitchFamily="2" charset="2"/>
              <a:buChar char="Ø"/>
            </a:pPr>
            <a:r>
              <a:rPr dirty="0" smtClean="0"/>
              <a:t>A </a:t>
            </a:r>
            <a:r>
              <a:rPr dirty="0"/>
              <a:t>multifunctional logistic center</a:t>
            </a:r>
          </a:p>
          <a:p>
            <a:pPr lvl="3" indent="-300038">
              <a:buFont typeface="Wingdings" pitchFamily="2" charset="2"/>
              <a:buChar char="Ø"/>
            </a:pPr>
            <a:r>
              <a:rPr dirty="0" smtClean="0"/>
              <a:t>Aircraft </a:t>
            </a:r>
            <a:r>
              <a:rPr dirty="0"/>
              <a:t>stands for rapid cleaning and connected to shops</a:t>
            </a:r>
          </a:p>
          <a:p>
            <a:pPr lvl="1"/>
            <a:endParaRPr dirty="0"/>
          </a:p>
          <a:p>
            <a:pPr marL="725488" lvl="1" indent="-268288">
              <a:buSzPct val="100000"/>
              <a:buFont typeface="Wingdings" pitchFamily="2" charset="2"/>
              <a:buChar char="v"/>
            </a:pPr>
            <a:r>
              <a:rPr dirty="0"/>
              <a:t>Have a good technical and commercial partner</a:t>
            </a:r>
          </a:p>
          <a:p>
            <a:pPr marL="725488" lvl="1" indent="-268288">
              <a:buSzPct val="100000"/>
              <a:buFont typeface="Wingdings" pitchFamily="2" charset="2"/>
              <a:buChar char="v"/>
            </a:pPr>
            <a:r>
              <a:rPr dirty="0"/>
              <a:t>Progressively move the initial capacity to more important operations with heavier carriers</a:t>
            </a:r>
          </a:p>
          <a:p>
            <a:pPr marL="725488" lvl="1" indent="-268288">
              <a:buSzPct val="100000"/>
              <a:buFont typeface="Wingdings" pitchFamily="2" charset="2"/>
              <a:buChar char="v"/>
            </a:pPr>
            <a:r>
              <a:rPr dirty="0"/>
              <a:t>Develop the center in global way including activities in the SEZ.</a:t>
            </a:r>
          </a:p>
          <a:p>
            <a:pPr lvl="0">
              <a:buSzPct val="100000"/>
              <a:buFont typeface="Arial"/>
              <a:buChar char="•"/>
            </a:pPr>
            <a:endParaRPr dirty="0"/>
          </a:p>
          <a:p>
            <a:pPr lvl="0"/>
            <a:r>
              <a:rPr dirty="0"/>
              <a:t>To succeed in developing the MRO and other aeronautical activities it is essential to build synergies between them.</a:t>
            </a:r>
          </a:p>
        </p:txBody>
      </p:sp>
    </p:spTree>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Shape 198"/>
          <p:cNvSpPr/>
          <p:nvPr/>
        </p:nvSpPr>
        <p:spPr>
          <a:xfrm>
            <a:off x="2237693" y="996155"/>
            <a:ext cx="4291271" cy="447041"/>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2400" b="1"/>
            </a:lvl1pPr>
          </a:lstStyle>
          <a:p>
            <a:pPr lvl="0">
              <a:defRPr sz="1800" b="0"/>
            </a:pPr>
            <a:r>
              <a:rPr sz="2400" b="1"/>
              <a:t>Training Institute for Aviation</a:t>
            </a:r>
          </a:p>
        </p:txBody>
      </p:sp>
      <p:sp>
        <p:nvSpPr>
          <p:cNvPr id="199" name="Shape 199"/>
          <p:cNvSpPr/>
          <p:nvPr/>
        </p:nvSpPr>
        <p:spPr>
          <a:xfrm>
            <a:off x="611187" y="1557337"/>
            <a:ext cx="7632701" cy="1711366"/>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lvl="0">
              <a:lnSpc>
                <a:spcPct val="150000"/>
              </a:lnSpc>
              <a:buClr>
                <a:srgbClr val="00B050"/>
              </a:buClr>
              <a:buSzPct val="100000"/>
              <a:buFont typeface="Wingdings" pitchFamily="2" charset="2"/>
              <a:buChar char="v"/>
            </a:pPr>
            <a:r>
              <a:rPr b="1" dirty="0">
                <a:solidFill>
                  <a:srgbClr val="00B050"/>
                </a:solidFill>
              </a:rPr>
              <a:t>Location site already identified</a:t>
            </a:r>
          </a:p>
          <a:p>
            <a:pPr lvl="0">
              <a:lnSpc>
                <a:spcPct val="150000"/>
              </a:lnSpc>
              <a:buSzPct val="100000"/>
              <a:buFont typeface="Wingdings" pitchFamily="2" charset="2"/>
              <a:buChar char="v"/>
            </a:pPr>
            <a:r>
              <a:rPr b="1" dirty="0"/>
              <a:t>Training for Air Traffic Controllers, pilots, aircraft maintenance agents, ground handling, safety and rescue certification and cabin crew</a:t>
            </a:r>
          </a:p>
          <a:p>
            <a:pPr lvl="0">
              <a:lnSpc>
                <a:spcPct val="150000"/>
              </a:lnSpc>
              <a:buClr>
                <a:srgbClr val="FF0000"/>
              </a:buClr>
              <a:buSzPct val="100000"/>
              <a:buFont typeface="Wingdings" pitchFamily="2" charset="2"/>
              <a:buChar char="v"/>
            </a:pPr>
            <a:r>
              <a:rPr b="1" dirty="0">
                <a:solidFill>
                  <a:srgbClr val="FF0000"/>
                </a:solidFill>
              </a:rPr>
              <a:t>Need to find a strong partner for the financing</a:t>
            </a:r>
          </a:p>
        </p:txBody>
      </p:sp>
      <p:pic>
        <p:nvPicPr>
          <p:cNvPr id="200" name="image29.jpg" descr="C:\Users\Pavilion\Documents\Présentation\th-323x1999-15_les_metiers_de_l_aerien_322x242.jpg.jpg"/>
          <p:cNvPicPr/>
          <p:nvPr/>
        </p:nvPicPr>
        <p:blipFill>
          <a:blip r:embed="rId2">
            <a:extLst/>
          </a:blip>
          <a:stretch>
            <a:fillRect/>
          </a:stretch>
        </p:blipFill>
        <p:spPr>
          <a:xfrm>
            <a:off x="179387" y="3633958"/>
            <a:ext cx="2736851" cy="2735264"/>
          </a:xfrm>
          <a:prstGeom prst="rect">
            <a:avLst/>
          </a:prstGeom>
          <a:ln w="12700">
            <a:miter lim="400000"/>
          </a:ln>
        </p:spPr>
      </p:pic>
      <p:pic>
        <p:nvPicPr>
          <p:cNvPr id="201" name="image30.jpg" descr="C:\Users\Pavilion\Documents\Présentation\atc.jpg"/>
          <p:cNvPicPr/>
          <p:nvPr/>
        </p:nvPicPr>
        <p:blipFill>
          <a:blip r:embed="rId3">
            <a:extLst/>
          </a:blip>
          <a:stretch>
            <a:fillRect/>
          </a:stretch>
        </p:blipFill>
        <p:spPr>
          <a:xfrm>
            <a:off x="2987675" y="3633958"/>
            <a:ext cx="2736850" cy="2735264"/>
          </a:xfrm>
          <a:prstGeom prst="rect">
            <a:avLst/>
          </a:prstGeom>
          <a:ln w="12700">
            <a:miter lim="400000"/>
          </a:ln>
        </p:spPr>
      </p:pic>
      <p:pic>
        <p:nvPicPr>
          <p:cNvPr id="202" name="image31.jpg" descr="C:\Users\Pavilion\Documents\Présentation\métier.jpg"/>
          <p:cNvPicPr/>
          <p:nvPr/>
        </p:nvPicPr>
        <p:blipFill>
          <a:blip r:embed="rId4">
            <a:extLst/>
          </a:blip>
          <a:stretch>
            <a:fillRect/>
          </a:stretch>
        </p:blipFill>
        <p:spPr>
          <a:xfrm>
            <a:off x="6084887" y="3633958"/>
            <a:ext cx="2735263" cy="2735264"/>
          </a:xfrm>
          <a:prstGeom prst="rect">
            <a:avLst/>
          </a:prstGeom>
          <a:ln w="12700">
            <a:miter lim="400000"/>
          </a:ln>
        </p:spPr>
      </p:pic>
      <p:sp>
        <p:nvSpPr>
          <p:cNvPr id="203" name="Shape 203"/>
          <p:cNvSpPr/>
          <p:nvPr/>
        </p:nvSpPr>
        <p:spPr>
          <a:xfrm>
            <a:off x="722922" y="59100"/>
            <a:ext cx="5166579" cy="497840"/>
          </a:xfrm>
          <a:prstGeom prst="rect">
            <a:avLst/>
          </a:prstGeom>
          <a:ln w="12700">
            <a:miter lim="400000"/>
          </a:ln>
          <a:extLst>
            <a:ext uri="{C572A759-6A51-4108-AA02-DFA0A04FC94B}">
              <ma14:wrappingTextBoxFlag xmlns:ma14="http://schemas.microsoft.com/office/mac/drawingml/2011/main" xmlns="" val="1"/>
            </a:ext>
          </a:extLst>
        </p:spPr>
        <p:txBody>
          <a:bodyPr wrap="none" lIns="45719" rIns="45719">
            <a:spAutoFit/>
          </a:bodyPr>
          <a:lstStyle>
            <a:lvl1pPr>
              <a:defRPr sz="2800" b="1">
                <a:solidFill>
                  <a:srgbClr val="FF0000"/>
                </a:solidFill>
              </a:defRPr>
            </a:lvl1pPr>
          </a:lstStyle>
          <a:p>
            <a:pPr lvl="0">
              <a:defRPr sz="1800" b="0">
                <a:solidFill>
                  <a:srgbClr val="000000"/>
                </a:solidFill>
              </a:defRPr>
            </a:pPr>
            <a:r>
              <a:rPr sz="2800" b="1" dirty="0">
                <a:solidFill>
                  <a:srgbClr val="FF0000"/>
                </a:solidFill>
              </a:rPr>
              <a:t>AIBD: MRO connected Projects</a:t>
            </a:r>
          </a:p>
        </p:txBody>
      </p:sp>
      <p:sp>
        <p:nvSpPr>
          <p:cNvPr id="9"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0"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spd="med"/>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 name="Shape 205"/>
          <p:cNvSpPr>
            <a:spLocks noGrp="1"/>
          </p:cNvSpPr>
          <p:nvPr>
            <p:ph type="body" idx="1"/>
          </p:nvPr>
        </p:nvSpPr>
        <p:spPr>
          <a:xfrm>
            <a:off x="827584" y="139701"/>
            <a:ext cx="8316415" cy="552995"/>
          </a:xfrm>
          <a:prstGeom prst="rect">
            <a:avLst/>
          </a:prstGeom>
        </p:spPr>
        <p:txBody>
          <a:bodyPr lIns="0" tIns="0" rIns="0" bIns="0" anchor="ctr">
            <a:normAutofit/>
          </a:bodyPr>
          <a:lstStyle>
            <a:lvl1pPr marL="0" indent="0" defTabSz="914400">
              <a:spcBef>
                <a:spcPts val="0"/>
              </a:spcBef>
              <a:buSzTx/>
              <a:buNone/>
              <a:defRPr sz="2400" b="1">
                <a:solidFill>
                  <a:srgbClr val="C00000"/>
                </a:solidFill>
                <a:latin typeface="Cambria"/>
                <a:ea typeface="Cambria"/>
                <a:cs typeface="Cambria"/>
                <a:sym typeface="Cambria"/>
              </a:defRPr>
            </a:lvl1pPr>
          </a:lstStyle>
          <a:p>
            <a:pPr lvl="0">
              <a:defRPr sz="1800" b="0">
                <a:solidFill>
                  <a:srgbClr val="000000"/>
                </a:solidFill>
              </a:defRPr>
            </a:pPr>
            <a:r>
              <a:rPr sz="2000" b="1" dirty="0">
                <a:solidFill>
                  <a:srgbClr val="C00000"/>
                </a:solidFill>
              </a:rPr>
              <a:t> Localization of AIBD Airport &amp; Platform of Maintenance</a:t>
            </a:r>
          </a:p>
        </p:txBody>
      </p:sp>
      <p:pic>
        <p:nvPicPr>
          <p:cNvPr id="206" name="image32.png" descr="Capture d’écran 2013-04-11 à 12.49.07.png"/>
          <p:cNvPicPr/>
          <p:nvPr/>
        </p:nvPicPr>
        <p:blipFill>
          <a:blip r:embed="rId2">
            <a:extLst/>
          </a:blip>
          <a:stretch>
            <a:fillRect/>
          </a:stretch>
        </p:blipFill>
        <p:spPr>
          <a:xfrm>
            <a:off x="-19024" y="838200"/>
            <a:ext cx="9163024" cy="6019800"/>
          </a:xfrm>
          <a:prstGeom prst="rect">
            <a:avLst/>
          </a:prstGeom>
          <a:ln w="12700">
            <a:miter lim="400000"/>
          </a:ln>
        </p:spPr>
      </p:pic>
      <p:sp>
        <p:nvSpPr>
          <p:cNvPr id="207" name="Shape 207"/>
          <p:cNvSpPr/>
          <p:nvPr/>
        </p:nvSpPr>
        <p:spPr>
          <a:xfrm>
            <a:off x="4716016" y="2420888"/>
            <a:ext cx="1054101" cy="10541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63500">
            <a:solidFill>
              <a:srgbClr val="FFFF00"/>
            </a:solidFill>
          </a:ln>
          <a:effectLst>
            <a:outerShdw blurRad="38100" dist="23000" dir="5400000" rotWithShape="0">
              <a:srgbClr val="000000">
                <a:alpha val="35000"/>
              </a:srgbClr>
            </a:outerShdw>
          </a:effectLst>
        </p:spPr>
        <p:txBody>
          <a:bodyPr lIns="0" tIns="0" rIns="0" bIns="0" anchor="ctr"/>
          <a:lstStyle/>
          <a:p>
            <a:pPr lvl="0" algn="ctr">
              <a:defRPr>
                <a:solidFill>
                  <a:srgbClr val="FFFFFF"/>
                </a:solidFill>
              </a:defRPr>
            </a:pPr>
            <a:endParaRPr/>
          </a:p>
        </p:txBody>
      </p:sp>
      <p:pic>
        <p:nvPicPr>
          <p:cNvPr id="208" name="image33.png" descr="120px-Logo_Aeroport.svg.png"/>
          <p:cNvPicPr/>
          <p:nvPr/>
        </p:nvPicPr>
        <p:blipFill>
          <a:blip r:embed="rId3">
            <a:extLst/>
          </a:blip>
          <a:stretch>
            <a:fillRect/>
          </a:stretch>
        </p:blipFill>
        <p:spPr>
          <a:xfrm>
            <a:off x="5015079" y="3352800"/>
            <a:ext cx="508001" cy="508000"/>
          </a:xfrm>
          <a:prstGeom prst="rect">
            <a:avLst/>
          </a:prstGeom>
          <a:ln w="12700">
            <a:miter lim="400000"/>
          </a:ln>
        </p:spPr>
      </p:pic>
      <p:pic>
        <p:nvPicPr>
          <p:cNvPr id="209" name="image34.jpg" descr="panneau-autoroute-.jpg"/>
          <p:cNvPicPr/>
          <p:nvPr/>
        </p:nvPicPr>
        <p:blipFill>
          <a:blip r:embed="rId4">
            <a:extLst/>
          </a:blip>
          <a:stretch>
            <a:fillRect/>
          </a:stretch>
        </p:blipFill>
        <p:spPr>
          <a:xfrm>
            <a:off x="2915816" y="1026634"/>
            <a:ext cx="532750" cy="531466"/>
          </a:xfrm>
          <a:prstGeom prst="rect">
            <a:avLst/>
          </a:prstGeom>
          <a:ln w="63500">
            <a:solidFill>
              <a:srgbClr val="FFFFFF"/>
            </a:solidFill>
          </a:ln>
        </p:spPr>
      </p:pic>
      <p:pic>
        <p:nvPicPr>
          <p:cNvPr id="210" name="image35.png"/>
          <p:cNvPicPr/>
          <p:nvPr/>
        </p:nvPicPr>
        <p:blipFill>
          <a:blip r:embed="rId5">
            <a:extLst/>
          </a:blip>
          <a:srcRect l="7500" t="12422" r="79159" b="63953"/>
          <a:stretch>
            <a:fillRect/>
          </a:stretch>
        </p:blipFill>
        <p:spPr>
          <a:xfrm>
            <a:off x="3563887" y="965737"/>
            <a:ext cx="720081" cy="648073"/>
          </a:xfrm>
          <a:prstGeom prst="rect">
            <a:avLst/>
          </a:prstGeom>
          <a:ln w="12700">
            <a:miter lim="400000"/>
          </a:ln>
        </p:spPr>
      </p:pic>
      <p:sp>
        <p:nvSpPr>
          <p:cNvPr id="211" name="Shape 211"/>
          <p:cNvSpPr/>
          <p:nvPr/>
        </p:nvSpPr>
        <p:spPr>
          <a:xfrm>
            <a:off x="7047186" y="838199"/>
            <a:ext cx="2096815" cy="1225809"/>
          </a:xfrm>
          <a:prstGeom prst="rect">
            <a:avLst/>
          </a:prstGeom>
          <a:solidFill>
            <a:srgbClr val="FFFFFF"/>
          </a:solidFill>
          <a:ln w="12700">
            <a:miter lim="400000"/>
          </a:ln>
          <a:extLst>
            <a:ext uri="{C572A759-6A51-4108-AA02-DFA0A04FC94B}">
              <ma14:wrappingTextBoxFlag xmlns:ma14="http://schemas.microsoft.com/office/mac/drawingml/2011/main" xmlns="" val="1"/>
            </a:ext>
          </a:extLst>
        </p:spPr>
        <p:txBody>
          <a:bodyPr lIns="0" tIns="0" rIns="0" bIns="0">
            <a:spAutoFit/>
          </a:bodyPr>
          <a:lstStyle/>
          <a:p>
            <a:pPr lvl="1" indent="0" defTabSz="265113">
              <a:spcBef>
                <a:spcPts val="1200"/>
              </a:spcBef>
            </a:pPr>
            <a:r>
              <a:rPr sz="1600" b="1">
                <a:solidFill>
                  <a:srgbClr val="C00000"/>
                </a:solidFill>
                <a:latin typeface="Cambria"/>
                <a:ea typeface="Cambria"/>
                <a:cs typeface="Cambria"/>
                <a:sym typeface="Cambria"/>
              </a:rPr>
              <a:t>New Airport </a:t>
            </a:r>
            <a:r>
              <a:rPr sz="1600">
                <a:latin typeface="Cambria"/>
                <a:ea typeface="Cambria"/>
                <a:cs typeface="Cambria"/>
                <a:sym typeface="Cambria"/>
              </a:rPr>
              <a:t>at DIASS (45 km from Dakar)  </a:t>
            </a:r>
            <a:r>
              <a:rPr sz="1600" b="1">
                <a:latin typeface="Cambria"/>
                <a:ea typeface="Cambria"/>
                <a:cs typeface="Cambria"/>
                <a:sym typeface="Cambria"/>
              </a:rPr>
              <a:t>accessible via Highway and </a:t>
            </a:r>
            <a:r>
              <a:rPr sz="1600" b="1">
                <a:solidFill>
                  <a:srgbClr val="C00000"/>
                </a:solidFill>
                <a:latin typeface="Cambria"/>
                <a:ea typeface="Cambria"/>
                <a:cs typeface="Cambria"/>
                <a:sym typeface="Cambria"/>
              </a:rPr>
              <a:t>new project of express train </a:t>
            </a:r>
          </a:p>
        </p:txBody>
      </p:sp>
      <p:sp>
        <p:nvSpPr>
          <p:cNvPr id="9"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0"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207"/>
                                        </p:tgtEl>
                                        <p:attrNameLst>
                                          <p:attrName>style.visibility</p:attrName>
                                        </p:attrNameLst>
                                      </p:cBhvr>
                                      <p:to>
                                        <p:strVal val="visible"/>
                                      </p:to>
                                    </p:set>
                                  </p:childTnLst>
                                </p:cTn>
                              </p:par>
                            </p:childTnLst>
                          </p:cTn>
                        </p:par>
                        <p:par>
                          <p:cTn id="7" fill="hold">
                            <p:stCondLst>
                              <p:cond delay="0"/>
                            </p:stCondLst>
                            <p:childTnLst>
                              <p:par>
                                <p:cTn id="8" presetID="2" presetClass="entr" presetSubtype="8" fill="hold" grpId="0" nodeType="afterEffect">
                                  <p:stCondLst>
                                    <p:cond delay="0"/>
                                  </p:stCondLst>
                                  <p:iterate>
                                    <p:tmAbs val="0"/>
                                  </p:iterate>
                                  <p:childTnLst>
                                    <p:set>
                                      <p:cBhvr>
                                        <p:cTn id="9" fill="hold"/>
                                        <p:tgtEl>
                                          <p:spTgt spid="211"/>
                                        </p:tgtEl>
                                        <p:attrNameLst>
                                          <p:attrName>style.visibility</p:attrName>
                                        </p:attrNameLst>
                                      </p:cBhvr>
                                      <p:to>
                                        <p:strVal val="visible"/>
                                      </p:to>
                                    </p:set>
                                    <p:anim calcmode="lin" valueType="num">
                                      <p:cBhvr>
                                        <p:cTn id="10" dur="1000" fill="hold"/>
                                        <p:tgtEl>
                                          <p:spTgt spid="211"/>
                                        </p:tgtEl>
                                        <p:attrNameLst>
                                          <p:attrName>ppt_x</p:attrName>
                                        </p:attrNameLst>
                                      </p:cBhvr>
                                      <p:tavLst>
                                        <p:tav tm="0">
                                          <p:val>
                                            <p:strVal val="0-#ppt_w/2"/>
                                          </p:val>
                                        </p:tav>
                                        <p:tav tm="100000">
                                          <p:val>
                                            <p:strVal val="#ppt_x"/>
                                          </p:val>
                                        </p:tav>
                                      </p:tavLst>
                                    </p:anim>
                                    <p:anim calcmode="lin" valueType="num">
                                      <p:cBhvr>
                                        <p:cTn id="11" dur="1000" fill="hold"/>
                                        <p:tgtEl>
                                          <p:spTgt spid="2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 grpId="0" animBg="1" advAuto="0"/>
      <p:bldP spid="211" grpId="0" animBg="1" advAuto="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C6CAE510-2E18-4644-9DBF-437BBE941DEC}" type="slidenum">
              <a:rPr lang="en-US" smtClean="0"/>
              <a:pPr/>
              <a:t>4</a:t>
            </a:fld>
            <a:endParaRPr lang="en-US"/>
          </a:p>
        </p:txBody>
      </p:sp>
      <p:pic>
        <p:nvPicPr>
          <p:cNvPr id="88066" name="Picture 2"/>
          <p:cNvPicPr>
            <a:picLocks noChangeAspect="1" noChangeArrowheads="1"/>
          </p:cNvPicPr>
          <p:nvPr/>
        </p:nvPicPr>
        <p:blipFill>
          <a:blip r:embed="rId2"/>
          <a:srcRect l="12901" t="32759" r="45842" b="18750"/>
          <a:stretch>
            <a:fillRect/>
          </a:stretch>
        </p:blipFill>
        <p:spPr bwMode="auto">
          <a:xfrm>
            <a:off x="-15767" y="1"/>
            <a:ext cx="9159767" cy="6857999"/>
          </a:xfrm>
          <a:prstGeom prst="rect">
            <a:avLst/>
          </a:prstGeom>
          <a:noFill/>
          <a:ln w="9525">
            <a:noFill/>
            <a:miter lim="800000"/>
            <a:headEnd/>
            <a:tailEnd/>
          </a:ln>
        </p:spPr>
      </p:pic>
      <p:pic>
        <p:nvPicPr>
          <p:cNvPr id="88068" name="Picture 4"/>
          <p:cNvPicPr>
            <a:picLocks noChangeAspect="1" noChangeArrowheads="1"/>
          </p:cNvPicPr>
          <p:nvPr/>
        </p:nvPicPr>
        <p:blipFill>
          <a:blip r:embed="rId3"/>
          <a:srcRect l="7324" t="12667" r="77786" b="24458"/>
          <a:stretch>
            <a:fillRect/>
          </a:stretch>
        </p:blipFill>
        <p:spPr bwMode="auto">
          <a:xfrm>
            <a:off x="7267903" y="1"/>
            <a:ext cx="1229711" cy="293238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Shape 213"/>
          <p:cNvSpPr>
            <a:spLocks noGrp="1"/>
          </p:cNvSpPr>
          <p:nvPr>
            <p:ph type="body" idx="1"/>
          </p:nvPr>
        </p:nvSpPr>
        <p:spPr>
          <a:xfrm>
            <a:off x="179511" y="1124744"/>
            <a:ext cx="4176466" cy="4948138"/>
          </a:xfrm>
          <a:prstGeom prst="rect">
            <a:avLst/>
          </a:prstGeom>
        </p:spPr>
        <p:txBody>
          <a:bodyPr/>
          <a:lstStyle/>
          <a:p>
            <a:pPr marL="164592" lvl="0" indent="-164592" defTabSz="438911">
              <a:spcBef>
                <a:spcPts val="300"/>
              </a:spcBef>
              <a:buClr>
                <a:srgbClr val="660066"/>
              </a:buClr>
              <a:buFont typeface="Wingdings"/>
              <a:buChar char="▪"/>
              <a:defRPr sz="1800"/>
            </a:pPr>
            <a:r>
              <a:rPr sz="1536" b="1">
                <a:solidFill>
                  <a:srgbClr val="660066"/>
                </a:solidFill>
              </a:rPr>
              <a:t>Sector 1 : Cargo Village SEZ</a:t>
            </a:r>
            <a:endParaRPr sz="1919" b="1">
              <a:solidFill>
                <a:srgbClr val="660066"/>
              </a:solidFill>
            </a:endParaRPr>
          </a:p>
          <a:p>
            <a:pPr marL="556477" lvl="1" indent="-117565" defTabSz="438911">
              <a:spcBef>
                <a:spcPts val="200"/>
              </a:spcBef>
              <a:buClr>
                <a:srgbClr val="660066"/>
              </a:buClr>
              <a:buFont typeface="Courier New"/>
              <a:buChar char="o"/>
              <a:defRPr sz="1800"/>
            </a:pPr>
            <a:r>
              <a:rPr sz="1152" b="1">
                <a:solidFill>
                  <a:srgbClr val="660066"/>
                </a:solidFill>
              </a:rPr>
              <a:t>Surface </a:t>
            </a:r>
            <a:r>
              <a:rPr sz="1152">
                <a:solidFill>
                  <a:srgbClr val="660066"/>
                </a:solidFill>
              </a:rPr>
              <a:t>: 15 ha</a:t>
            </a:r>
            <a:endParaRPr sz="1536" b="1">
              <a:solidFill>
                <a:srgbClr val="660066"/>
              </a:solidFill>
            </a:endParaRPr>
          </a:p>
          <a:p>
            <a:pPr marL="556477" lvl="1" indent="-117565" defTabSz="438911">
              <a:spcBef>
                <a:spcPts val="200"/>
              </a:spcBef>
              <a:buClr>
                <a:srgbClr val="660066"/>
              </a:buClr>
              <a:buFont typeface="Courier New"/>
              <a:buChar char="o"/>
              <a:defRPr sz="1800"/>
            </a:pPr>
            <a:r>
              <a:rPr sz="1152" b="1">
                <a:solidFill>
                  <a:srgbClr val="660066"/>
                </a:solidFill>
              </a:rPr>
              <a:t>product types</a:t>
            </a:r>
            <a:r>
              <a:rPr sz="1152">
                <a:solidFill>
                  <a:srgbClr val="660066"/>
                </a:solidFill>
              </a:rPr>
              <a:t>: serviced plots and prebuilt warehouses </a:t>
            </a:r>
            <a:endParaRPr sz="1536" b="1">
              <a:solidFill>
                <a:srgbClr val="660066"/>
              </a:solidFill>
            </a:endParaRPr>
          </a:p>
          <a:p>
            <a:pPr marL="164592" lvl="0" indent="-164592" defTabSz="438911">
              <a:spcBef>
                <a:spcPts val="300"/>
              </a:spcBef>
              <a:buClr>
                <a:srgbClr val="FF0000"/>
              </a:buClr>
              <a:buFont typeface="Wingdings"/>
              <a:buChar char="▪"/>
              <a:defRPr sz="1800"/>
            </a:pPr>
            <a:r>
              <a:rPr sz="1536" b="1">
                <a:solidFill>
                  <a:srgbClr val="FF0000"/>
                </a:solidFill>
              </a:rPr>
              <a:t>Sector 2 : Light Industry (non-dedicated)</a:t>
            </a:r>
            <a:endParaRPr sz="1919" b="1">
              <a:solidFill>
                <a:srgbClr val="FF0000"/>
              </a:solidFill>
            </a:endParaRPr>
          </a:p>
          <a:p>
            <a:pPr marL="556477" lvl="1" indent="-117565" defTabSz="438911">
              <a:spcBef>
                <a:spcPts val="200"/>
              </a:spcBef>
              <a:buClr>
                <a:srgbClr val="FF0000"/>
              </a:buClr>
              <a:buFont typeface="Courier New"/>
              <a:buChar char="o"/>
              <a:defRPr sz="1800"/>
            </a:pPr>
            <a:r>
              <a:rPr sz="1152" b="1">
                <a:solidFill>
                  <a:srgbClr val="FF0000"/>
                </a:solidFill>
              </a:rPr>
              <a:t>Surface </a:t>
            </a:r>
            <a:r>
              <a:rPr sz="1152">
                <a:solidFill>
                  <a:srgbClr val="FF0000"/>
                </a:solidFill>
              </a:rPr>
              <a:t>: 3 zones of 50 + 110 + 90 ha = 250 ha</a:t>
            </a:r>
            <a:endParaRPr sz="1152" i="1">
              <a:solidFill>
                <a:srgbClr val="FF0000"/>
              </a:solidFill>
            </a:endParaRPr>
          </a:p>
          <a:p>
            <a:pPr marL="556477" lvl="1" indent="-117565" defTabSz="438911">
              <a:spcBef>
                <a:spcPts val="200"/>
              </a:spcBef>
              <a:buClr>
                <a:srgbClr val="FF0000"/>
              </a:buClr>
              <a:buFont typeface="Courier New"/>
              <a:buChar char="o"/>
              <a:defRPr sz="1800"/>
            </a:pPr>
            <a:r>
              <a:rPr sz="1152" b="1">
                <a:solidFill>
                  <a:srgbClr val="FF0000"/>
                </a:solidFill>
              </a:rPr>
              <a:t>Product types</a:t>
            </a:r>
            <a:r>
              <a:rPr sz="1152">
                <a:solidFill>
                  <a:srgbClr val="FF0000"/>
                </a:solidFill>
              </a:rPr>
              <a:t>: offices, serviced land, prebuilt warehouses, industrial development</a:t>
            </a:r>
            <a:endParaRPr sz="1536" b="1">
              <a:solidFill>
                <a:srgbClr val="FF0000"/>
              </a:solidFill>
            </a:endParaRPr>
          </a:p>
          <a:p>
            <a:pPr marL="164592" lvl="0" indent="-164592" defTabSz="438911">
              <a:spcBef>
                <a:spcPts val="300"/>
              </a:spcBef>
              <a:buClr>
                <a:srgbClr val="4F81BD"/>
              </a:buClr>
              <a:buFont typeface="Wingdings"/>
              <a:buChar char="▪"/>
              <a:defRPr sz="1800"/>
            </a:pPr>
            <a:r>
              <a:rPr sz="1536" b="1">
                <a:solidFill>
                  <a:srgbClr val="4F81BD"/>
                </a:solidFill>
              </a:rPr>
              <a:t>Sector 3 : TIC – Services – Outsourcing</a:t>
            </a:r>
            <a:endParaRPr sz="1919" b="1">
              <a:solidFill>
                <a:srgbClr val="4F81BD"/>
              </a:solidFill>
            </a:endParaRPr>
          </a:p>
          <a:p>
            <a:pPr marL="556477" lvl="1" indent="-117565" defTabSz="438911">
              <a:spcBef>
                <a:spcPts val="200"/>
              </a:spcBef>
              <a:buClr>
                <a:srgbClr val="4F81BD"/>
              </a:buClr>
              <a:buFont typeface="Courier New"/>
              <a:buChar char="o"/>
              <a:defRPr sz="1800"/>
            </a:pPr>
            <a:r>
              <a:rPr sz="1152" b="1">
                <a:solidFill>
                  <a:srgbClr val="4F81BD"/>
                </a:solidFill>
              </a:rPr>
              <a:t>Surface </a:t>
            </a:r>
            <a:r>
              <a:rPr sz="1152">
                <a:solidFill>
                  <a:srgbClr val="4F81BD"/>
                </a:solidFill>
              </a:rPr>
              <a:t>: 130 ha</a:t>
            </a:r>
            <a:endParaRPr sz="1536" b="1">
              <a:solidFill>
                <a:srgbClr val="4F81BD"/>
              </a:solidFill>
            </a:endParaRPr>
          </a:p>
          <a:p>
            <a:pPr marL="556477" lvl="1" indent="-117565" defTabSz="438911">
              <a:spcBef>
                <a:spcPts val="200"/>
              </a:spcBef>
              <a:buClr>
                <a:srgbClr val="4F81BD"/>
              </a:buClr>
              <a:buFont typeface="Courier New"/>
              <a:buChar char="o"/>
              <a:defRPr sz="1800"/>
            </a:pPr>
            <a:r>
              <a:rPr sz="1152" b="1">
                <a:solidFill>
                  <a:srgbClr val="4F81BD"/>
                </a:solidFill>
              </a:rPr>
              <a:t>Product types </a:t>
            </a:r>
            <a:r>
              <a:rPr sz="1152">
                <a:solidFill>
                  <a:srgbClr val="4F81BD"/>
                </a:solidFill>
              </a:rPr>
              <a:t>: offices, serviced lands, prebuilt warehouses</a:t>
            </a:r>
          </a:p>
          <a:p>
            <a:pPr marL="164592" lvl="0" indent="-164592" defTabSz="438911">
              <a:spcBef>
                <a:spcPts val="300"/>
              </a:spcBef>
              <a:buClr>
                <a:srgbClr val="77933C"/>
              </a:buClr>
              <a:buFont typeface="Wingdings"/>
              <a:buChar char="▪"/>
              <a:defRPr sz="1800"/>
            </a:pPr>
            <a:r>
              <a:rPr sz="1536" b="1">
                <a:solidFill>
                  <a:srgbClr val="77933C"/>
                </a:solidFill>
              </a:rPr>
              <a:t>Sector 4 : Agroprocessing – Agribusiness </a:t>
            </a:r>
            <a:endParaRPr sz="1919" b="1">
              <a:solidFill>
                <a:srgbClr val="77933C"/>
              </a:solidFill>
            </a:endParaRPr>
          </a:p>
          <a:p>
            <a:pPr marL="556477" lvl="1" indent="-117565" defTabSz="438911">
              <a:spcBef>
                <a:spcPts val="200"/>
              </a:spcBef>
              <a:buClr>
                <a:srgbClr val="77933C"/>
              </a:buClr>
              <a:buFont typeface="Courier New"/>
              <a:buChar char="o"/>
              <a:defRPr sz="1800"/>
            </a:pPr>
            <a:r>
              <a:rPr sz="1152" b="1">
                <a:solidFill>
                  <a:srgbClr val="77933C"/>
                </a:solidFill>
              </a:rPr>
              <a:t>Surface </a:t>
            </a:r>
            <a:r>
              <a:rPr sz="1152">
                <a:solidFill>
                  <a:srgbClr val="77933C"/>
                </a:solidFill>
              </a:rPr>
              <a:t>: 90 ha</a:t>
            </a:r>
            <a:endParaRPr sz="1536" b="1">
              <a:solidFill>
                <a:srgbClr val="77933C"/>
              </a:solidFill>
            </a:endParaRPr>
          </a:p>
          <a:p>
            <a:pPr marL="556477" lvl="1" indent="-117565" defTabSz="438911">
              <a:spcBef>
                <a:spcPts val="200"/>
              </a:spcBef>
              <a:buClr>
                <a:srgbClr val="77933C"/>
              </a:buClr>
              <a:buFont typeface="Courier New"/>
              <a:buChar char="o"/>
              <a:defRPr sz="1800"/>
            </a:pPr>
            <a:r>
              <a:rPr sz="1152" b="1">
                <a:solidFill>
                  <a:srgbClr val="77933C"/>
                </a:solidFill>
              </a:rPr>
              <a:t>Product types </a:t>
            </a:r>
            <a:r>
              <a:rPr sz="1152">
                <a:solidFill>
                  <a:srgbClr val="77933C"/>
                </a:solidFill>
              </a:rPr>
              <a:t>: office, light industrial platforms processing local agricultural products</a:t>
            </a:r>
            <a:endParaRPr sz="1536" b="1">
              <a:solidFill>
                <a:srgbClr val="77933C"/>
              </a:solidFill>
            </a:endParaRPr>
          </a:p>
          <a:p>
            <a:pPr marL="164592" lvl="0" indent="-164592" defTabSz="438911">
              <a:spcBef>
                <a:spcPts val="300"/>
              </a:spcBef>
              <a:buClr>
                <a:srgbClr val="E46C0A"/>
              </a:buClr>
              <a:buFont typeface="Wingdings"/>
              <a:buChar char="▪"/>
              <a:defRPr sz="1800"/>
            </a:pPr>
            <a:r>
              <a:rPr sz="1536" b="1">
                <a:solidFill>
                  <a:srgbClr val="E46C0A"/>
                </a:solidFill>
              </a:rPr>
              <a:t>Sector 5 : Integrated Housing– Facilities – Tourism</a:t>
            </a:r>
            <a:endParaRPr sz="1919" b="1">
              <a:solidFill>
                <a:srgbClr val="E46C0A"/>
              </a:solidFill>
            </a:endParaRPr>
          </a:p>
          <a:p>
            <a:pPr marL="556477" lvl="1" indent="-117565" defTabSz="438911">
              <a:spcBef>
                <a:spcPts val="200"/>
              </a:spcBef>
              <a:buClr>
                <a:srgbClr val="E46C0A"/>
              </a:buClr>
              <a:buFont typeface="Courier New"/>
              <a:buChar char="o"/>
              <a:defRPr sz="1800"/>
            </a:pPr>
            <a:r>
              <a:rPr sz="1152" b="1">
                <a:solidFill>
                  <a:srgbClr val="E46C0A"/>
                </a:solidFill>
              </a:rPr>
              <a:t>Surface </a:t>
            </a:r>
            <a:r>
              <a:rPr sz="1152">
                <a:solidFill>
                  <a:srgbClr val="E46C0A"/>
                </a:solidFill>
              </a:rPr>
              <a:t>: 80 ha </a:t>
            </a:r>
            <a:endParaRPr sz="1536" b="1">
              <a:solidFill>
                <a:srgbClr val="E46C0A"/>
              </a:solidFill>
            </a:endParaRPr>
          </a:p>
          <a:p>
            <a:pPr marL="556477" lvl="1" indent="-117565" defTabSz="438911">
              <a:spcBef>
                <a:spcPts val="200"/>
              </a:spcBef>
              <a:buClr>
                <a:srgbClr val="E46C0A"/>
              </a:buClr>
              <a:buFont typeface="Courier New"/>
              <a:buChar char="o"/>
              <a:defRPr sz="1800"/>
            </a:pPr>
            <a:r>
              <a:rPr sz="1152" b="1">
                <a:solidFill>
                  <a:srgbClr val="E46C0A"/>
                </a:solidFill>
              </a:rPr>
              <a:t>Product types </a:t>
            </a:r>
            <a:r>
              <a:rPr sz="1152">
                <a:solidFill>
                  <a:srgbClr val="E46C0A"/>
                </a:solidFill>
              </a:rPr>
              <a:t>: houses, residential buildings, hotels, restaurants, shopping malls, offices (business city or other dedicated vocation)</a:t>
            </a:r>
          </a:p>
        </p:txBody>
      </p:sp>
      <p:sp>
        <p:nvSpPr>
          <p:cNvPr id="214" name="Shape 214"/>
          <p:cNvSpPr>
            <a:spLocks noGrp="1"/>
          </p:cNvSpPr>
          <p:nvPr>
            <p:ph type="title"/>
          </p:nvPr>
        </p:nvSpPr>
        <p:spPr>
          <a:xfrm>
            <a:off x="899592" y="-1"/>
            <a:ext cx="7797552" cy="764706"/>
          </a:xfrm>
          <a:prstGeom prst="rect">
            <a:avLst/>
          </a:prstGeom>
        </p:spPr>
        <p:txBody>
          <a:bodyPr/>
          <a:lstStyle/>
          <a:p>
            <a:pPr lvl="0" algn="l">
              <a:defRPr sz="1800" b="0">
                <a:solidFill>
                  <a:srgbClr val="000000"/>
                </a:solidFill>
              </a:defRPr>
            </a:pPr>
            <a:r>
              <a:rPr sz="2100" b="1">
                <a:solidFill>
                  <a:srgbClr val="C00000"/>
                </a:solidFill>
                <a:latin typeface="Cambria"/>
                <a:ea typeface="Cambria"/>
                <a:cs typeface="Cambria"/>
                <a:sym typeface="Cambria"/>
              </a:rPr>
              <a:t>MRO connected project </a:t>
            </a:r>
            <a:br>
              <a:rPr sz="2100" b="1">
                <a:solidFill>
                  <a:srgbClr val="C00000"/>
                </a:solidFill>
                <a:latin typeface="Cambria"/>
                <a:ea typeface="Cambria"/>
                <a:cs typeface="Cambria"/>
                <a:sym typeface="Cambria"/>
              </a:rPr>
            </a:br>
            <a:r>
              <a:rPr sz="2100" b="1">
                <a:solidFill>
                  <a:srgbClr val="808080"/>
                </a:solidFill>
                <a:latin typeface="Cambria"/>
                <a:ea typeface="Cambria"/>
                <a:cs typeface="Cambria"/>
                <a:sym typeface="Cambria"/>
              </a:rPr>
              <a:t>DISEZ : Development plan of 718 ha</a:t>
            </a:r>
          </a:p>
        </p:txBody>
      </p:sp>
      <p:pic>
        <p:nvPicPr>
          <p:cNvPr id="215" name="image36.png"/>
          <p:cNvPicPr/>
          <p:nvPr/>
        </p:nvPicPr>
        <p:blipFill>
          <a:blip r:embed="rId2">
            <a:extLst/>
          </a:blip>
          <a:stretch>
            <a:fillRect/>
          </a:stretch>
        </p:blipFill>
        <p:spPr>
          <a:xfrm>
            <a:off x="4050014" y="1200517"/>
            <a:ext cx="5093986" cy="4748763"/>
          </a:xfrm>
          <a:prstGeom prst="rect">
            <a:avLst/>
          </a:prstGeom>
          <a:ln w="12700">
            <a:miter lim="400000"/>
          </a:ln>
        </p:spPr>
      </p:pic>
      <p:sp>
        <p:nvSpPr>
          <p:cNvPr id="5"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6"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7" name="image37.png" descr="Capture d’écran 2014-06-03 à 12.34.40.png"/>
          <p:cNvPicPr/>
          <p:nvPr/>
        </p:nvPicPr>
        <p:blipFill>
          <a:blip r:embed="rId2">
            <a:extLst/>
          </a:blip>
          <a:stretch>
            <a:fillRect/>
          </a:stretch>
        </p:blipFill>
        <p:spPr>
          <a:xfrm>
            <a:off x="467543" y="1175791"/>
            <a:ext cx="3717416" cy="2469234"/>
          </a:xfrm>
          <a:prstGeom prst="rect">
            <a:avLst/>
          </a:prstGeom>
          <a:ln w="12700">
            <a:miter lim="400000"/>
          </a:ln>
        </p:spPr>
      </p:pic>
      <p:sp>
        <p:nvSpPr>
          <p:cNvPr id="218" name="Shape 218"/>
          <p:cNvSpPr>
            <a:spLocks noGrp="1"/>
          </p:cNvSpPr>
          <p:nvPr>
            <p:ph type="body" idx="1"/>
          </p:nvPr>
        </p:nvSpPr>
        <p:spPr>
          <a:xfrm>
            <a:off x="576582" y="4464503"/>
            <a:ext cx="3867971" cy="2136589"/>
          </a:xfrm>
          <a:prstGeom prst="rect">
            <a:avLst/>
          </a:prstGeom>
        </p:spPr>
        <p:txBody>
          <a:bodyPr/>
          <a:lstStyle/>
          <a:p>
            <a:pPr marL="214312" lvl="0" indent="-214312">
              <a:spcBef>
                <a:spcPts val="400"/>
              </a:spcBef>
              <a:buClr>
                <a:srgbClr val="000090"/>
              </a:buClr>
              <a:defRPr sz="1800"/>
            </a:pPr>
            <a:r>
              <a:rPr sz="2000" b="1">
                <a:solidFill>
                  <a:srgbClr val="000090"/>
                </a:solidFill>
              </a:rPr>
              <a:t>Delivery</a:t>
            </a:r>
            <a:r>
              <a:rPr sz="2000"/>
              <a:t> : </a:t>
            </a:r>
            <a:r>
              <a:rPr sz="2000">
                <a:solidFill>
                  <a:srgbClr val="FF0000"/>
                </a:solidFill>
              </a:rPr>
              <a:t>2015</a:t>
            </a:r>
            <a:endParaRPr sz="1600" b="1">
              <a:solidFill>
                <a:srgbClr val="FF0000"/>
              </a:solidFill>
            </a:endParaRPr>
          </a:p>
          <a:p>
            <a:pPr marL="214312" lvl="0" indent="-214312">
              <a:spcBef>
                <a:spcPts val="400"/>
              </a:spcBef>
              <a:buClr>
                <a:srgbClr val="000090"/>
              </a:buClr>
              <a:defRPr sz="1800"/>
            </a:pPr>
            <a:r>
              <a:rPr sz="2000" b="1">
                <a:solidFill>
                  <a:srgbClr val="000090"/>
                </a:solidFill>
              </a:rPr>
              <a:t>Preparation works study </a:t>
            </a:r>
            <a:r>
              <a:rPr sz="2000"/>
              <a:t>achieved</a:t>
            </a:r>
          </a:p>
          <a:p>
            <a:pPr marL="214312" lvl="0" indent="-214312">
              <a:spcBef>
                <a:spcPts val="400"/>
              </a:spcBef>
              <a:buClr>
                <a:srgbClr val="000090"/>
              </a:buClr>
              <a:defRPr sz="1800"/>
            </a:pPr>
            <a:r>
              <a:rPr sz="2000" b="1">
                <a:solidFill>
                  <a:srgbClr val="000090"/>
                </a:solidFill>
              </a:rPr>
              <a:t>Warehouse’s architectural study </a:t>
            </a:r>
            <a:r>
              <a:rPr sz="2000"/>
              <a:t>achieved</a:t>
            </a:r>
          </a:p>
        </p:txBody>
      </p:sp>
      <p:sp>
        <p:nvSpPr>
          <p:cNvPr id="219" name="Shape 219"/>
          <p:cNvSpPr/>
          <p:nvPr/>
        </p:nvSpPr>
        <p:spPr>
          <a:xfrm>
            <a:off x="5133859" y="2319700"/>
            <a:ext cx="3839884" cy="18440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p>
            <a:pPr marL="317500" lvl="0" indent="-317500">
              <a:buClr>
                <a:srgbClr val="000090"/>
              </a:buClr>
              <a:buSzPct val="100000"/>
              <a:buFont typeface="Arial"/>
              <a:buChar char="•"/>
            </a:pPr>
            <a:r>
              <a:rPr sz="2000" b="1">
                <a:solidFill>
                  <a:srgbClr val="000090"/>
                </a:solidFill>
              </a:rPr>
              <a:t>Product types </a:t>
            </a:r>
            <a:r>
              <a:rPr sz="2000"/>
              <a:t>: Serviced lands for the freight forwarders and turnkey warehouses solutions, public buildings, customs-bonded access road</a:t>
            </a:r>
          </a:p>
        </p:txBody>
      </p:sp>
      <p:sp>
        <p:nvSpPr>
          <p:cNvPr id="220" name="Shape 220"/>
          <p:cNvSpPr/>
          <p:nvPr/>
        </p:nvSpPr>
        <p:spPr>
          <a:xfrm>
            <a:off x="4840941" y="908720"/>
            <a:ext cx="3643032" cy="3835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000" b="1" u="sng"/>
            </a:lvl1pPr>
          </a:lstStyle>
          <a:p>
            <a:pPr lvl="0">
              <a:defRPr sz="1800" b="0" u="none"/>
            </a:pPr>
            <a:r>
              <a:rPr sz="2000" b="1" u="sng"/>
              <a:t>Description</a:t>
            </a:r>
          </a:p>
        </p:txBody>
      </p:sp>
      <p:sp>
        <p:nvSpPr>
          <p:cNvPr id="221" name="Shape 221"/>
          <p:cNvSpPr/>
          <p:nvPr/>
        </p:nvSpPr>
        <p:spPr>
          <a:xfrm>
            <a:off x="323528" y="3933056"/>
            <a:ext cx="3643032" cy="3835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defRPr sz="2000" b="1" u="sng"/>
            </a:lvl1pPr>
          </a:lstStyle>
          <a:p>
            <a:pPr lvl="0">
              <a:defRPr sz="1800" b="0" u="none"/>
            </a:pPr>
            <a:r>
              <a:rPr sz="2000" b="1" u="sng"/>
              <a:t>Current status</a:t>
            </a:r>
          </a:p>
        </p:txBody>
      </p:sp>
      <p:sp>
        <p:nvSpPr>
          <p:cNvPr id="222" name="Shape 222"/>
          <p:cNvSpPr/>
          <p:nvPr/>
        </p:nvSpPr>
        <p:spPr>
          <a:xfrm>
            <a:off x="5133859" y="1409781"/>
            <a:ext cx="4766734" cy="909919"/>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a:bodyPr>
          <a:lstStyle/>
          <a:p>
            <a:pPr marL="214312" lvl="0" indent="-214312">
              <a:spcBef>
                <a:spcPts val="400"/>
              </a:spcBef>
              <a:buSzPct val="100000"/>
              <a:buFont typeface="Arial"/>
              <a:buChar char="•"/>
            </a:pPr>
            <a:r>
              <a:rPr sz="2000"/>
              <a:t>Studied area: </a:t>
            </a:r>
            <a:r>
              <a:rPr sz="2000" b="1">
                <a:solidFill>
                  <a:srgbClr val="000090"/>
                </a:solidFill>
              </a:rPr>
              <a:t>2,25 ha </a:t>
            </a:r>
            <a:endParaRPr sz="2000"/>
          </a:p>
          <a:p>
            <a:pPr marL="214312" lvl="0" indent="-214312">
              <a:spcBef>
                <a:spcPts val="400"/>
              </a:spcBef>
              <a:buSzPct val="100000"/>
              <a:buFont typeface="Arial"/>
              <a:buChar char="•"/>
            </a:pPr>
            <a:r>
              <a:rPr sz="2000"/>
              <a:t>Extendable </a:t>
            </a:r>
            <a:r>
              <a:rPr sz="2000">
                <a:solidFill>
                  <a:srgbClr val="FF0000"/>
                </a:solidFill>
              </a:rPr>
              <a:t>up to 15 Ha</a:t>
            </a:r>
          </a:p>
        </p:txBody>
      </p:sp>
      <p:sp>
        <p:nvSpPr>
          <p:cNvPr id="223" name="Shape 223"/>
          <p:cNvSpPr>
            <a:spLocks noGrp="1"/>
          </p:cNvSpPr>
          <p:nvPr>
            <p:ph type="title"/>
          </p:nvPr>
        </p:nvSpPr>
        <p:spPr>
          <a:xfrm>
            <a:off x="899592" y="-1"/>
            <a:ext cx="7797552" cy="764706"/>
          </a:xfrm>
          <a:prstGeom prst="rect">
            <a:avLst/>
          </a:prstGeom>
        </p:spPr>
        <p:txBody>
          <a:bodyPr/>
          <a:lstStyle/>
          <a:p>
            <a:pPr lvl="0" algn="l">
              <a:defRPr sz="1800" b="0">
                <a:solidFill>
                  <a:srgbClr val="000000"/>
                </a:solidFill>
              </a:defRPr>
            </a:pPr>
            <a:r>
              <a:rPr sz="2100" b="1">
                <a:solidFill>
                  <a:srgbClr val="C00000"/>
                </a:solidFill>
                <a:latin typeface="Cambria"/>
                <a:ea typeface="Cambria"/>
                <a:cs typeface="Cambria"/>
                <a:sym typeface="Cambria"/>
              </a:rPr>
              <a:t>MRO connected project </a:t>
            </a:r>
            <a:br>
              <a:rPr sz="2100" b="1">
                <a:solidFill>
                  <a:srgbClr val="C00000"/>
                </a:solidFill>
                <a:latin typeface="Cambria"/>
                <a:ea typeface="Cambria"/>
                <a:cs typeface="Cambria"/>
                <a:sym typeface="Cambria"/>
              </a:rPr>
            </a:br>
            <a:r>
              <a:rPr sz="2100" b="1">
                <a:solidFill>
                  <a:srgbClr val="808080"/>
                </a:solidFill>
                <a:latin typeface="Cambria"/>
                <a:ea typeface="Cambria"/>
                <a:cs typeface="Cambria"/>
                <a:sym typeface="Cambria"/>
              </a:rPr>
              <a:t>DISEZ : Cargo Village</a:t>
            </a:r>
          </a:p>
        </p:txBody>
      </p:sp>
      <p:sp>
        <p:nvSpPr>
          <p:cNvPr id="9"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0"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 name="Shape 225"/>
          <p:cNvSpPr>
            <a:spLocks noGrp="1"/>
          </p:cNvSpPr>
          <p:nvPr>
            <p:ph type="sldNum" sz="quarter" idx="4294967295"/>
          </p:nvPr>
        </p:nvSpPr>
        <p:spPr>
          <a:xfrm>
            <a:off x="6553200" y="6356350"/>
            <a:ext cx="2133600" cy="365125"/>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42</a:t>
            </a:fld>
            <a:endParaRPr sz="1200">
              <a:solidFill>
                <a:srgbClr val="888888"/>
              </a:solidFill>
            </a:endParaRPr>
          </a:p>
        </p:txBody>
      </p:sp>
      <p:sp>
        <p:nvSpPr>
          <p:cNvPr id="226" name="Shape 226"/>
          <p:cNvSpPr/>
          <p:nvPr/>
        </p:nvSpPr>
        <p:spPr>
          <a:xfrm rot="5400000">
            <a:off x="-1251745" y="4308921"/>
            <a:ext cx="4276726" cy="288033"/>
          </a:xfrm>
          <a:prstGeom prst="rightArrow">
            <a:avLst>
              <a:gd name="adj1" fmla="val 50000"/>
              <a:gd name="adj2" fmla="val 50000"/>
            </a:avLst>
          </a:prstGeom>
          <a:solidFill>
            <a:srgbClr val="256885"/>
          </a:solidFill>
          <a:ln>
            <a:solidFill>
              <a:srgbClr val="256885"/>
            </a:solidFill>
          </a:ln>
        </p:spPr>
        <p:txBody>
          <a:bodyPr lIns="0" tIns="0" rIns="0" bIns="0" anchor="ctr"/>
          <a:lstStyle/>
          <a:p>
            <a:pPr lvl="0" algn="ctr" defTabSz="914400">
              <a:lnSpc>
                <a:spcPct val="93000"/>
              </a:lnSpc>
              <a:spcBef>
                <a:spcPts val="300"/>
              </a:spcBef>
              <a:defRPr sz="1100">
                <a:latin typeface="Arial"/>
                <a:ea typeface="Arial"/>
                <a:cs typeface="Arial"/>
                <a:sym typeface="Arial"/>
              </a:defRPr>
            </a:pPr>
            <a:endParaRPr/>
          </a:p>
        </p:txBody>
      </p:sp>
      <p:sp>
        <p:nvSpPr>
          <p:cNvPr id="227" name="Shape 227"/>
          <p:cNvSpPr/>
          <p:nvPr/>
        </p:nvSpPr>
        <p:spPr>
          <a:xfrm>
            <a:off x="737999" y="1001712"/>
            <a:ext cx="8535990" cy="86422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914400">
              <a:lnSpc>
                <a:spcPct val="93000"/>
              </a:lnSpc>
              <a:defRPr sz="2100" b="1">
                <a:latin typeface="Arial"/>
                <a:ea typeface="Arial"/>
                <a:cs typeface="Arial"/>
                <a:sym typeface="Arial"/>
              </a:defRPr>
            </a:lvl1pPr>
          </a:lstStyle>
          <a:p>
            <a:pPr lvl="0">
              <a:defRPr sz="1800" b="0"/>
            </a:pPr>
            <a:r>
              <a:rPr sz="2100" b="1"/>
              <a:t>Senegal Airlines was created in 2009 and started operations in 2011 with two A320s. 35% State older and 65% private shear olders.</a:t>
            </a:r>
          </a:p>
        </p:txBody>
      </p:sp>
      <p:sp>
        <p:nvSpPr>
          <p:cNvPr id="228" name="Shape 228"/>
          <p:cNvSpPr/>
          <p:nvPr/>
        </p:nvSpPr>
        <p:spPr>
          <a:xfrm>
            <a:off x="737999" y="1928817"/>
            <a:ext cx="8529034" cy="2469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700">
                <a:latin typeface="Arial"/>
                <a:ea typeface="Arial"/>
                <a:cs typeface="Arial"/>
                <a:sym typeface="Arial"/>
              </a:defRPr>
            </a:lvl1pPr>
          </a:lstStyle>
          <a:p>
            <a:pPr lvl="0">
              <a:defRPr sz="1800"/>
            </a:pPr>
            <a:r>
              <a:rPr sz="1700"/>
              <a:t>Key facts regarding the launch of the company and the beginning of operations</a:t>
            </a:r>
          </a:p>
        </p:txBody>
      </p:sp>
      <p:grpSp>
        <p:nvGrpSpPr>
          <p:cNvPr id="2" name="Group 232"/>
          <p:cNvGrpSpPr/>
          <p:nvPr/>
        </p:nvGrpSpPr>
        <p:grpSpPr>
          <a:xfrm>
            <a:off x="832619" y="2488985"/>
            <a:ext cx="8386282" cy="157336"/>
            <a:chOff x="0" y="0"/>
            <a:chExt cx="8386281" cy="157335"/>
          </a:xfrm>
        </p:grpSpPr>
        <p:sp>
          <p:nvSpPr>
            <p:cNvPr id="229" name="Shape 229"/>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30" name="Shape 230"/>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June 25, 2009 </a:t>
              </a:r>
            </a:p>
          </p:txBody>
        </p:sp>
        <p:sp>
          <p:nvSpPr>
            <p:cNvPr id="231" name="Shape 231"/>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Creation of the company</a:t>
              </a:r>
            </a:p>
          </p:txBody>
        </p:sp>
      </p:grpSp>
      <p:grpSp>
        <p:nvGrpSpPr>
          <p:cNvPr id="3" name="Group 236"/>
          <p:cNvGrpSpPr/>
          <p:nvPr/>
        </p:nvGrpSpPr>
        <p:grpSpPr>
          <a:xfrm>
            <a:off x="832619" y="2764203"/>
            <a:ext cx="8386282" cy="157336"/>
            <a:chOff x="0" y="0"/>
            <a:chExt cx="8386281" cy="157335"/>
          </a:xfrm>
        </p:grpSpPr>
        <p:sp>
          <p:nvSpPr>
            <p:cNvPr id="233" name="Shape 233"/>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34" name="Shape 234"/>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June 25, 2009 </a:t>
              </a:r>
            </a:p>
          </p:txBody>
        </p:sp>
        <p:sp>
          <p:nvSpPr>
            <p:cNvPr id="235" name="Shape 235"/>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Release of the initial capital of the company</a:t>
              </a:r>
            </a:p>
          </p:txBody>
        </p:sp>
      </p:grpSp>
      <p:grpSp>
        <p:nvGrpSpPr>
          <p:cNvPr id="4" name="Group 240"/>
          <p:cNvGrpSpPr/>
          <p:nvPr/>
        </p:nvGrpSpPr>
        <p:grpSpPr>
          <a:xfrm>
            <a:off x="832619" y="3039421"/>
            <a:ext cx="8386282" cy="157336"/>
            <a:chOff x="0" y="0"/>
            <a:chExt cx="8386281" cy="157335"/>
          </a:xfrm>
        </p:grpSpPr>
        <p:sp>
          <p:nvSpPr>
            <p:cNvPr id="237" name="Shape 237"/>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38" name="Shape 238"/>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January 26, 2010 </a:t>
              </a:r>
            </a:p>
          </p:txBody>
        </p:sp>
        <p:sp>
          <p:nvSpPr>
            <p:cNvPr id="239" name="Shape 239"/>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Capital increase</a:t>
              </a:r>
            </a:p>
          </p:txBody>
        </p:sp>
      </p:grpSp>
      <p:grpSp>
        <p:nvGrpSpPr>
          <p:cNvPr id="5" name="Group 244"/>
          <p:cNvGrpSpPr/>
          <p:nvPr/>
        </p:nvGrpSpPr>
        <p:grpSpPr>
          <a:xfrm>
            <a:off x="832619" y="3314639"/>
            <a:ext cx="8386282" cy="157336"/>
            <a:chOff x="0" y="0"/>
            <a:chExt cx="8386281" cy="157335"/>
          </a:xfrm>
        </p:grpSpPr>
        <p:sp>
          <p:nvSpPr>
            <p:cNvPr id="241" name="Shape 241"/>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42" name="Shape 242"/>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2010</a:t>
              </a:r>
            </a:p>
          </p:txBody>
        </p:sp>
        <p:sp>
          <p:nvSpPr>
            <p:cNvPr id="243" name="Shape 243"/>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Initial Business plan elaborated by TASC Aviation, an Airbus subsidiary (100%)</a:t>
              </a:r>
            </a:p>
          </p:txBody>
        </p:sp>
      </p:grpSp>
      <p:grpSp>
        <p:nvGrpSpPr>
          <p:cNvPr id="6" name="Group 248"/>
          <p:cNvGrpSpPr/>
          <p:nvPr/>
        </p:nvGrpSpPr>
        <p:grpSpPr>
          <a:xfrm>
            <a:off x="832619" y="3589857"/>
            <a:ext cx="8386282" cy="157336"/>
            <a:chOff x="0" y="0"/>
            <a:chExt cx="8386281" cy="157335"/>
          </a:xfrm>
        </p:grpSpPr>
        <p:sp>
          <p:nvSpPr>
            <p:cNvPr id="245" name="Shape 245"/>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46" name="Shape 246"/>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May 2010</a:t>
              </a:r>
            </a:p>
          </p:txBody>
        </p:sp>
        <p:sp>
          <p:nvSpPr>
            <p:cNvPr id="247" name="Shape 247"/>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Recruitment of the CEO and beginning of the project implementation with the support of TASC Aviation</a:t>
              </a:r>
            </a:p>
          </p:txBody>
        </p:sp>
      </p:grpSp>
      <p:grpSp>
        <p:nvGrpSpPr>
          <p:cNvPr id="7" name="Group 252"/>
          <p:cNvGrpSpPr/>
          <p:nvPr/>
        </p:nvGrpSpPr>
        <p:grpSpPr>
          <a:xfrm>
            <a:off x="832619" y="3865075"/>
            <a:ext cx="8386282" cy="157336"/>
            <a:chOff x="0" y="0"/>
            <a:chExt cx="8386281" cy="157335"/>
          </a:xfrm>
        </p:grpSpPr>
        <p:sp>
          <p:nvSpPr>
            <p:cNvPr id="249" name="Shape 249"/>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50" name="Shape 250"/>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June 15, 2010</a:t>
              </a:r>
            </a:p>
          </p:txBody>
        </p:sp>
        <p:sp>
          <p:nvSpPr>
            <p:cNvPr id="251" name="Shape 251"/>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Obtainment of the ICAO code (SGG)</a:t>
              </a:r>
            </a:p>
          </p:txBody>
        </p:sp>
      </p:grpSp>
      <p:grpSp>
        <p:nvGrpSpPr>
          <p:cNvPr id="8" name="Group 256"/>
          <p:cNvGrpSpPr/>
          <p:nvPr/>
        </p:nvGrpSpPr>
        <p:grpSpPr>
          <a:xfrm>
            <a:off x="832619" y="4140293"/>
            <a:ext cx="8386282" cy="157336"/>
            <a:chOff x="0" y="0"/>
            <a:chExt cx="8386281" cy="157335"/>
          </a:xfrm>
        </p:grpSpPr>
        <p:sp>
          <p:nvSpPr>
            <p:cNvPr id="253" name="Shape 253"/>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54" name="Shape 254"/>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December 6, 2010 </a:t>
              </a:r>
            </a:p>
          </p:txBody>
        </p:sp>
        <p:sp>
          <p:nvSpPr>
            <p:cNvPr id="255" name="Shape 255"/>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Obtainment of the AOC</a:t>
              </a:r>
            </a:p>
          </p:txBody>
        </p:sp>
      </p:grpSp>
      <p:grpSp>
        <p:nvGrpSpPr>
          <p:cNvPr id="9" name="Group 260"/>
          <p:cNvGrpSpPr/>
          <p:nvPr/>
        </p:nvGrpSpPr>
        <p:grpSpPr>
          <a:xfrm>
            <a:off x="832619" y="4682759"/>
            <a:ext cx="8386282" cy="289883"/>
            <a:chOff x="0" y="0"/>
            <a:chExt cx="8386281" cy="289881"/>
          </a:xfrm>
        </p:grpSpPr>
        <p:sp>
          <p:nvSpPr>
            <p:cNvPr id="257" name="Shape 257"/>
            <p:cNvSpPr/>
            <p:nvPr/>
          </p:nvSpPr>
          <p:spPr>
            <a:xfrm>
              <a:off x="0" y="93867"/>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58" name="Shape 258"/>
            <p:cNvSpPr/>
            <p:nvPr/>
          </p:nvSpPr>
          <p:spPr>
            <a:xfrm>
              <a:off x="213860" y="73952"/>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January 19, 2011 </a:t>
              </a:r>
            </a:p>
          </p:txBody>
        </p:sp>
        <p:sp>
          <p:nvSpPr>
            <p:cNvPr id="259" name="Shape 259"/>
            <p:cNvSpPr/>
            <p:nvPr/>
          </p:nvSpPr>
          <p:spPr>
            <a:xfrm>
              <a:off x="1777230" y="0"/>
              <a:ext cx="6609052" cy="289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Reception of two A320s and start of operations on the West African network (Bamako, Banjul, Conakry, Nouakchott, Niamey, Ouagadougou)</a:t>
              </a:r>
            </a:p>
          </p:txBody>
        </p:sp>
      </p:grpSp>
      <p:grpSp>
        <p:nvGrpSpPr>
          <p:cNvPr id="10" name="Group 264"/>
          <p:cNvGrpSpPr/>
          <p:nvPr/>
        </p:nvGrpSpPr>
        <p:grpSpPr>
          <a:xfrm>
            <a:off x="832619" y="5080738"/>
            <a:ext cx="8386282" cy="157336"/>
            <a:chOff x="0" y="0"/>
            <a:chExt cx="8386281" cy="157335"/>
          </a:xfrm>
        </p:grpSpPr>
        <p:sp>
          <p:nvSpPr>
            <p:cNvPr id="261" name="Shape 261"/>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62" name="Shape 262"/>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May 31, 2011 </a:t>
              </a:r>
            </a:p>
          </p:txBody>
        </p:sp>
        <p:sp>
          <p:nvSpPr>
            <p:cNvPr id="263" name="Shape 263"/>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Switch of the President of the Board</a:t>
              </a:r>
            </a:p>
          </p:txBody>
        </p:sp>
      </p:grpSp>
      <p:grpSp>
        <p:nvGrpSpPr>
          <p:cNvPr id="11" name="Group 268"/>
          <p:cNvGrpSpPr/>
          <p:nvPr/>
        </p:nvGrpSpPr>
        <p:grpSpPr>
          <a:xfrm>
            <a:off x="832619" y="4424099"/>
            <a:ext cx="8386282" cy="157336"/>
            <a:chOff x="0" y="0"/>
            <a:chExt cx="8386281" cy="157335"/>
          </a:xfrm>
        </p:grpSpPr>
        <p:sp>
          <p:nvSpPr>
            <p:cNvPr id="265" name="Shape 265"/>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66" name="Shape 266"/>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December 9, 2010 </a:t>
              </a:r>
            </a:p>
          </p:txBody>
        </p:sp>
        <p:sp>
          <p:nvSpPr>
            <p:cNvPr id="267" name="Shape 267"/>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Obtainment of the IATA code (DN)</a:t>
              </a:r>
            </a:p>
          </p:txBody>
        </p:sp>
      </p:grpSp>
      <p:grpSp>
        <p:nvGrpSpPr>
          <p:cNvPr id="12" name="Group 272"/>
          <p:cNvGrpSpPr/>
          <p:nvPr/>
        </p:nvGrpSpPr>
        <p:grpSpPr>
          <a:xfrm>
            <a:off x="832619" y="5349861"/>
            <a:ext cx="8440922" cy="289882"/>
            <a:chOff x="0" y="0"/>
            <a:chExt cx="8440921" cy="289881"/>
          </a:xfrm>
        </p:grpSpPr>
        <p:sp>
          <p:nvSpPr>
            <p:cNvPr id="269" name="Shape 269"/>
            <p:cNvSpPr/>
            <p:nvPr/>
          </p:nvSpPr>
          <p:spPr>
            <a:xfrm>
              <a:off x="0" y="74817"/>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sp>
          <p:nvSpPr>
            <p:cNvPr id="270" name="Shape 270"/>
            <p:cNvSpPr/>
            <p:nvPr/>
          </p:nvSpPr>
          <p:spPr>
            <a:xfrm>
              <a:off x="213861" y="54902"/>
              <a:ext cx="1458249"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August 6, 2011 </a:t>
              </a:r>
            </a:p>
          </p:txBody>
        </p:sp>
        <p:sp>
          <p:nvSpPr>
            <p:cNvPr id="271" name="Shape 271"/>
            <p:cNvSpPr/>
            <p:nvPr/>
          </p:nvSpPr>
          <p:spPr>
            <a:xfrm>
              <a:off x="1777230" y="0"/>
              <a:ext cx="6663692" cy="289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Signing of an ACMI contract to operate an ATR42 on domestic (ZIG/CSK) and neighboring (RAI/BJL/OXB/NKC) destinations</a:t>
              </a:r>
            </a:p>
          </p:txBody>
        </p:sp>
      </p:grpSp>
      <p:grpSp>
        <p:nvGrpSpPr>
          <p:cNvPr id="13" name="Group 276"/>
          <p:cNvGrpSpPr/>
          <p:nvPr/>
        </p:nvGrpSpPr>
        <p:grpSpPr>
          <a:xfrm>
            <a:off x="832619" y="5725869"/>
            <a:ext cx="8386282" cy="289882"/>
            <a:chOff x="0" y="0"/>
            <a:chExt cx="8386281" cy="289881"/>
          </a:xfrm>
        </p:grpSpPr>
        <p:sp>
          <p:nvSpPr>
            <p:cNvPr id="273" name="Shape 273"/>
            <p:cNvSpPr/>
            <p:nvPr/>
          </p:nvSpPr>
          <p:spPr>
            <a:xfrm>
              <a:off x="213860" y="64427"/>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August 13, 2011 </a:t>
              </a:r>
            </a:p>
          </p:txBody>
        </p:sp>
        <p:sp>
          <p:nvSpPr>
            <p:cNvPr id="274" name="Shape 274"/>
            <p:cNvSpPr/>
            <p:nvPr/>
          </p:nvSpPr>
          <p:spPr>
            <a:xfrm>
              <a:off x="1777230" y="0"/>
              <a:ext cx="6609052" cy="28988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Reception of the third A320 and start of operations on the Central African network (Abidjan, Cotonou, Douala, Libreville)</a:t>
              </a:r>
            </a:p>
          </p:txBody>
        </p:sp>
        <p:sp>
          <p:nvSpPr>
            <p:cNvPr id="275" name="Shape 275"/>
            <p:cNvSpPr/>
            <p:nvPr/>
          </p:nvSpPr>
          <p:spPr>
            <a:xfrm>
              <a:off x="0" y="84342"/>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grpSp>
      <p:grpSp>
        <p:nvGrpSpPr>
          <p:cNvPr id="14" name="Group 280"/>
          <p:cNvGrpSpPr/>
          <p:nvPr/>
        </p:nvGrpSpPr>
        <p:grpSpPr>
          <a:xfrm>
            <a:off x="832619" y="6139723"/>
            <a:ext cx="8386282" cy="157336"/>
            <a:chOff x="0" y="0"/>
            <a:chExt cx="8386281" cy="157335"/>
          </a:xfrm>
        </p:grpSpPr>
        <p:sp>
          <p:nvSpPr>
            <p:cNvPr id="277" name="Shape 277"/>
            <p:cNvSpPr/>
            <p:nvPr/>
          </p:nvSpPr>
          <p:spPr>
            <a:xfrm>
              <a:off x="213860" y="0"/>
              <a:ext cx="1458248"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defTabSz="914400">
                <a:lnSpc>
                  <a:spcPct val="93000"/>
                </a:lnSpc>
                <a:spcBef>
                  <a:spcPts val="300"/>
                </a:spcBef>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March 21, 2012 </a:t>
              </a:r>
            </a:p>
          </p:txBody>
        </p:sp>
        <p:sp>
          <p:nvSpPr>
            <p:cNvPr id="278" name="Shape 278"/>
            <p:cNvSpPr/>
            <p:nvPr/>
          </p:nvSpPr>
          <p:spPr>
            <a:xfrm>
              <a:off x="1777230" y="9505"/>
              <a:ext cx="6609052" cy="14783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t">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Signing of an ACMI contract replacing the ATR42 by the ATR72</a:t>
              </a:r>
            </a:p>
          </p:txBody>
        </p:sp>
        <p:sp>
          <p:nvSpPr>
            <p:cNvPr id="279" name="Shape 279"/>
            <p:cNvSpPr/>
            <p:nvPr/>
          </p:nvSpPr>
          <p:spPr>
            <a:xfrm>
              <a:off x="0" y="19914"/>
              <a:ext cx="108000" cy="10800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w="22225" cap="flat">
              <a:solidFill>
                <a:srgbClr val="FFFFFF"/>
              </a:solidFill>
              <a:prstDash val="solid"/>
              <a:bevel/>
            </a:ln>
            <a:effectLst/>
          </p:spPr>
          <p:txBody>
            <a:bodyPr wrap="square" lIns="0" tIns="0" rIns="0" bIns="0" numCol="1" anchor="ctr">
              <a:noAutofit/>
            </a:bodyPr>
            <a:lstStyle/>
            <a:p>
              <a:pPr lvl="0" algn="ctr" defTabSz="914400">
                <a:lnSpc>
                  <a:spcPct val="93000"/>
                </a:lnSpc>
                <a:spcBef>
                  <a:spcPts val="300"/>
                </a:spcBef>
                <a:defRPr sz="1100">
                  <a:latin typeface="Arial"/>
                  <a:ea typeface="Arial"/>
                  <a:cs typeface="Arial"/>
                  <a:sym typeface="Arial"/>
                </a:defRPr>
              </a:pPr>
              <a:endParaRPr/>
            </a:p>
          </p:txBody>
        </p:sp>
      </p:grpSp>
      <p:sp>
        <p:nvSpPr>
          <p:cNvPr id="281" name="Shape 281"/>
          <p:cNvSpPr/>
          <p:nvPr/>
        </p:nvSpPr>
        <p:spPr>
          <a:xfrm>
            <a:off x="1095375" y="2700509"/>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2" name="Shape 282"/>
          <p:cNvSpPr/>
          <p:nvPr/>
        </p:nvSpPr>
        <p:spPr>
          <a:xfrm>
            <a:off x="1095375" y="2975727"/>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3" name="Shape 283"/>
          <p:cNvSpPr/>
          <p:nvPr/>
        </p:nvSpPr>
        <p:spPr>
          <a:xfrm>
            <a:off x="1095375" y="3250944"/>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4" name="Shape 284"/>
          <p:cNvSpPr/>
          <p:nvPr/>
        </p:nvSpPr>
        <p:spPr>
          <a:xfrm>
            <a:off x="1095375" y="3526163"/>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5" name="Shape 285"/>
          <p:cNvSpPr/>
          <p:nvPr/>
        </p:nvSpPr>
        <p:spPr>
          <a:xfrm>
            <a:off x="1095375" y="3801381"/>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6" name="Shape 286"/>
          <p:cNvSpPr/>
          <p:nvPr/>
        </p:nvSpPr>
        <p:spPr>
          <a:xfrm>
            <a:off x="1095375" y="4076598"/>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7" name="Shape 287"/>
          <p:cNvSpPr/>
          <p:nvPr/>
        </p:nvSpPr>
        <p:spPr>
          <a:xfrm>
            <a:off x="1095375" y="4351816"/>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8" name="Shape 288"/>
          <p:cNvSpPr/>
          <p:nvPr/>
        </p:nvSpPr>
        <p:spPr>
          <a:xfrm>
            <a:off x="1095375" y="4644211"/>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89" name="Shape 289"/>
          <p:cNvSpPr/>
          <p:nvPr/>
        </p:nvSpPr>
        <p:spPr>
          <a:xfrm>
            <a:off x="1095375" y="5029744"/>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90" name="Shape 290"/>
          <p:cNvSpPr/>
          <p:nvPr/>
        </p:nvSpPr>
        <p:spPr>
          <a:xfrm>
            <a:off x="1095375" y="5677794"/>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91" name="Shape 291"/>
          <p:cNvSpPr/>
          <p:nvPr/>
        </p:nvSpPr>
        <p:spPr>
          <a:xfrm>
            <a:off x="1095375" y="6076027"/>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92" name="Shape 292"/>
          <p:cNvSpPr/>
          <p:nvPr/>
        </p:nvSpPr>
        <p:spPr>
          <a:xfrm>
            <a:off x="1095375" y="5292261"/>
            <a:ext cx="8172451" cy="1"/>
          </a:xfrm>
          <a:prstGeom prst="line">
            <a:avLst/>
          </a:prstGeom>
          <a:ln>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293" name="Shape 293"/>
          <p:cNvSpPr/>
          <p:nvPr/>
        </p:nvSpPr>
        <p:spPr>
          <a:xfrm>
            <a:off x="177800" y="1928817"/>
            <a:ext cx="292100" cy="3549861"/>
          </a:xfrm>
          <a:prstGeom prst="rect">
            <a:avLst/>
          </a:prstGeom>
          <a:solidFill>
            <a:srgbClr val="FFFFFF"/>
          </a:solidFill>
          <a:ln>
            <a:solidFill>
              <a:srgbClr val="FFFFFF"/>
            </a:solidFill>
          </a:ln>
        </p:spPr>
        <p:txBody>
          <a:bodyPr lIns="0" tIns="0" rIns="0" bIns="0" anchor="ctr"/>
          <a:lstStyle/>
          <a:p>
            <a:pPr lvl="0" algn="ctr" defTabSz="914400">
              <a:lnSpc>
                <a:spcPct val="93000"/>
              </a:lnSpc>
              <a:spcBef>
                <a:spcPts val="300"/>
              </a:spcBef>
              <a:defRPr sz="1300">
                <a:latin typeface="Arial"/>
                <a:ea typeface="Arial"/>
                <a:cs typeface="Arial"/>
                <a:sym typeface="Arial"/>
              </a:defRPr>
            </a:pPr>
            <a:endParaRPr/>
          </a:p>
        </p:txBody>
      </p:sp>
      <p:sp>
        <p:nvSpPr>
          <p:cNvPr id="294" name="Shape 294"/>
          <p:cNvSpPr/>
          <p:nvPr/>
        </p:nvSpPr>
        <p:spPr>
          <a:xfrm>
            <a:off x="899592" y="-1"/>
            <a:ext cx="7797552" cy="76470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a:defRPr sz="2800" b="1">
                <a:solidFill>
                  <a:srgbClr val="C00000"/>
                </a:solidFill>
                <a:latin typeface="Cambria"/>
                <a:ea typeface="Cambria"/>
                <a:cs typeface="Cambria"/>
                <a:sym typeface="Cambria"/>
              </a:defRPr>
            </a:lvl1pPr>
          </a:lstStyle>
          <a:p>
            <a:pPr lvl="0">
              <a:defRPr sz="1800" b="0">
                <a:solidFill>
                  <a:srgbClr val="000000"/>
                </a:solidFill>
              </a:defRPr>
            </a:pPr>
            <a:r>
              <a:rPr sz="2800" b="1">
                <a:solidFill>
                  <a:srgbClr val="C00000"/>
                </a:solidFill>
              </a:rPr>
              <a:t>Senegal Airlines</a:t>
            </a:r>
          </a:p>
        </p:txBody>
      </p:sp>
      <p:sp>
        <p:nvSpPr>
          <p:cNvPr id="72"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73"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 name="Shape 296"/>
          <p:cNvSpPr>
            <a:spLocks noGrp="1"/>
          </p:cNvSpPr>
          <p:nvPr>
            <p:ph type="title"/>
          </p:nvPr>
        </p:nvSpPr>
        <p:spPr>
          <a:xfrm>
            <a:off x="738000" y="811212"/>
            <a:ext cx="8279884" cy="601063"/>
          </a:xfrm>
          <a:prstGeom prst="rect">
            <a:avLst/>
          </a:prstGeom>
        </p:spPr>
        <p:txBody>
          <a:bodyPr/>
          <a:lstStyle>
            <a:lvl1pPr algn="l" defTabSz="749808">
              <a:defRPr sz="1640" b="1">
                <a:solidFill>
                  <a:srgbClr val="000000"/>
                </a:solidFill>
              </a:defRPr>
            </a:lvl1pPr>
          </a:lstStyle>
          <a:p>
            <a:pPr lvl="0">
              <a:defRPr sz="1800" b="0"/>
            </a:pPr>
            <a:r>
              <a:rPr sz="1640" b="1"/>
              <a:t>Senegal Airlines operates short and medium haul flights in one local axis and three regional axes</a:t>
            </a:r>
          </a:p>
        </p:txBody>
      </p:sp>
      <p:sp>
        <p:nvSpPr>
          <p:cNvPr id="297" name="Shape 297"/>
          <p:cNvSpPr/>
          <p:nvPr/>
        </p:nvSpPr>
        <p:spPr>
          <a:xfrm>
            <a:off x="6752535" y="3781466"/>
            <a:ext cx="252001" cy="1"/>
          </a:xfrm>
          <a:prstGeom prst="line">
            <a:avLst/>
          </a:prstGeom>
          <a:ln w="28575">
            <a:solidFill>
              <a:srgbClr val="FF960C"/>
            </a:solidFill>
          </a:ln>
        </p:spPr>
        <p:txBody>
          <a:bodyPr lIns="0" tIns="0" rIns="0" bIns="0"/>
          <a:lstStyle/>
          <a:p>
            <a:pPr lvl="0">
              <a:defRPr sz="1200">
                <a:latin typeface="+mj-lt"/>
                <a:ea typeface="+mj-ea"/>
                <a:cs typeface="+mj-cs"/>
                <a:sym typeface="Helvetica"/>
              </a:defRPr>
            </a:pPr>
            <a:endParaRPr/>
          </a:p>
        </p:txBody>
      </p:sp>
      <p:sp>
        <p:nvSpPr>
          <p:cNvPr id="298" name="Shape 298"/>
          <p:cNvSpPr/>
          <p:nvPr/>
        </p:nvSpPr>
        <p:spPr>
          <a:xfrm>
            <a:off x="6752535" y="3005938"/>
            <a:ext cx="252001" cy="1"/>
          </a:xfrm>
          <a:prstGeom prst="line">
            <a:avLst/>
          </a:prstGeom>
          <a:ln w="28575">
            <a:solidFill>
              <a:srgbClr val="FF0000"/>
            </a:solidFill>
          </a:ln>
        </p:spPr>
        <p:txBody>
          <a:bodyPr lIns="0" tIns="0" rIns="0" bIns="0"/>
          <a:lstStyle/>
          <a:p>
            <a:pPr lvl="0">
              <a:defRPr sz="1200">
                <a:latin typeface="+mj-lt"/>
                <a:ea typeface="+mj-ea"/>
                <a:cs typeface="+mj-cs"/>
                <a:sym typeface="Helvetica"/>
              </a:defRPr>
            </a:pPr>
            <a:endParaRPr/>
          </a:p>
        </p:txBody>
      </p:sp>
      <p:sp>
        <p:nvSpPr>
          <p:cNvPr id="299" name="Shape 299"/>
          <p:cNvSpPr/>
          <p:nvPr/>
        </p:nvSpPr>
        <p:spPr>
          <a:xfrm>
            <a:off x="7110752" y="3693686"/>
            <a:ext cx="2187576" cy="1478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100">
                <a:solidFill>
                  <a:srgbClr val="FF960C"/>
                </a:solidFill>
                <a:latin typeface="Arial"/>
                <a:ea typeface="Arial"/>
                <a:cs typeface="Arial"/>
                <a:sym typeface="Arial"/>
              </a:defRPr>
            </a:lvl1pPr>
          </a:lstStyle>
          <a:p>
            <a:pPr lvl="0">
              <a:defRPr sz="1800">
                <a:solidFill>
                  <a:srgbClr val="000000"/>
                </a:solidFill>
              </a:defRPr>
            </a:pPr>
            <a:r>
              <a:rPr sz="1100">
                <a:solidFill>
                  <a:srgbClr val="FF960C"/>
                </a:solidFill>
              </a:rPr>
              <a:t>Abidjan axis (A320)</a:t>
            </a:r>
          </a:p>
        </p:txBody>
      </p:sp>
      <p:sp>
        <p:nvSpPr>
          <p:cNvPr id="300" name="Shape 300"/>
          <p:cNvSpPr/>
          <p:nvPr/>
        </p:nvSpPr>
        <p:spPr>
          <a:xfrm>
            <a:off x="7110751" y="2919745"/>
            <a:ext cx="1920694" cy="1478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100">
                <a:solidFill>
                  <a:srgbClr val="FF0000"/>
                </a:solidFill>
                <a:latin typeface="Arial"/>
                <a:ea typeface="Arial"/>
                <a:cs typeface="Arial"/>
                <a:sym typeface="Arial"/>
              </a:defRPr>
            </a:lvl1pPr>
          </a:lstStyle>
          <a:p>
            <a:pPr lvl="0">
              <a:defRPr sz="1800">
                <a:solidFill>
                  <a:srgbClr val="000000"/>
                </a:solidFill>
              </a:defRPr>
            </a:pPr>
            <a:r>
              <a:rPr sz="1100">
                <a:solidFill>
                  <a:srgbClr val="FF0000"/>
                </a:solidFill>
              </a:rPr>
              <a:t>Local axis (/DASH 8Q-400)</a:t>
            </a:r>
          </a:p>
        </p:txBody>
      </p:sp>
      <p:grpSp>
        <p:nvGrpSpPr>
          <p:cNvPr id="2" name="Group 358"/>
          <p:cNvGrpSpPr/>
          <p:nvPr/>
        </p:nvGrpSpPr>
        <p:grpSpPr>
          <a:xfrm>
            <a:off x="2140374" y="2332533"/>
            <a:ext cx="4036018" cy="4028334"/>
            <a:chOff x="0" y="0"/>
            <a:chExt cx="4036016" cy="4028333"/>
          </a:xfrm>
        </p:grpSpPr>
        <p:sp>
          <p:nvSpPr>
            <p:cNvPr id="301" name="Shape 301"/>
            <p:cNvSpPr/>
            <p:nvPr/>
          </p:nvSpPr>
          <p:spPr>
            <a:xfrm>
              <a:off x="899807" y="2461714"/>
              <a:ext cx="10805" cy="317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400" y="0"/>
                    <a:pt x="7200" y="0"/>
                    <a:pt x="0" y="0"/>
                  </a:cubicBezTo>
                  <a:cubicBezTo>
                    <a:pt x="7200" y="0"/>
                    <a:pt x="14400" y="0"/>
                    <a:pt x="2160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2" name="Shape 302"/>
            <p:cNvSpPr/>
            <p:nvPr/>
          </p:nvSpPr>
          <p:spPr>
            <a:xfrm>
              <a:off x="615819" y="1862911"/>
              <a:ext cx="13893" cy="4784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0800" y="4985"/>
                    <a:pt x="5400" y="6646"/>
                    <a:pt x="5400" y="11631"/>
                  </a:cubicBezTo>
                  <a:cubicBezTo>
                    <a:pt x="0" y="14954"/>
                    <a:pt x="0" y="18277"/>
                    <a:pt x="0" y="21600"/>
                  </a:cubicBezTo>
                  <a:cubicBezTo>
                    <a:pt x="0" y="18277"/>
                    <a:pt x="5400" y="16615"/>
                    <a:pt x="5400" y="13292"/>
                  </a:cubicBezTo>
                  <a:cubicBezTo>
                    <a:pt x="10800" y="8308"/>
                    <a:pt x="10800" y="4985"/>
                    <a:pt x="2160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3" name="Shape 303"/>
            <p:cNvSpPr/>
            <p:nvPr/>
          </p:nvSpPr>
          <p:spPr>
            <a:xfrm>
              <a:off x="2384568" y="1166827"/>
              <a:ext cx="115757" cy="54021"/>
            </a:xfrm>
            <a:custGeom>
              <a:avLst/>
              <a:gdLst/>
              <a:ahLst/>
              <a:cxnLst>
                <a:cxn ang="0">
                  <a:pos x="wd2" y="hd2"/>
                </a:cxn>
                <a:cxn ang="5400000">
                  <a:pos x="wd2" y="hd2"/>
                </a:cxn>
                <a:cxn ang="10800000">
                  <a:pos x="wd2" y="hd2"/>
                </a:cxn>
                <a:cxn ang="16200000">
                  <a:pos x="wd2" y="hd2"/>
                </a:cxn>
              </a:cxnLst>
              <a:rect l="0" t="0" r="r" b="b"/>
              <a:pathLst>
                <a:path w="21600" h="21600" extrusionOk="0">
                  <a:moveTo>
                    <a:pt x="675" y="10080"/>
                  </a:moveTo>
                  <a:cubicBezTo>
                    <a:pt x="9450" y="8640"/>
                    <a:pt x="12825" y="1440"/>
                    <a:pt x="21600" y="0"/>
                  </a:cubicBezTo>
                  <a:cubicBezTo>
                    <a:pt x="12825" y="1440"/>
                    <a:pt x="8775" y="7200"/>
                    <a:pt x="0" y="8640"/>
                  </a:cubicBezTo>
                  <a:cubicBezTo>
                    <a:pt x="0" y="14400"/>
                    <a:pt x="675" y="17280"/>
                    <a:pt x="675" y="21600"/>
                  </a:cubicBezTo>
                  <a:cubicBezTo>
                    <a:pt x="675" y="17280"/>
                    <a:pt x="675" y="14400"/>
                    <a:pt x="675" y="1008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4" name="Shape 304"/>
            <p:cNvSpPr/>
            <p:nvPr/>
          </p:nvSpPr>
          <p:spPr>
            <a:xfrm>
              <a:off x="1975564" y="2095967"/>
              <a:ext cx="40129" cy="6636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14400"/>
                    <a:pt x="9818" y="10800"/>
                    <a:pt x="15709" y="4800"/>
                  </a:cubicBezTo>
                  <a:cubicBezTo>
                    <a:pt x="17673" y="2400"/>
                    <a:pt x="19636" y="1200"/>
                    <a:pt x="21600" y="0"/>
                  </a:cubicBezTo>
                  <a:cubicBezTo>
                    <a:pt x="19636" y="1200"/>
                    <a:pt x="15709" y="3600"/>
                    <a:pt x="13745" y="4800"/>
                  </a:cubicBezTo>
                  <a:cubicBezTo>
                    <a:pt x="9818" y="10800"/>
                    <a:pt x="0" y="14400"/>
                    <a:pt x="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5" name="Shape 305"/>
            <p:cNvSpPr/>
            <p:nvPr/>
          </p:nvSpPr>
          <p:spPr>
            <a:xfrm>
              <a:off x="334919" y="1867541"/>
              <a:ext cx="83345" cy="108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3757" y="7200"/>
                    <a:pt x="4696" y="21600"/>
                    <a:pt x="8452" y="21600"/>
                  </a:cubicBezTo>
                  <a:cubicBezTo>
                    <a:pt x="21600" y="14400"/>
                    <a:pt x="21600" y="14400"/>
                    <a:pt x="21600" y="14400"/>
                  </a:cubicBezTo>
                  <a:cubicBezTo>
                    <a:pt x="10330" y="14400"/>
                    <a:pt x="10330" y="14400"/>
                    <a:pt x="10330" y="14400"/>
                  </a:cubicBezTo>
                  <a:cubicBezTo>
                    <a:pt x="6574" y="14400"/>
                    <a:pt x="3757" y="7200"/>
                    <a:pt x="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6" name="Shape 306"/>
            <p:cNvSpPr/>
            <p:nvPr/>
          </p:nvSpPr>
          <p:spPr>
            <a:xfrm>
              <a:off x="1487846" y="2216354"/>
              <a:ext cx="78716" cy="3704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21600"/>
                    <a:pt x="21600" y="21600"/>
                    <a:pt x="21600" y="21600"/>
                  </a:cubicBezTo>
                  <a:cubicBezTo>
                    <a:pt x="12764" y="15120"/>
                    <a:pt x="8836" y="0"/>
                    <a:pt x="0" y="0"/>
                  </a:cubicBezTo>
                  <a:cubicBezTo>
                    <a:pt x="8836" y="0"/>
                    <a:pt x="12764" y="17280"/>
                    <a:pt x="2160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7" name="Shape 307"/>
            <p:cNvSpPr/>
            <p:nvPr/>
          </p:nvSpPr>
          <p:spPr>
            <a:xfrm>
              <a:off x="990868" y="2176225"/>
              <a:ext cx="4632" cy="463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21600"/>
                    <a:pt x="21600" y="21600"/>
                    <a:pt x="0" y="21600"/>
                  </a:cubicBezTo>
                  <a:cubicBezTo>
                    <a:pt x="21600" y="21600"/>
                    <a:pt x="21600" y="21600"/>
                    <a:pt x="2160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8" name="Shape 308"/>
            <p:cNvSpPr/>
            <p:nvPr/>
          </p:nvSpPr>
          <p:spPr>
            <a:xfrm>
              <a:off x="492347" y="1568117"/>
              <a:ext cx="80258" cy="987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7855" y="6400"/>
                    <a:pt x="11782" y="9600"/>
                    <a:pt x="19636" y="14400"/>
                  </a:cubicBezTo>
                  <a:cubicBezTo>
                    <a:pt x="19636" y="17600"/>
                    <a:pt x="19636" y="19200"/>
                    <a:pt x="19636" y="21600"/>
                  </a:cubicBezTo>
                  <a:cubicBezTo>
                    <a:pt x="19636" y="19200"/>
                    <a:pt x="21600" y="17600"/>
                    <a:pt x="21600" y="14400"/>
                  </a:cubicBezTo>
                  <a:cubicBezTo>
                    <a:pt x="12764" y="9600"/>
                    <a:pt x="7855" y="6400"/>
                    <a:pt x="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09" name="Shape 309"/>
            <p:cNvSpPr/>
            <p:nvPr/>
          </p:nvSpPr>
          <p:spPr>
            <a:xfrm>
              <a:off x="2128362" y="1969407"/>
              <a:ext cx="10805" cy="2160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7200" y="7200"/>
                    <a:pt x="14400" y="14400"/>
                    <a:pt x="21600" y="21600"/>
                  </a:cubicBezTo>
                  <a:cubicBezTo>
                    <a:pt x="21600" y="10800"/>
                    <a:pt x="7200" y="10800"/>
                    <a:pt x="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0" name="Shape 310"/>
            <p:cNvSpPr/>
            <p:nvPr/>
          </p:nvSpPr>
          <p:spPr>
            <a:xfrm>
              <a:off x="1274040" y="2111401"/>
              <a:ext cx="1271" cy="7719"/>
            </a:xfrm>
            <a:prstGeom prst="ellipse">
              <a:avLst/>
            </a:prstGeom>
            <a:no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1" name="Shape 311"/>
            <p:cNvSpPr/>
            <p:nvPr/>
          </p:nvSpPr>
          <p:spPr>
            <a:xfrm>
              <a:off x="1250161" y="2146900"/>
              <a:ext cx="40130" cy="23153"/>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cubicBezTo>
                    <a:pt x="11782" y="0"/>
                    <a:pt x="7855" y="0"/>
                    <a:pt x="0" y="0"/>
                  </a:cubicBezTo>
                  <a:cubicBezTo>
                    <a:pt x="7855" y="0"/>
                    <a:pt x="11782" y="0"/>
                    <a:pt x="17673" y="0"/>
                  </a:cubicBezTo>
                  <a:cubicBezTo>
                    <a:pt x="19636" y="10800"/>
                    <a:pt x="17673" y="18000"/>
                    <a:pt x="21600" y="21600"/>
                  </a:cubicBezTo>
                  <a:cubicBezTo>
                    <a:pt x="17673" y="18000"/>
                    <a:pt x="19636" y="7200"/>
                    <a:pt x="19636"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2" name="Shape 312"/>
            <p:cNvSpPr/>
            <p:nvPr/>
          </p:nvSpPr>
          <p:spPr>
            <a:xfrm>
              <a:off x="674469" y="2370697"/>
              <a:ext cx="13892" cy="617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6200" y="21600"/>
                    <a:pt x="10800" y="10800"/>
                    <a:pt x="0" y="0"/>
                  </a:cubicBezTo>
                  <a:cubicBezTo>
                    <a:pt x="10800" y="10800"/>
                    <a:pt x="16200" y="21600"/>
                    <a:pt x="2160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3" name="Shape 313"/>
            <p:cNvSpPr/>
            <p:nvPr/>
          </p:nvSpPr>
          <p:spPr>
            <a:xfrm>
              <a:off x="1873699" y="2082077"/>
              <a:ext cx="43216" cy="58652"/>
            </a:xfrm>
            <a:custGeom>
              <a:avLst/>
              <a:gdLst/>
              <a:ahLst/>
              <a:cxnLst>
                <a:cxn ang="0">
                  <a:pos x="wd2" y="hd2"/>
                </a:cxn>
                <a:cxn ang="5400000">
                  <a:pos x="wd2" y="hd2"/>
                </a:cxn>
                <a:cxn ang="10800000">
                  <a:pos x="wd2" y="hd2"/>
                </a:cxn>
                <a:cxn ang="16200000">
                  <a:pos x="wd2" y="hd2"/>
                </a:cxn>
              </a:cxnLst>
              <a:rect l="0" t="0" r="r" b="b"/>
              <a:pathLst>
                <a:path w="21600" h="21600" extrusionOk="0">
                  <a:moveTo>
                    <a:pt x="14400" y="0"/>
                  </a:moveTo>
                  <a:cubicBezTo>
                    <a:pt x="18000" y="0"/>
                    <a:pt x="18000" y="2700"/>
                    <a:pt x="19800" y="4050"/>
                  </a:cubicBezTo>
                  <a:cubicBezTo>
                    <a:pt x="9000" y="8100"/>
                    <a:pt x="1800" y="12150"/>
                    <a:pt x="0" y="21600"/>
                  </a:cubicBezTo>
                  <a:cubicBezTo>
                    <a:pt x="1800" y="12150"/>
                    <a:pt x="12600" y="8100"/>
                    <a:pt x="21600" y="4050"/>
                  </a:cubicBezTo>
                  <a:cubicBezTo>
                    <a:pt x="21600" y="2700"/>
                    <a:pt x="18000" y="0"/>
                    <a:pt x="1440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4" name="Shape 314"/>
            <p:cNvSpPr/>
            <p:nvPr/>
          </p:nvSpPr>
          <p:spPr>
            <a:xfrm>
              <a:off x="2241030" y="2012623"/>
              <a:ext cx="44760" cy="2624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12343"/>
                    <a:pt x="12600" y="18514"/>
                    <a:pt x="21600" y="21600"/>
                  </a:cubicBezTo>
                  <a:cubicBezTo>
                    <a:pt x="21600" y="15429"/>
                    <a:pt x="19800" y="9257"/>
                    <a:pt x="19800" y="6171"/>
                  </a:cubicBezTo>
                  <a:cubicBezTo>
                    <a:pt x="19800" y="9257"/>
                    <a:pt x="19800" y="15429"/>
                    <a:pt x="19800" y="18514"/>
                  </a:cubicBezTo>
                  <a:cubicBezTo>
                    <a:pt x="12600" y="15429"/>
                    <a:pt x="5400" y="12343"/>
                    <a:pt x="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5" name="Shape 315"/>
            <p:cNvSpPr/>
            <p:nvPr/>
          </p:nvSpPr>
          <p:spPr>
            <a:xfrm>
              <a:off x="2017963" y="2089750"/>
              <a:ext cx="1271" cy="3176"/>
            </a:xfrm>
            <a:prstGeom prst="ellipse">
              <a:avLst/>
            </a:prstGeom>
            <a:no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6" name="Shape 316"/>
            <p:cNvSpPr/>
            <p:nvPr/>
          </p:nvSpPr>
          <p:spPr>
            <a:xfrm>
              <a:off x="995498" y="2151531"/>
              <a:ext cx="6175" cy="246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10800" y="15429"/>
                    <a:pt x="21600" y="9257"/>
                    <a:pt x="21600" y="0"/>
                  </a:cubicBezTo>
                  <a:cubicBezTo>
                    <a:pt x="21600" y="0"/>
                    <a:pt x="21600" y="0"/>
                    <a:pt x="21600" y="0"/>
                  </a:cubicBezTo>
                  <a:cubicBezTo>
                    <a:pt x="10800" y="9257"/>
                    <a:pt x="10800" y="15429"/>
                    <a:pt x="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7" name="Shape 317"/>
            <p:cNvSpPr/>
            <p:nvPr/>
          </p:nvSpPr>
          <p:spPr>
            <a:xfrm>
              <a:off x="3648619" y="714604"/>
              <a:ext cx="387398" cy="1867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0"/>
                  </a:lnTo>
                  <a:lnTo>
                    <a:pt x="21600" y="21600"/>
                  </a:ln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8" name="Shape 318"/>
            <p:cNvSpPr/>
            <p:nvPr/>
          </p:nvSpPr>
          <p:spPr>
            <a:xfrm>
              <a:off x="3062124" y="3125430"/>
              <a:ext cx="69455" cy="12038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9095" y="0"/>
                    <a:pt x="12505" y="0"/>
                    <a:pt x="21600" y="0"/>
                  </a:cubicBezTo>
                  <a:cubicBezTo>
                    <a:pt x="21600" y="21600"/>
                    <a:pt x="21600" y="21600"/>
                    <a:pt x="21600" y="21600"/>
                  </a:cubicBezTo>
                  <a:cubicBezTo>
                    <a:pt x="21600" y="0"/>
                    <a:pt x="21600" y="0"/>
                    <a:pt x="21600" y="0"/>
                  </a:cubicBezTo>
                  <a:cubicBezTo>
                    <a:pt x="12505" y="0"/>
                    <a:pt x="9095" y="0"/>
                    <a:pt x="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19" name="Shape 319"/>
            <p:cNvSpPr/>
            <p:nvPr/>
          </p:nvSpPr>
          <p:spPr>
            <a:xfrm>
              <a:off x="3225725" y="3897142"/>
              <a:ext cx="4632" cy="771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0800"/>
                    <a:pt x="21600" y="10800"/>
                    <a:pt x="0" y="21600"/>
                  </a:cubicBezTo>
                  <a:cubicBezTo>
                    <a:pt x="21600" y="10800"/>
                    <a:pt x="21600" y="10800"/>
                    <a:pt x="2160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0" name="Shape 320"/>
            <p:cNvSpPr/>
            <p:nvPr/>
          </p:nvSpPr>
          <p:spPr>
            <a:xfrm>
              <a:off x="3915630" y="2927873"/>
              <a:ext cx="46303" cy="40130"/>
            </a:xfrm>
            <a:custGeom>
              <a:avLst/>
              <a:gdLst/>
              <a:ahLst/>
              <a:cxnLst>
                <a:cxn ang="0">
                  <a:pos x="wd2" y="hd2"/>
                </a:cxn>
                <a:cxn ang="5400000">
                  <a:pos x="wd2" y="hd2"/>
                </a:cxn>
                <a:cxn ang="10800000">
                  <a:pos x="wd2" y="hd2"/>
                </a:cxn>
                <a:cxn ang="16200000">
                  <a:pos x="wd2" y="hd2"/>
                </a:cxn>
              </a:cxnLst>
              <a:rect l="0" t="0" r="r" b="b"/>
              <a:pathLst>
                <a:path w="21600" h="21600" extrusionOk="0">
                  <a:moveTo>
                    <a:pt x="14954" y="19636"/>
                  </a:moveTo>
                  <a:cubicBezTo>
                    <a:pt x="19938" y="13745"/>
                    <a:pt x="21600" y="7855"/>
                    <a:pt x="21600" y="0"/>
                  </a:cubicBezTo>
                  <a:cubicBezTo>
                    <a:pt x="21600" y="7855"/>
                    <a:pt x="19938" y="13745"/>
                    <a:pt x="14954" y="19636"/>
                  </a:cubicBezTo>
                  <a:cubicBezTo>
                    <a:pt x="9969" y="15709"/>
                    <a:pt x="6646" y="19636"/>
                    <a:pt x="0" y="17673"/>
                  </a:cubicBezTo>
                  <a:cubicBezTo>
                    <a:pt x="6646" y="19636"/>
                    <a:pt x="9969" y="17673"/>
                    <a:pt x="14954" y="21600"/>
                  </a:cubicBezTo>
                  <a:cubicBezTo>
                    <a:pt x="14954" y="19636"/>
                    <a:pt x="14954" y="19636"/>
                    <a:pt x="14954" y="19636"/>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1" name="Shape 321"/>
            <p:cNvSpPr/>
            <p:nvPr/>
          </p:nvSpPr>
          <p:spPr>
            <a:xfrm>
              <a:off x="1075755" y="186754"/>
              <a:ext cx="27783" cy="16051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lnTo>
                    <a:pt x="21600" y="0"/>
                  </a:ln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2" name="Shape 322"/>
            <p:cNvSpPr/>
            <p:nvPr/>
          </p:nvSpPr>
          <p:spPr>
            <a:xfrm>
              <a:off x="3437173" y="714604"/>
              <a:ext cx="211448" cy="7717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1667" y="9072"/>
                  </a:lnTo>
                  <a:lnTo>
                    <a:pt x="0" y="21600"/>
                  </a:lnTo>
                  <a:lnTo>
                    <a:pt x="11667" y="10368"/>
                  </a:lnTo>
                  <a:lnTo>
                    <a:pt x="21600" y="0"/>
                  </a:ln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3" name="Shape 323"/>
            <p:cNvSpPr/>
            <p:nvPr/>
          </p:nvSpPr>
          <p:spPr>
            <a:xfrm>
              <a:off x="3602317" y="2497257"/>
              <a:ext cx="16979" cy="694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8640" y="13642"/>
                    <a:pt x="21600" y="7958"/>
                    <a:pt x="21600" y="0"/>
                  </a:cubicBezTo>
                  <a:cubicBezTo>
                    <a:pt x="21600" y="7958"/>
                    <a:pt x="4320" y="13642"/>
                    <a:pt x="0" y="21600"/>
                  </a:cubicBezTo>
                  <a:cubicBezTo>
                    <a:pt x="0" y="21600"/>
                    <a:pt x="0" y="21600"/>
                    <a:pt x="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4" name="Shape 324"/>
            <p:cNvSpPr/>
            <p:nvPr/>
          </p:nvSpPr>
          <p:spPr>
            <a:xfrm>
              <a:off x="932219" y="2427804"/>
              <a:ext cx="40129" cy="95693"/>
            </a:xfrm>
            <a:custGeom>
              <a:avLst/>
              <a:gdLst/>
              <a:ahLst/>
              <a:cxnLst>
                <a:cxn ang="0">
                  <a:pos x="wd2" y="hd2"/>
                </a:cxn>
                <a:cxn ang="5400000">
                  <a:pos x="wd2" y="hd2"/>
                </a:cxn>
                <a:cxn ang="10800000">
                  <a:pos x="wd2" y="hd2"/>
                </a:cxn>
                <a:cxn ang="16200000">
                  <a:pos x="wd2" y="hd2"/>
                </a:cxn>
              </a:cxnLst>
              <a:rect l="0" t="0" r="r" b="b"/>
              <a:pathLst>
                <a:path w="21600" h="21600" extrusionOk="0">
                  <a:moveTo>
                    <a:pt x="0" y="12462"/>
                  </a:moveTo>
                  <a:cubicBezTo>
                    <a:pt x="0" y="12462"/>
                    <a:pt x="0" y="12462"/>
                    <a:pt x="0" y="12462"/>
                  </a:cubicBezTo>
                  <a:cubicBezTo>
                    <a:pt x="0" y="15785"/>
                    <a:pt x="1964" y="18277"/>
                    <a:pt x="1964" y="21600"/>
                  </a:cubicBezTo>
                  <a:cubicBezTo>
                    <a:pt x="1964" y="18277"/>
                    <a:pt x="1964" y="15785"/>
                    <a:pt x="1964" y="12462"/>
                  </a:cubicBezTo>
                  <a:cubicBezTo>
                    <a:pt x="7855" y="7477"/>
                    <a:pt x="21600" y="5815"/>
                    <a:pt x="21600" y="0"/>
                  </a:cubicBezTo>
                  <a:cubicBezTo>
                    <a:pt x="21600" y="5815"/>
                    <a:pt x="7855" y="7477"/>
                    <a:pt x="0" y="12462"/>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5" name="Shape 325"/>
            <p:cNvSpPr/>
            <p:nvPr/>
          </p:nvSpPr>
          <p:spPr>
            <a:xfrm>
              <a:off x="3313700" y="1819695"/>
              <a:ext cx="61737" cy="18522"/>
            </a:xfrm>
            <a:custGeom>
              <a:avLst/>
              <a:gdLst/>
              <a:ahLst/>
              <a:cxnLst>
                <a:cxn ang="0">
                  <a:pos x="wd2" y="hd2"/>
                </a:cxn>
                <a:cxn ang="5400000">
                  <a:pos x="wd2" y="hd2"/>
                </a:cxn>
                <a:cxn ang="10800000">
                  <a:pos x="wd2" y="hd2"/>
                </a:cxn>
                <a:cxn ang="16200000">
                  <a:pos x="wd2" y="hd2"/>
                </a:cxn>
              </a:cxnLst>
              <a:rect l="0" t="0" r="r" b="b"/>
              <a:pathLst>
                <a:path w="21600" h="21600" extrusionOk="0">
                  <a:moveTo>
                    <a:pt x="20329" y="4320"/>
                  </a:moveTo>
                  <a:cubicBezTo>
                    <a:pt x="20329" y="8640"/>
                    <a:pt x="20329" y="12960"/>
                    <a:pt x="20329" y="21600"/>
                  </a:cubicBezTo>
                  <a:cubicBezTo>
                    <a:pt x="20329" y="12960"/>
                    <a:pt x="20329" y="8640"/>
                    <a:pt x="21600" y="4320"/>
                  </a:cubicBezTo>
                  <a:cubicBezTo>
                    <a:pt x="20329" y="0"/>
                    <a:pt x="20329" y="0"/>
                    <a:pt x="20329" y="0"/>
                  </a:cubicBezTo>
                  <a:cubicBezTo>
                    <a:pt x="12706" y="4320"/>
                    <a:pt x="6353" y="8640"/>
                    <a:pt x="0" y="21600"/>
                  </a:cubicBezTo>
                  <a:cubicBezTo>
                    <a:pt x="6353" y="8640"/>
                    <a:pt x="11435" y="8640"/>
                    <a:pt x="20329" y="432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6" name="Shape 326"/>
            <p:cNvSpPr/>
            <p:nvPr/>
          </p:nvSpPr>
          <p:spPr>
            <a:xfrm>
              <a:off x="3305982" y="3857013"/>
              <a:ext cx="10806" cy="154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7200" y="5400"/>
                    <a:pt x="7200" y="16200"/>
                    <a:pt x="14400" y="21600"/>
                  </a:cubicBezTo>
                  <a:cubicBezTo>
                    <a:pt x="14400" y="21600"/>
                    <a:pt x="14400" y="21600"/>
                    <a:pt x="21600" y="16200"/>
                  </a:cubicBezTo>
                  <a:cubicBezTo>
                    <a:pt x="7200" y="10800"/>
                    <a:pt x="7200" y="5400"/>
                    <a:pt x="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7" name="Shape 327"/>
            <p:cNvSpPr/>
            <p:nvPr/>
          </p:nvSpPr>
          <p:spPr>
            <a:xfrm>
              <a:off x="3339937" y="3120800"/>
              <a:ext cx="21609" cy="447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12600"/>
                    <a:pt x="14400" y="9000"/>
                    <a:pt x="21600" y="0"/>
                  </a:cubicBezTo>
                  <a:cubicBezTo>
                    <a:pt x="14400" y="0"/>
                    <a:pt x="14400" y="0"/>
                    <a:pt x="14400" y="0"/>
                  </a:cubicBezTo>
                  <a:cubicBezTo>
                    <a:pt x="10800" y="9000"/>
                    <a:pt x="0" y="12600"/>
                    <a:pt x="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8" name="Shape 328"/>
            <p:cNvSpPr/>
            <p:nvPr/>
          </p:nvSpPr>
          <p:spPr>
            <a:xfrm>
              <a:off x="3696466" y="3026608"/>
              <a:ext cx="7718" cy="317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0800" y="0"/>
                    <a:pt x="10800" y="0"/>
                    <a:pt x="0" y="0"/>
                  </a:cubicBezTo>
                  <a:cubicBezTo>
                    <a:pt x="0" y="0"/>
                    <a:pt x="0" y="0"/>
                    <a:pt x="0" y="21600"/>
                  </a:cubicBezTo>
                  <a:cubicBezTo>
                    <a:pt x="10800" y="21600"/>
                    <a:pt x="10800" y="0"/>
                    <a:pt x="2160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29" name="Shape 329"/>
            <p:cNvSpPr/>
            <p:nvPr/>
          </p:nvSpPr>
          <p:spPr>
            <a:xfrm>
              <a:off x="2955629" y="0"/>
              <a:ext cx="1080388" cy="901359"/>
            </a:xfrm>
            <a:custGeom>
              <a:avLst/>
              <a:gdLst/>
              <a:ahLst/>
              <a:cxnLst>
                <a:cxn ang="0">
                  <a:pos x="wd2" y="hd2"/>
                </a:cxn>
                <a:cxn ang="5400000">
                  <a:pos x="wd2" y="hd2"/>
                </a:cxn>
                <a:cxn ang="10800000">
                  <a:pos x="wd2" y="hd2"/>
                </a:cxn>
                <a:cxn ang="16200000">
                  <a:pos x="wd2" y="hd2"/>
                </a:cxn>
              </a:cxnLst>
              <a:rect l="0" t="0" r="r" b="b"/>
              <a:pathLst>
                <a:path w="21600" h="21600" extrusionOk="0">
                  <a:moveTo>
                    <a:pt x="949" y="2361"/>
                  </a:moveTo>
                  <a:cubicBezTo>
                    <a:pt x="949" y="3148"/>
                    <a:pt x="1168" y="3585"/>
                    <a:pt x="1459" y="4198"/>
                  </a:cubicBezTo>
                  <a:cubicBezTo>
                    <a:pt x="1678" y="4635"/>
                    <a:pt x="1970" y="4810"/>
                    <a:pt x="1970" y="5247"/>
                  </a:cubicBezTo>
                  <a:cubicBezTo>
                    <a:pt x="1970" y="5684"/>
                    <a:pt x="1605" y="5684"/>
                    <a:pt x="1459" y="6034"/>
                  </a:cubicBezTo>
                  <a:cubicBezTo>
                    <a:pt x="1241" y="6559"/>
                    <a:pt x="1314" y="6996"/>
                    <a:pt x="1241" y="7521"/>
                  </a:cubicBezTo>
                  <a:cubicBezTo>
                    <a:pt x="1022" y="8483"/>
                    <a:pt x="657" y="9007"/>
                    <a:pt x="0" y="9619"/>
                  </a:cubicBezTo>
                  <a:cubicBezTo>
                    <a:pt x="365" y="10232"/>
                    <a:pt x="584" y="10669"/>
                    <a:pt x="1022" y="11194"/>
                  </a:cubicBezTo>
                  <a:cubicBezTo>
                    <a:pt x="1241" y="11368"/>
                    <a:pt x="1386" y="11543"/>
                    <a:pt x="1605" y="11806"/>
                  </a:cubicBezTo>
                  <a:cubicBezTo>
                    <a:pt x="1751" y="11981"/>
                    <a:pt x="1970" y="12068"/>
                    <a:pt x="1970" y="12418"/>
                  </a:cubicBezTo>
                  <a:cubicBezTo>
                    <a:pt x="1970" y="12768"/>
                    <a:pt x="1970" y="12943"/>
                    <a:pt x="1970" y="13292"/>
                  </a:cubicBezTo>
                  <a:cubicBezTo>
                    <a:pt x="1970" y="13642"/>
                    <a:pt x="2189" y="13730"/>
                    <a:pt x="2408" y="13904"/>
                  </a:cubicBezTo>
                  <a:cubicBezTo>
                    <a:pt x="2919" y="14429"/>
                    <a:pt x="3503" y="14167"/>
                    <a:pt x="4014" y="14691"/>
                  </a:cubicBezTo>
                  <a:cubicBezTo>
                    <a:pt x="4451" y="15041"/>
                    <a:pt x="4743" y="15391"/>
                    <a:pt x="5035" y="15916"/>
                  </a:cubicBezTo>
                  <a:cubicBezTo>
                    <a:pt x="5108" y="16178"/>
                    <a:pt x="5400" y="16266"/>
                    <a:pt x="5473" y="16528"/>
                  </a:cubicBezTo>
                  <a:cubicBezTo>
                    <a:pt x="5546" y="16790"/>
                    <a:pt x="5473" y="16878"/>
                    <a:pt x="5546" y="17140"/>
                  </a:cubicBezTo>
                  <a:cubicBezTo>
                    <a:pt x="6057" y="17228"/>
                    <a:pt x="6276" y="17577"/>
                    <a:pt x="6786" y="17840"/>
                  </a:cubicBezTo>
                  <a:cubicBezTo>
                    <a:pt x="7078" y="18015"/>
                    <a:pt x="7297" y="17927"/>
                    <a:pt x="7662" y="18015"/>
                  </a:cubicBezTo>
                  <a:cubicBezTo>
                    <a:pt x="8465" y="18102"/>
                    <a:pt x="9049" y="18277"/>
                    <a:pt x="9632" y="18977"/>
                  </a:cubicBezTo>
                  <a:cubicBezTo>
                    <a:pt x="11895" y="17927"/>
                    <a:pt x="11895" y="17927"/>
                    <a:pt x="11895" y="17927"/>
                  </a:cubicBezTo>
                  <a:cubicBezTo>
                    <a:pt x="13865" y="17140"/>
                    <a:pt x="13865" y="17140"/>
                    <a:pt x="13865" y="17140"/>
                  </a:cubicBezTo>
                  <a:cubicBezTo>
                    <a:pt x="21600" y="21600"/>
                    <a:pt x="21600" y="21600"/>
                    <a:pt x="21600" y="21600"/>
                  </a:cubicBezTo>
                  <a:cubicBezTo>
                    <a:pt x="21600" y="0"/>
                    <a:pt x="21600" y="0"/>
                    <a:pt x="21600" y="0"/>
                  </a:cubicBezTo>
                  <a:cubicBezTo>
                    <a:pt x="949" y="0"/>
                    <a:pt x="949" y="0"/>
                    <a:pt x="949" y="0"/>
                  </a:cubicBezTo>
                  <a:cubicBezTo>
                    <a:pt x="949" y="262"/>
                    <a:pt x="949" y="437"/>
                    <a:pt x="949" y="700"/>
                  </a:cubicBezTo>
                  <a:cubicBezTo>
                    <a:pt x="949" y="1312"/>
                    <a:pt x="949" y="1749"/>
                    <a:pt x="949" y="2361"/>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0" name="Shape 330"/>
            <p:cNvSpPr/>
            <p:nvPr/>
          </p:nvSpPr>
          <p:spPr>
            <a:xfrm>
              <a:off x="1103537" y="0"/>
              <a:ext cx="2129906" cy="1201487"/>
            </a:xfrm>
            <a:custGeom>
              <a:avLst/>
              <a:gdLst/>
              <a:ahLst/>
              <a:cxnLst>
                <a:cxn ang="0">
                  <a:pos x="wd2" y="hd2"/>
                </a:cxn>
                <a:cxn ang="5400000">
                  <a:pos x="wd2" y="hd2"/>
                </a:cxn>
                <a:cxn ang="10800000">
                  <a:pos x="wd2" y="hd2"/>
                </a:cxn>
                <a:cxn ang="16200000">
                  <a:pos x="wd2" y="hd2"/>
                </a:cxn>
              </a:cxnLst>
              <a:rect l="0" t="0" r="r" b="b"/>
              <a:pathLst>
                <a:path w="21600" h="21502" extrusionOk="0">
                  <a:moveTo>
                    <a:pt x="555" y="261"/>
                  </a:moveTo>
                  <a:cubicBezTo>
                    <a:pt x="444" y="392"/>
                    <a:pt x="407" y="522"/>
                    <a:pt x="296" y="653"/>
                  </a:cubicBezTo>
                  <a:cubicBezTo>
                    <a:pt x="259" y="718"/>
                    <a:pt x="185" y="783"/>
                    <a:pt x="185" y="848"/>
                  </a:cubicBezTo>
                  <a:cubicBezTo>
                    <a:pt x="185" y="979"/>
                    <a:pt x="185" y="1044"/>
                    <a:pt x="185" y="1109"/>
                  </a:cubicBezTo>
                  <a:cubicBezTo>
                    <a:pt x="0" y="3328"/>
                    <a:pt x="0" y="3328"/>
                    <a:pt x="0" y="3328"/>
                  </a:cubicBezTo>
                  <a:cubicBezTo>
                    <a:pt x="0" y="3328"/>
                    <a:pt x="0" y="3328"/>
                    <a:pt x="0" y="3328"/>
                  </a:cubicBezTo>
                  <a:cubicBezTo>
                    <a:pt x="0" y="3198"/>
                    <a:pt x="0" y="3198"/>
                    <a:pt x="0" y="3198"/>
                  </a:cubicBezTo>
                  <a:cubicBezTo>
                    <a:pt x="3699" y="8744"/>
                    <a:pt x="3699" y="8744"/>
                    <a:pt x="3699" y="8744"/>
                  </a:cubicBezTo>
                  <a:cubicBezTo>
                    <a:pt x="3736" y="8744"/>
                    <a:pt x="3736" y="8744"/>
                    <a:pt x="3736" y="8744"/>
                  </a:cubicBezTo>
                  <a:cubicBezTo>
                    <a:pt x="9579" y="16902"/>
                    <a:pt x="9579" y="16902"/>
                    <a:pt x="9579" y="16902"/>
                  </a:cubicBezTo>
                  <a:cubicBezTo>
                    <a:pt x="9912" y="17619"/>
                    <a:pt x="10023" y="18141"/>
                    <a:pt x="10430" y="18663"/>
                  </a:cubicBezTo>
                  <a:cubicBezTo>
                    <a:pt x="10541" y="18859"/>
                    <a:pt x="10689" y="18729"/>
                    <a:pt x="10837" y="18859"/>
                  </a:cubicBezTo>
                  <a:cubicBezTo>
                    <a:pt x="11022" y="18990"/>
                    <a:pt x="11096" y="19120"/>
                    <a:pt x="11207" y="19316"/>
                  </a:cubicBezTo>
                  <a:cubicBezTo>
                    <a:pt x="11466" y="19642"/>
                    <a:pt x="11688" y="19773"/>
                    <a:pt x="11762" y="20295"/>
                  </a:cubicBezTo>
                  <a:cubicBezTo>
                    <a:pt x="11799" y="20491"/>
                    <a:pt x="11836" y="20621"/>
                    <a:pt x="11836" y="20882"/>
                  </a:cubicBezTo>
                  <a:cubicBezTo>
                    <a:pt x="11873" y="21078"/>
                    <a:pt x="11873" y="21274"/>
                    <a:pt x="11947" y="21339"/>
                  </a:cubicBezTo>
                  <a:cubicBezTo>
                    <a:pt x="12095" y="21600"/>
                    <a:pt x="12279" y="21469"/>
                    <a:pt x="12464" y="21469"/>
                  </a:cubicBezTo>
                  <a:cubicBezTo>
                    <a:pt x="12686" y="21469"/>
                    <a:pt x="12797" y="21404"/>
                    <a:pt x="12982" y="21274"/>
                  </a:cubicBezTo>
                  <a:cubicBezTo>
                    <a:pt x="13463" y="21208"/>
                    <a:pt x="13685" y="20947"/>
                    <a:pt x="14166" y="20882"/>
                  </a:cubicBezTo>
                  <a:cubicBezTo>
                    <a:pt x="14351" y="20817"/>
                    <a:pt x="14462" y="20817"/>
                    <a:pt x="14647" y="20686"/>
                  </a:cubicBezTo>
                  <a:cubicBezTo>
                    <a:pt x="14905" y="20491"/>
                    <a:pt x="14942" y="19969"/>
                    <a:pt x="15238" y="19773"/>
                  </a:cubicBezTo>
                  <a:cubicBezTo>
                    <a:pt x="21600" y="12790"/>
                    <a:pt x="21600" y="12790"/>
                    <a:pt x="21600" y="12790"/>
                  </a:cubicBezTo>
                  <a:cubicBezTo>
                    <a:pt x="21600" y="12790"/>
                    <a:pt x="21600" y="12790"/>
                    <a:pt x="21600" y="12790"/>
                  </a:cubicBezTo>
                  <a:cubicBezTo>
                    <a:pt x="21563" y="12595"/>
                    <a:pt x="21600" y="12529"/>
                    <a:pt x="21563" y="12334"/>
                  </a:cubicBezTo>
                  <a:cubicBezTo>
                    <a:pt x="21526" y="12138"/>
                    <a:pt x="21378" y="12073"/>
                    <a:pt x="21341" y="11877"/>
                  </a:cubicBezTo>
                  <a:cubicBezTo>
                    <a:pt x="21193" y="11485"/>
                    <a:pt x="21045" y="11224"/>
                    <a:pt x="20823" y="10963"/>
                  </a:cubicBezTo>
                  <a:cubicBezTo>
                    <a:pt x="20564" y="10572"/>
                    <a:pt x="20268" y="10767"/>
                    <a:pt x="20010" y="10376"/>
                  </a:cubicBezTo>
                  <a:cubicBezTo>
                    <a:pt x="19899" y="10245"/>
                    <a:pt x="19788" y="10180"/>
                    <a:pt x="19788" y="9919"/>
                  </a:cubicBezTo>
                  <a:cubicBezTo>
                    <a:pt x="19788" y="9658"/>
                    <a:pt x="19788" y="9527"/>
                    <a:pt x="19788" y="9266"/>
                  </a:cubicBezTo>
                  <a:cubicBezTo>
                    <a:pt x="19788" y="9005"/>
                    <a:pt x="19677" y="8940"/>
                    <a:pt x="19603" y="8810"/>
                  </a:cubicBezTo>
                  <a:cubicBezTo>
                    <a:pt x="19492" y="8614"/>
                    <a:pt x="19418" y="8483"/>
                    <a:pt x="19307" y="8353"/>
                  </a:cubicBezTo>
                  <a:cubicBezTo>
                    <a:pt x="19085" y="7961"/>
                    <a:pt x="18974" y="7635"/>
                    <a:pt x="18789" y="7178"/>
                  </a:cubicBezTo>
                  <a:cubicBezTo>
                    <a:pt x="19122" y="6721"/>
                    <a:pt x="19307" y="6330"/>
                    <a:pt x="19418" y="5612"/>
                  </a:cubicBezTo>
                  <a:cubicBezTo>
                    <a:pt x="19455" y="5221"/>
                    <a:pt x="19418" y="4894"/>
                    <a:pt x="19529" y="4503"/>
                  </a:cubicBezTo>
                  <a:cubicBezTo>
                    <a:pt x="19603" y="4242"/>
                    <a:pt x="19788" y="4242"/>
                    <a:pt x="19788" y="3915"/>
                  </a:cubicBezTo>
                  <a:cubicBezTo>
                    <a:pt x="19788" y="3589"/>
                    <a:pt x="19640" y="3459"/>
                    <a:pt x="19529" y="3132"/>
                  </a:cubicBezTo>
                  <a:cubicBezTo>
                    <a:pt x="19381" y="2676"/>
                    <a:pt x="19270" y="2349"/>
                    <a:pt x="19270" y="1762"/>
                  </a:cubicBezTo>
                  <a:cubicBezTo>
                    <a:pt x="19270" y="1305"/>
                    <a:pt x="19270" y="979"/>
                    <a:pt x="19270" y="522"/>
                  </a:cubicBezTo>
                  <a:cubicBezTo>
                    <a:pt x="19270" y="326"/>
                    <a:pt x="19270" y="196"/>
                    <a:pt x="19270" y="0"/>
                  </a:cubicBezTo>
                  <a:cubicBezTo>
                    <a:pt x="703" y="0"/>
                    <a:pt x="703" y="0"/>
                    <a:pt x="703" y="0"/>
                  </a:cubicBezTo>
                  <a:cubicBezTo>
                    <a:pt x="666" y="131"/>
                    <a:pt x="629" y="196"/>
                    <a:pt x="555" y="261"/>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1" name="Shape 331"/>
            <p:cNvSpPr/>
            <p:nvPr/>
          </p:nvSpPr>
          <p:spPr>
            <a:xfrm>
              <a:off x="149710" y="0"/>
              <a:ext cx="1023282" cy="845796"/>
            </a:xfrm>
            <a:custGeom>
              <a:avLst/>
              <a:gdLst/>
              <a:ahLst/>
              <a:cxnLst>
                <a:cxn ang="0">
                  <a:pos x="wd2" y="hd2"/>
                </a:cxn>
                <a:cxn ang="5400000">
                  <a:pos x="wd2" y="hd2"/>
                </a:cxn>
                <a:cxn ang="10800000">
                  <a:pos x="wd2" y="hd2"/>
                </a:cxn>
                <a:cxn ang="16200000">
                  <a:pos x="wd2" y="hd2"/>
                </a:cxn>
              </a:cxnLst>
              <a:rect l="0" t="0" r="r" b="b"/>
              <a:pathLst>
                <a:path w="21600" h="21600" extrusionOk="0">
                  <a:moveTo>
                    <a:pt x="15374" y="0"/>
                  </a:moveTo>
                  <a:cubicBezTo>
                    <a:pt x="15220" y="0"/>
                    <a:pt x="15143" y="186"/>
                    <a:pt x="15066" y="279"/>
                  </a:cubicBezTo>
                  <a:cubicBezTo>
                    <a:pt x="14912" y="466"/>
                    <a:pt x="14759" y="466"/>
                    <a:pt x="14605" y="652"/>
                  </a:cubicBezTo>
                  <a:cubicBezTo>
                    <a:pt x="14374" y="838"/>
                    <a:pt x="14374" y="1210"/>
                    <a:pt x="14067" y="1397"/>
                  </a:cubicBezTo>
                  <a:cubicBezTo>
                    <a:pt x="13913" y="1490"/>
                    <a:pt x="13836" y="1583"/>
                    <a:pt x="13683" y="1676"/>
                  </a:cubicBezTo>
                  <a:cubicBezTo>
                    <a:pt x="13221" y="1862"/>
                    <a:pt x="12914" y="1769"/>
                    <a:pt x="12453" y="1862"/>
                  </a:cubicBezTo>
                  <a:cubicBezTo>
                    <a:pt x="12068" y="2048"/>
                    <a:pt x="11761" y="1955"/>
                    <a:pt x="11377" y="2141"/>
                  </a:cubicBezTo>
                  <a:cubicBezTo>
                    <a:pt x="10915" y="2328"/>
                    <a:pt x="10838" y="2793"/>
                    <a:pt x="10531" y="3166"/>
                  </a:cubicBezTo>
                  <a:cubicBezTo>
                    <a:pt x="10300" y="3445"/>
                    <a:pt x="10147" y="3631"/>
                    <a:pt x="9916" y="4003"/>
                  </a:cubicBezTo>
                  <a:cubicBezTo>
                    <a:pt x="9839" y="4190"/>
                    <a:pt x="9685" y="4190"/>
                    <a:pt x="9685" y="4376"/>
                  </a:cubicBezTo>
                  <a:cubicBezTo>
                    <a:pt x="9609" y="4562"/>
                    <a:pt x="9532" y="4748"/>
                    <a:pt x="9455" y="4934"/>
                  </a:cubicBezTo>
                  <a:cubicBezTo>
                    <a:pt x="9378" y="5214"/>
                    <a:pt x="9378" y="5493"/>
                    <a:pt x="9147" y="5679"/>
                  </a:cubicBezTo>
                  <a:cubicBezTo>
                    <a:pt x="8763" y="5959"/>
                    <a:pt x="8532" y="6052"/>
                    <a:pt x="8148" y="6331"/>
                  </a:cubicBezTo>
                  <a:cubicBezTo>
                    <a:pt x="7841" y="6517"/>
                    <a:pt x="7687" y="6703"/>
                    <a:pt x="7379" y="6890"/>
                  </a:cubicBezTo>
                  <a:cubicBezTo>
                    <a:pt x="7226" y="7076"/>
                    <a:pt x="7072" y="7169"/>
                    <a:pt x="6918" y="7355"/>
                  </a:cubicBezTo>
                  <a:cubicBezTo>
                    <a:pt x="6764" y="7541"/>
                    <a:pt x="6764" y="7634"/>
                    <a:pt x="6611" y="7914"/>
                  </a:cubicBezTo>
                  <a:cubicBezTo>
                    <a:pt x="6534" y="8193"/>
                    <a:pt x="6380" y="8379"/>
                    <a:pt x="6303" y="8659"/>
                  </a:cubicBezTo>
                  <a:cubicBezTo>
                    <a:pt x="6226" y="8938"/>
                    <a:pt x="6149" y="9124"/>
                    <a:pt x="5996" y="9403"/>
                  </a:cubicBezTo>
                  <a:cubicBezTo>
                    <a:pt x="5919" y="9590"/>
                    <a:pt x="5842" y="9776"/>
                    <a:pt x="5842" y="9962"/>
                  </a:cubicBezTo>
                  <a:cubicBezTo>
                    <a:pt x="5842" y="10055"/>
                    <a:pt x="5842" y="10148"/>
                    <a:pt x="5842" y="10241"/>
                  </a:cubicBezTo>
                  <a:cubicBezTo>
                    <a:pt x="5842" y="10614"/>
                    <a:pt x="5535" y="10800"/>
                    <a:pt x="5227" y="10986"/>
                  </a:cubicBezTo>
                  <a:cubicBezTo>
                    <a:pt x="4996" y="11079"/>
                    <a:pt x="4920" y="11266"/>
                    <a:pt x="4689" y="11452"/>
                  </a:cubicBezTo>
                  <a:cubicBezTo>
                    <a:pt x="4458" y="11731"/>
                    <a:pt x="4228" y="11824"/>
                    <a:pt x="4074" y="12197"/>
                  </a:cubicBezTo>
                  <a:cubicBezTo>
                    <a:pt x="3843" y="12755"/>
                    <a:pt x="3536" y="13128"/>
                    <a:pt x="3382" y="13779"/>
                  </a:cubicBezTo>
                  <a:cubicBezTo>
                    <a:pt x="3305" y="14152"/>
                    <a:pt x="3152" y="14245"/>
                    <a:pt x="2998" y="14524"/>
                  </a:cubicBezTo>
                  <a:cubicBezTo>
                    <a:pt x="2998" y="14803"/>
                    <a:pt x="2844" y="14897"/>
                    <a:pt x="2767" y="15083"/>
                  </a:cubicBezTo>
                  <a:cubicBezTo>
                    <a:pt x="2690" y="15548"/>
                    <a:pt x="2537" y="15734"/>
                    <a:pt x="2306" y="16107"/>
                  </a:cubicBezTo>
                  <a:cubicBezTo>
                    <a:pt x="2075" y="16479"/>
                    <a:pt x="1922" y="16666"/>
                    <a:pt x="1691" y="17038"/>
                  </a:cubicBezTo>
                  <a:cubicBezTo>
                    <a:pt x="1614" y="17224"/>
                    <a:pt x="1537" y="17410"/>
                    <a:pt x="1384" y="17597"/>
                  </a:cubicBezTo>
                  <a:cubicBezTo>
                    <a:pt x="1230" y="17876"/>
                    <a:pt x="999" y="17876"/>
                    <a:pt x="769" y="18062"/>
                  </a:cubicBezTo>
                  <a:cubicBezTo>
                    <a:pt x="615" y="18155"/>
                    <a:pt x="615" y="18248"/>
                    <a:pt x="461" y="18434"/>
                  </a:cubicBezTo>
                  <a:cubicBezTo>
                    <a:pt x="384" y="18528"/>
                    <a:pt x="307" y="18621"/>
                    <a:pt x="307" y="18807"/>
                  </a:cubicBezTo>
                  <a:cubicBezTo>
                    <a:pt x="154" y="19086"/>
                    <a:pt x="77" y="19272"/>
                    <a:pt x="77" y="19645"/>
                  </a:cubicBezTo>
                  <a:cubicBezTo>
                    <a:pt x="77" y="19924"/>
                    <a:pt x="0" y="20017"/>
                    <a:pt x="0" y="20203"/>
                  </a:cubicBezTo>
                  <a:cubicBezTo>
                    <a:pt x="0" y="20483"/>
                    <a:pt x="77" y="20669"/>
                    <a:pt x="77" y="20948"/>
                  </a:cubicBezTo>
                  <a:cubicBezTo>
                    <a:pt x="7841" y="21600"/>
                    <a:pt x="7841" y="21600"/>
                    <a:pt x="7841" y="21600"/>
                  </a:cubicBezTo>
                  <a:cubicBezTo>
                    <a:pt x="7764" y="20762"/>
                    <a:pt x="7610" y="20297"/>
                    <a:pt x="7610" y="19552"/>
                  </a:cubicBezTo>
                  <a:cubicBezTo>
                    <a:pt x="7610" y="18621"/>
                    <a:pt x="7687" y="17969"/>
                    <a:pt x="8148" y="17224"/>
                  </a:cubicBezTo>
                  <a:cubicBezTo>
                    <a:pt x="8225" y="17038"/>
                    <a:pt x="8148" y="16852"/>
                    <a:pt x="8225" y="16759"/>
                  </a:cubicBezTo>
                  <a:cubicBezTo>
                    <a:pt x="8686" y="16200"/>
                    <a:pt x="9070" y="16014"/>
                    <a:pt x="9685" y="15828"/>
                  </a:cubicBezTo>
                  <a:cubicBezTo>
                    <a:pt x="10377" y="15641"/>
                    <a:pt x="10762" y="15362"/>
                    <a:pt x="11530" y="15362"/>
                  </a:cubicBezTo>
                  <a:cubicBezTo>
                    <a:pt x="12299" y="8286"/>
                    <a:pt x="12299" y="8286"/>
                    <a:pt x="12299" y="8286"/>
                  </a:cubicBezTo>
                  <a:cubicBezTo>
                    <a:pt x="19525" y="8845"/>
                    <a:pt x="19525" y="8845"/>
                    <a:pt x="19525" y="8845"/>
                  </a:cubicBezTo>
                  <a:cubicBezTo>
                    <a:pt x="20140" y="4748"/>
                    <a:pt x="20140" y="4748"/>
                    <a:pt x="20140" y="4748"/>
                  </a:cubicBezTo>
                  <a:cubicBezTo>
                    <a:pt x="20524" y="1583"/>
                    <a:pt x="20524" y="1583"/>
                    <a:pt x="20524" y="1583"/>
                  </a:cubicBezTo>
                  <a:cubicBezTo>
                    <a:pt x="20524" y="1490"/>
                    <a:pt x="20524" y="1397"/>
                    <a:pt x="20524" y="1210"/>
                  </a:cubicBezTo>
                  <a:cubicBezTo>
                    <a:pt x="20524" y="1117"/>
                    <a:pt x="20678" y="1024"/>
                    <a:pt x="20754" y="931"/>
                  </a:cubicBezTo>
                  <a:cubicBezTo>
                    <a:pt x="20985" y="745"/>
                    <a:pt x="21062" y="559"/>
                    <a:pt x="21293" y="372"/>
                  </a:cubicBezTo>
                  <a:cubicBezTo>
                    <a:pt x="21446" y="279"/>
                    <a:pt x="21523" y="186"/>
                    <a:pt x="21600" y="0"/>
                  </a:cubicBezTo>
                  <a:cubicBezTo>
                    <a:pt x="15835" y="0"/>
                    <a:pt x="15835" y="0"/>
                    <a:pt x="15835" y="0"/>
                  </a:cubicBezTo>
                  <a:cubicBezTo>
                    <a:pt x="15835" y="0"/>
                    <a:pt x="15835" y="0"/>
                    <a:pt x="15835" y="0"/>
                  </a:cubicBezTo>
                  <a:cubicBezTo>
                    <a:pt x="15681" y="0"/>
                    <a:pt x="15527" y="0"/>
                    <a:pt x="15374"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2" name="Shape 332"/>
            <p:cNvSpPr/>
            <p:nvPr/>
          </p:nvSpPr>
          <p:spPr>
            <a:xfrm>
              <a:off x="115755" y="179036"/>
              <a:ext cx="1353571" cy="1453906"/>
            </a:xfrm>
            <a:custGeom>
              <a:avLst/>
              <a:gdLst/>
              <a:ahLst/>
              <a:cxnLst>
                <a:cxn ang="0">
                  <a:pos x="wd2" y="hd2"/>
                </a:cxn>
                <a:cxn ang="5400000">
                  <a:pos x="wd2" y="hd2"/>
                </a:cxn>
                <a:cxn ang="10800000">
                  <a:pos x="wd2" y="hd2"/>
                </a:cxn>
                <a:cxn ang="16200000">
                  <a:pos x="wd2" y="hd2"/>
                </a:cxn>
              </a:cxnLst>
              <a:rect l="0" t="0" r="r" b="b"/>
              <a:pathLst>
                <a:path w="21600" h="21600" extrusionOk="0">
                  <a:moveTo>
                    <a:pt x="466" y="18298"/>
                  </a:moveTo>
                  <a:cubicBezTo>
                    <a:pt x="640" y="18298"/>
                    <a:pt x="757" y="18298"/>
                    <a:pt x="990" y="18298"/>
                  </a:cubicBezTo>
                  <a:cubicBezTo>
                    <a:pt x="1281" y="18298"/>
                    <a:pt x="1456" y="18244"/>
                    <a:pt x="1747" y="18244"/>
                  </a:cubicBezTo>
                  <a:cubicBezTo>
                    <a:pt x="1921" y="18244"/>
                    <a:pt x="1980" y="18298"/>
                    <a:pt x="2154" y="18298"/>
                  </a:cubicBezTo>
                  <a:cubicBezTo>
                    <a:pt x="2329" y="18298"/>
                    <a:pt x="2387" y="18189"/>
                    <a:pt x="2562" y="18189"/>
                  </a:cubicBezTo>
                  <a:cubicBezTo>
                    <a:pt x="2795" y="18189"/>
                    <a:pt x="2911" y="18298"/>
                    <a:pt x="3144" y="18298"/>
                  </a:cubicBezTo>
                  <a:cubicBezTo>
                    <a:pt x="3319" y="18298"/>
                    <a:pt x="3377" y="18298"/>
                    <a:pt x="3551" y="18298"/>
                  </a:cubicBezTo>
                  <a:cubicBezTo>
                    <a:pt x="3784" y="18298"/>
                    <a:pt x="3843" y="18460"/>
                    <a:pt x="3959" y="18568"/>
                  </a:cubicBezTo>
                  <a:cubicBezTo>
                    <a:pt x="4075" y="18677"/>
                    <a:pt x="4250" y="18677"/>
                    <a:pt x="4367" y="18785"/>
                  </a:cubicBezTo>
                  <a:cubicBezTo>
                    <a:pt x="4599" y="19002"/>
                    <a:pt x="4832" y="19164"/>
                    <a:pt x="5123" y="19110"/>
                  </a:cubicBezTo>
                  <a:cubicBezTo>
                    <a:pt x="5182" y="19380"/>
                    <a:pt x="5356" y="19489"/>
                    <a:pt x="5473" y="19759"/>
                  </a:cubicBezTo>
                  <a:cubicBezTo>
                    <a:pt x="5531" y="19922"/>
                    <a:pt x="5473" y="20030"/>
                    <a:pt x="5531" y="20138"/>
                  </a:cubicBezTo>
                  <a:cubicBezTo>
                    <a:pt x="5647" y="20409"/>
                    <a:pt x="5822" y="20463"/>
                    <a:pt x="5997" y="20626"/>
                  </a:cubicBezTo>
                  <a:cubicBezTo>
                    <a:pt x="6463" y="21059"/>
                    <a:pt x="6754" y="21275"/>
                    <a:pt x="7278" y="21600"/>
                  </a:cubicBezTo>
                  <a:cubicBezTo>
                    <a:pt x="7627" y="21275"/>
                    <a:pt x="7569" y="20896"/>
                    <a:pt x="7860" y="20463"/>
                  </a:cubicBezTo>
                  <a:cubicBezTo>
                    <a:pt x="7976" y="20247"/>
                    <a:pt x="8209" y="20247"/>
                    <a:pt x="8500" y="20247"/>
                  </a:cubicBezTo>
                  <a:cubicBezTo>
                    <a:pt x="8966" y="20247"/>
                    <a:pt x="8966" y="20950"/>
                    <a:pt x="9432" y="20950"/>
                  </a:cubicBezTo>
                  <a:cubicBezTo>
                    <a:pt x="9781" y="20950"/>
                    <a:pt x="9781" y="20517"/>
                    <a:pt x="10130" y="20517"/>
                  </a:cubicBezTo>
                  <a:cubicBezTo>
                    <a:pt x="10654" y="20517"/>
                    <a:pt x="10946" y="20842"/>
                    <a:pt x="11470" y="20842"/>
                  </a:cubicBezTo>
                  <a:cubicBezTo>
                    <a:pt x="11586" y="20842"/>
                    <a:pt x="11702" y="20680"/>
                    <a:pt x="11761" y="20517"/>
                  </a:cubicBezTo>
                  <a:cubicBezTo>
                    <a:pt x="11761" y="20463"/>
                    <a:pt x="11761" y="20301"/>
                    <a:pt x="11877" y="20301"/>
                  </a:cubicBezTo>
                  <a:cubicBezTo>
                    <a:pt x="12226" y="20301"/>
                    <a:pt x="12401" y="20626"/>
                    <a:pt x="12750" y="20571"/>
                  </a:cubicBezTo>
                  <a:cubicBezTo>
                    <a:pt x="18805" y="20788"/>
                    <a:pt x="18805" y="20788"/>
                    <a:pt x="18805" y="20788"/>
                  </a:cubicBezTo>
                  <a:cubicBezTo>
                    <a:pt x="19912" y="19597"/>
                    <a:pt x="19912" y="19597"/>
                    <a:pt x="19912" y="19597"/>
                  </a:cubicBezTo>
                  <a:cubicBezTo>
                    <a:pt x="19213" y="19326"/>
                    <a:pt x="19213" y="19326"/>
                    <a:pt x="19213" y="19326"/>
                  </a:cubicBezTo>
                  <a:cubicBezTo>
                    <a:pt x="18514" y="4547"/>
                    <a:pt x="18514" y="4547"/>
                    <a:pt x="18514" y="4547"/>
                  </a:cubicBezTo>
                  <a:cubicBezTo>
                    <a:pt x="21600" y="4602"/>
                    <a:pt x="21600" y="4602"/>
                    <a:pt x="21600" y="4602"/>
                  </a:cubicBezTo>
                  <a:cubicBezTo>
                    <a:pt x="15778" y="0"/>
                    <a:pt x="15778" y="0"/>
                    <a:pt x="15778" y="0"/>
                  </a:cubicBezTo>
                  <a:cubicBezTo>
                    <a:pt x="15778" y="108"/>
                    <a:pt x="15778" y="108"/>
                    <a:pt x="15778" y="108"/>
                  </a:cubicBezTo>
                  <a:cubicBezTo>
                    <a:pt x="15312" y="2490"/>
                    <a:pt x="15312" y="2490"/>
                    <a:pt x="15312" y="2490"/>
                  </a:cubicBezTo>
                  <a:cubicBezTo>
                    <a:pt x="9839" y="2165"/>
                    <a:pt x="9839" y="2165"/>
                    <a:pt x="9839" y="2165"/>
                  </a:cubicBezTo>
                  <a:cubicBezTo>
                    <a:pt x="9257" y="6280"/>
                    <a:pt x="9257" y="6280"/>
                    <a:pt x="9257" y="6280"/>
                  </a:cubicBezTo>
                  <a:cubicBezTo>
                    <a:pt x="8675" y="6280"/>
                    <a:pt x="8384" y="6442"/>
                    <a:pt x="7860" y="6550"/>
                  </a:cubicBezTo>
                  <a:cubicBezTo>
                    <a:pt x="7394" y="6659"/>
                    <a:pt x="7103" y="6767"/>
                    <a:pt x="6754" y="7092"/>
                  </a:cubicBezTo>
                  <a:cubicBezTo>
                    <a:pt x="6695" y="7146"/>
                    <a:pt x="6754" y="7254"/>
                    <a:pt x="6695" y="7362"/>
                  </a:cubicBezTo>
                  <a:cubicBezTo>
                    <a:pt x="6346" y="7795"/>
                    <a:pt x="6288" y="8174"/>
                    <a:pt x="6288" y="8716"/>
                  </a:cubicBezTo>
                  <a:cubicBezTo>
                    <a:pt x="6288" y="9149"/>
                    <a:pt x="6404" y="9420"/>
                    <a:pt x="6463" y="9907"/>
                  </a:cubicBezTo>
                  <a:cubicBezTo>
                    <a:pt x="582" y="9528"/>
                    <a:pt x="582" y="9528"/>
                    <a:pt x="582" y="9528"/>
                  </a:cubicBezTo>
                  <a:cubicBezTo>
                    <a:pt x="582" y="9690"/>
                    <a:pt x="466" y="9744"/>
                    <a:pt x="408" y="9907"/>
                  </a:cubicBezTo>
                  <a:cubicBezTo>
                    <a:pt x="291" y="10123"/>
                    <a:pt x="175" y="10177"/>
                    <a:pt x="58" y="10394"/>
                  </a:cubicBezTo>
                  <a:cubicBezTo>
                    <a:pt x="58" y="10448"/>
                    <a:pt x="58" y="10448"/>
                    <a:pt x="58" y="10448"/>
                  </a:cubicBezTo>
                  <a:cubicBezTo>
                    <a:pt x="175" y="10448"/>
                    <a:pt x="175" y="10448"/>
                    <a:pt x="291" y="10448"/>
                  </a:cubicBezTo>
                  <a:cubicBezTo>
                    <a:pt x="291" y="10448"/>
                    <a:pt x="349" y="10448"/>
                    <a:pt x="408" y="10448"/>
                  </a:cubicBezTo>
                  <a:cubicBezTo>
                    <a:pt x="524" y="10448"/>
                    <a:pt x="524" y="10611"/>
                    <a:pt x="582" y="10719"/>
                  </a:cubicBezTo>
                  <a:cubicBezTo>
                    <a:pt x="582" y="10827"/>
                    <a:pt x="699" y="10881"/>
                    <a:pt x="757" y="11044"/>
                  </a:cubicBezTo>
                  <a:cubicBezTo>
                    <a:pt x="815" y="11098"/>
                    <a:pt x="815" y="11152"/>
                    <a:pt x="873" y="11152"/>
                  </a:cubicBezTo>
                  <a:cubicBezTo>
                    <a:pt x="873" y="11152"/>
                    <a:pt x="932" y="11152"/>
                    <a:pt x="932" y="11152"/>
                  </a:cubicBezTo>
                  <a:cubicBezTo>
                    <a:pt x="1048" y="11152"/>
                    <a:pt x="1048" y="11260"/>
                    <a:pt x="1048" y="11314"/>
                  </a:cubicBezTo>
                  <a:cubicBezTo>
                    <a:pt x="1106" y="11423"/>
                    <a:pt x="1223" y="11477"/>
                    <a:pt x="1223" y="11585"/>
                  </a:cubicBezTo>
                  <a:cubicBezTo>
                    <a:pt x="1223" y="11639"/>
                    <a:pt x="1223" y="11693"/>
                    <a:pt x="1223" y="11747"/>
                  </a:cubicBezTo>
                  <a:cubicBezTo>
                    <a:pt x="1223" y="11856"/>
                    <a:pt x="1164" y="11964"/>
                    <a:pt x="1164" y="12072"/>
                  </a:cubicBezTo>
                  <a:cubicBezTo>
                    <a:pt x="1223" y="12126"/>
                    <a:pt x="1281" y="12180"/>
                    <a:pt x="1281" y="12289"/>
                  </a:cubicBezTo>
                  <a:cubicBezTo>
                    <a:pt x="1281" y="12451"/>
                    <a:pt x="1223" y="12614"/>
                    <a:pt x="1106" y="12722"/>
                  </a:cubicBezTo>
                  <a:cubicBezTo>
                    <a:pt x="1048" y="12830"/>
                    <a:pt x="932" y="12884"/>
                    <a:pt x="932" y="12992"/>
                  </a:cubicBezTo>
                  <a:cubicBezTo>
                    <a:pt x="932" y="13101"/>
                    <a:pt x="1048" y="13101"/>
                    <a:pt x="1048" y="13209"/>
                  </a:cubicBezTo>
                  <a:cubicBezTo>
                    <a:pt x="1048" y="13263"/>
                    <a:pt x="1048" y="13263"/>
                    <a:pt x="990" y="13263"/>
                  </a:cubicBezTo>
                  <a:cubicBezTo>
                    <a:pt x="873" y="13317"/>
                    <a:pt x="815" y="13426"/>
                    <a:pt x="815" y="13534"/>
                  </a:cubicBezTo>
                  <a:cubicBezTo>
                    <a:pt x="815" y="13696"/>
                    <a:pt x="990" y="13750"/>
                    <a:pt x="1048" y="13913"/>
                  </a:cubicBezTo>
                  <a:cubicBezTo>
                    <a:pt x="1164" y="14238"/>
                    <a:pt x="1223" y="14400"/>
                    <a:pt x="1223" y="14725"/>
                  </a:cubicBezTo>
                  <a:cubicBezTo>
                    <a:pt x="1223" y="15212"/>
                    <a:pt x="1223" y="15483"/>
                    <a:pt x="1106" y="15916"/>
                  </a:cubicBezTo>
                  <a:cubicBezTo>
                    <a:pt x="1048" y="16132"/>
                    <a:pt x="990" y="16241"/>
                    <a:pt x="932" y="16457"/>
                  </a:cubicBezTo>
                  <a:cubicBezTo>
                    <a:pt x="873" y="16674"/>
                    <a:pt x="815" y="16836"/>
                    <a:pt x="699" y="17053"/>
                  </a:cubicBezTo>
                  <a:cubicBezTo>
                    <a:pt x="640" y="17215"/>
                    <a:pt x="466" y="17269"/>
                    <a:pt x="349" y="17486"/>
                  </a:cubicBezTo>
                  <a:cubicBezTo>
                    <a:pt x="233" y="17702"/>
                    <a:pt x="233" y="17865"/>
                    <a:pt x="175" y="18081"/>
                  </a:cubicBezTo>
                  <a:cubicBezTo>
                    <a:pt x="175" y="18244"/>
                    <a:pt x="116" y="18352"/>
                    <a:pt x="58" y="18514"/>
                  </a:cubicBezTo>
                  <a:cubicBezTo>
                    <a:pt x="58" y="18623"/>
                    <a:pt x="58" y="18731"/>
                    <a:pt x="0" y="18839"/>
                  </a:cubicBezTo>
                  <a:cubicBezTo>
                    <a:pt x="291" y="18785"/>
                    <a:pt x="233" y="18514"/>
                    <a:pt x="466" y="18298"/>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3" name="Shape 333"/>
            <p:cNvSpPr/>
            <p:nvPr/>
          </p:nvSpPr>
          <p:spPr>
            <a:xfrm>
              <a:off x="564887" y="484634"/>
              <a:ext cx="1822768" cy="1699309"/>
            </a:xfrm>
            <a:custGeom>
              <a:avLst/>
              <a:gdLst/>
              <a:ahLst/>
              <a:cxnLst>
                <a:cxn ang="0">
                  <a:pos x="wd2" y="hd2"/>
                </a:cxn>
                <a:cxn ang="5400000">
                  <a:pos x="wd2" y="hd2"/>
                </a:cxn>
                <a:cxn ang="10800000">
                  <a:pos x="wd2" y="hd2"/>
                </a:cxn>
                <a:cxn ang="16200000">
                  <a:pos x="wd2" y="hd2"/>
                </a:cxn>
              </a:cxnLst>
              <a:rect l="0" t="0" r="r" b="b"/>
              <a:pathLst>
                <a:path w="21600" h="21600" extrusionOk="0">
                  <a:moveTo>
                    <a:pt x="8424" y="0"/>
                  </a:moveTo>
                  <a:cubicBezTo>
                    <a:pt x="8942" y="12654"/>
                    <a:pt x="8942" y="12654"/>
                    <a:pt x="8942" y="12654"/>
                  </a:cubicBezTo>
                  <a:cubicBezTo>
                    <a:pt x="9461" y="12886"/>
                    <a:pt x="9461" y="12886"/>
                    <a:pt x="9461" y="12886"/>
                  </a:cubicBezTo>
                  <a:cubicBezTo>
                    <a:pt x="8640" y="13906"/>
                    <a:pt x="8640" y="13906"/>
                    <a:pt x="8640" y="13906"/>
                  </a:cubicBezTo>
                  <a:cubicBezTo>
                    <a:pt x="4147" y="13720"/>
                    <a:pt x="4147" y="13720"/>
                    <a:pt x="4147" y="13720"/>
                  </a:cubicBezTo>
                  <a:cubicBezTo>
                    <a:pt x="3888" y="13767"/>
                    <a:pt x="3758" y="13488"/>
                    <a:pt x="3499" y="13488"/>
                  </a:cubicBezTo>
                  <a:cubicBezTo>
                    <a:pt x="3413" y="13488"/>
                    <a:pt x="3413" y="13627"/>
                    <a:pt x="3413" y="13674"/>
                  </a:cubicBezTo>
                  <a:cubicBezTo>
                    <a:pt x="3370" y="13813"/>
                    <a:pt x="3283" y="13952"/>
                    <a:pt x="3197" y="13952"/>
                  </a:cubicBezTo>
                  <a:cubicBezTo>
                    <a:pt x="2808" y="13952"/>
                    <a:pt x="2592" y="13674"/>
                    <a:pt x="2203" y="13674"/>
                  </a:cubicBezTo>
                  <a:cubicBezTo>
                    <a:pt x="1944" y="13674"/>
                    <a:pt x="1944" y="14045"/>
                    <a:pt x="1685" y="14045"/>
                  </a:cubicBezTo>
                  <a:cubicBezTo>
                    <a:pt x="1339" y="14045"/>
                    <a:pt x="1339" y="13442"/>
                    <a:pt x="994" y="13442"/>
                  </a:cubicBezTo>
                  <a:cubicBezTo>
                    <a:pt x="778" y="13442"/>
                    <a:pt x="605" y="13442"/>
                    <a:pt x="518" y="13627"/>
                  </a:cubicBezTo>
                  <a:cubicBezTo>
                    <a:pt x="302" y="13998"/>
                    <a:pt x="346" y="14323"/>
                    <a:pt x="86" y="14601"/>
                  </a:cubicBezTo>
                  <a:cubicBezTo>
                    <a:pt x="86" y="14786"/>
                    <a:pt x="0" y="14879"/>
                    <a:pt x="0" y="15018"/>
                  </a:cubicBezTo>
                  <a:cubicBezTo>
                    <a:pt x="0" y="15203"/>
                    <a:pt x="86" y="15250"/>
                    <a:pt x="86" y="15389"/>
                  </a:cubicBezTo>
                  <a:cubicBezTo>
                    <a:pt x="86" y="15574"/>
                    <a:pt x="43" y="15667"/>
                    <a:pt x="43" y="15806"/>
                  </a:cubicBezTo>
                  <a:cubicBezTo>
                    <a:pt x="43" y="16084"/>
                    <a:pt x="130" y="16270"/>
                    <a:pt x="259" y="16548"/>
                  </a:cubicBezTo>
                  <a:cubicBezTo>
                    <a:pt x="302" y="16640"/>
                    <a:pt x="475" y="16594"/>
                    <a:pt x="562" y="16640"/>
                  </a:cubicBezTo>
                  <a:cubicBezTo>
                    <a:pt x="821" y="16826"/>
                    <a:pt x="864" y="17104"/>
                    <a:pt x="864" y="17382"/>
                  </a:cubicBezTo>
                  <a:cubicBezTo>
                    <a:pt x="864" y="17475"/>
                    <a:pt x="821" y="17475"/>
                    <a:pt x="778" y="17521"/>
                  </a:cubicBezTo>
                  <a:cubicBezTo>
                    <a:pt x="691" y="17660"/>
                    <a:pt x="691" y="17753"/>
                    <a:pt x="648" y="17892"/>
                  </a:cubicBezTo>
                  <a:cubicBezTo>
                    <a:pt x="648" y="17985"/>
                    <a:pt x="605" y="18031"/>
                    <a:pt x="605" y="18124"/>
                  </a:cubicBezTo>
                  <a:cubicBezTo>
                    <a:pt x="605" y="18309"/>
                    <a:pt x="691" y="18402"/>
                    <a:pt x="691" y="18587"/>
                  </a:cubicBezTo>
                  <a:cubicBezTo>
                    <a:pt x="734" y="18587"/>
                    <a:pt x="778" y="18587"/>
                    <a:pt x="821" y="18587"/>
                  </a:cubicBezTo>
                  <a:cubicBezTo>
                    <a:pt x="950" y="18587"/>
                    <a:pt x="1037" y="18541"/>
                    <a:pt x="1123" y="18541"/>
                  </a:cubicBezTo>
                  <a:cubicBezTo>
                    <a:pt x="1382" y="18541"/>
                    <a:pt x="1382" y="18912"/>
                    <a:pt x="1598" y="18912"/>
                  </a:cubicBezTo>
                  <a:cubicBezTo>
                    <a:pt x="1642" y="18912"/>
                    <a:pt x="1642" y="18819"/>
                    <a:pt x="1685" y="18773"/>
                  </a:cubicBezTo>
                  <a:cubicBezTo>
                    <a:pt x="1814" y="18633"/>
                    <a:pt x="1901" y="18448"/>
                    <a:pt x="2074" y="18448"/>
                  </a:cubicBezTo>
                  <a:cubicBezTo>
                    <a:pt x="2290" y="18448"/>
                    <a:pt x="2333" y="18726"/>
                    <a:pt x="2549" y="18726"/>
                  </a:cubicBezTo>
                  <a:cubicBezTo>
                    <a:pt x="2981" y="18726"/>
                    <a:pt x="3154" y="18263"/>
                    <a:pt x="3586" y="18263"/>
                  </a:cubicBezTo>
                  <a:cubicBezTo>
                    <a:pt x="3802" y="18263"/>
                    <a:pt x="3802" y="18541"/>
                    <a:pt x="3931" y="18726"/>
                  </a:cubicBezTo>
                  <a:cubicBezTo>
                    <a:pt x="3974" y="18865"/>
                    <a:pt x="4061" y="18958"/>
                    <a:pt x="4061" y="19097"/>
                  </a:cubicBezTo>
                  <a:cubicBezTo>
                    <a:pt x="4061" y="19190"/>
                    <a:pt x="4061" y="19282"/>
                    <a:pt x="4061" y="19375"/>
                  </a:cubicBezTo>
                  <a:cubicBezTo>
                    <a:pt x="4061" y="19607"/>
                    <a:pt x="4363" y="19653"/>
                    <a:pt x="4363" y="19931"/>
                  </a:cubicBezTo>
                  <a:cubicBezTo>
                    <a:pt x="4363" y="19978"/>
                    <a:pt x="4320" y="19978"/>
                    <a:pt x="4277" y="20024"/>
                  </a:cubicBezTo>
                  <a:cubicBezTo>
                    <a:pt x="4234" y="20209"/>
                    <a:pt x="4234" y="20348"/>
                    <a:pt x="4234" y="20534"/>
                  </a:cubicBezTo>
                  <a:cubicBezTo>
                    <a:pt x="4234" y="20580"/>
                    <a:pt x="4277" y="20627"/>
                    <a:pt x="4363" y="20627"/>
                  </a:cubicBezTo>
                  <a:cubicBezTo>
                    <a:pt x="4493" y="20627"/>
                    <a:pt x="4536" y="20441"/>
                    <a:pt x="4666" y="20348"/>
                  </a:cubicBezTo>
                  <a:cubicBezTo>
                    <a:pt x="4709" y="20441"/>
                    <a:pt x="4666" y="20488"/>
                    <a:pt x="4666" y="20580"/>
                  </a:cubicBezTo>
                  <a:cubicBezTo>
                    <a:pt x="4666" y="20905"/>
                    <a:pt x="5011" y="20905"/>
                    <a:pt x="5184" y="21183"/>
                  </a:cubicBezTo>
                  <a:cubicBezTo>
                    <a:pt x="5184" y="21183"/>
                    <a:pt x="5184" y="21183"/>
                    <a:pt x="5184" y="21183"/>
                  </a:cubicBezTo>
                  <a:cubicBezTo>
                    <a:pt x="5184" y="21183"/>
                    <a:pt x="5184" y="21183"/>
                    <a:pt x="5184" y="21136"/>
                  </a:cubicBezTo>
                  <a:cubicBezTo>
                    <a:pt x="5314" y="21136"/>
                    <a:pt x="5357" y="21136"/>
                    <a:pt x="5486" y="21136"/>
                  </a:cubicBezTo>
                  <a:cubicBezTo>
                    <a:pt x="5702" y="21136"/>
                    <a:pt x="5789" y="21229"/>
                    <a:pt x="6005" y="21276"/>
                  </a:cubicBezTo>
                  <a:cubicBezTo>
                    <a:pt x="6091" y="21322"/>
                    <a:pt x="6091" y="21415"/>
                    <a:pt x="6178" y="21415"/>
                  </a:cubicBezTo>
                  <a:cubicBezTo>
                    <a:pt x="6394" y="21415"/>
                    <a:pt x="6437" y="21229"/>
                    <a:pt x="6566" y="21136"/>
                  </a:cubicBezTo>
                  <a:cubicBezTo>
                    <a:pt x="6782" y="20951"/>
                    <a:pt x="6955" y="20905"/>
                    <a:pt x="7258" y="20905"/>
                  </a:cubicBezTo>
                  <a:cubicBezTo>
                    <a:pt x="7387" y="20905"/>
                    <a:pt x="7430" y="21044"/>
                    <a:pt x="7474" y="21136"/>
                  </a:cubicBezTo>
                  <a:cubicBezTo>
                    <a:pt x="7517" y="21368"/>
                    <a:pt x="7603" y="21507"/>
                    <a:pt x="7776" y="21600"/>
                  </a:cubicBezTo>
                  <a:cubicBezTo>
                    <a:pt x="7862" y="21368"/>
                    <a:pt x="7906" y="21136"/>
                    <a:pt x="8122" y="21136"/>
                  </a:cubicBezTo>
                  <a:cubicBezTo>
                    <a:pt x="8294" y="21136"/>
                    <a:pt x="8381" y="21136"/>
                    <a:pt x="8554" y="21136"/>
                  </a:cubicBezTo>
                  <a:cubicBezTo>
                    <a:pt x="8554" y="21136"/>
                    <a:pt x="8554" y="21136"/>
                    <a:pt x="8554" y="21136"/>
                  </a:cubicBezTo>
                  <a:cubicBezTo>
                    <a:pt x="8510" y="20997"/>
                    <a:pt x="8424" y="20905"/>
                    <a:pt x="8424" y="20766"/>
                  </a:cubicBezTo>
                  <a:cubicBezTo>
                    <a:pt x="8424" y="20719"/>
                    <a:pt x="8424" y="20719"/>
                    <a:pt x="8424" y="20673"/>
                  </a:cubicBezTo>
                  <a:cubicBezTo>
                    <a:pt x="8424" y="20395"/>
                    <a:pt x="8726" y="20302"/>
                    <a:pt x="8726" y="19978"/>
                  </a:cubicBezTo>
                  <a:cubicBezTo>
                    <a:pt x="8726" y="19839"/>
                    <a:pt x="8726" y="19792"/>
                    <a:pt x="8726" y="19653"/>
                  </a:cubicBezTo>
                  <a:cubicBezTo>
                    <a:pt x="8726" y="19514"/>
                    <a:pt x="8683" y="19375"/>
                    <a:pt x="8726" y="19282"/>
                  </a:cubicBezTo>
                  <a:cubicBezTo>
                    <a:pt x="8813" y="19097"/>
                    <a:pt x="8986" y="19004"/>
                    <a:pt x="9158" y="18958"/>
                  </a:cubicBezTo>
                  <a:cubicBezTo>
                    <a:pt x="9374" y="18958"/>
                    <a:pt x="9547" y="18819"/>
                    <a:pt x="9590" y="18587"/>
                  </a:cubicBezTo>
                  <a:cubicBezTo>
                    <a:pt x="9590" y="18448"/>
                    <a:pt x="9547" y="18402"/>
                    <a:pt x="9634" y="18309"/>
                  </a:cubicBezTo>
                  <a:cubicBezTo>
                    <a:pt x="9720" y="18124"/>
                    <a:pt x="9850" y="18124"/>
                    <a:pt x="9936" y="17938"/>
                  </a:cubicBezTo>
                  <a:cubicBezTo>
                    <a:pt x="10109" y="17706"/>
                    <a:pt x="10066" y="17475"/>
                    <a:pt x="10238" y="17243"/>
                  </a:cubicBezTo>
                  <a:cubicBezTo>
                    <a:pt x="10368" y="17011"/>
                    <a:pt x="10584" y="17011"/>
                    <a:pt x="10843" y="17011"/>
                  </a:cubicBezTo>
                  <a:cubicBezTo>
                    <a:pt x="10973" y="17011"/>
                    <a:pt x="11059" y="17058"/>
                    <a:pt x="11189" y="17058"/>
                  </a:cubicBezTo>
                  <a:cubicBezTo>
                    <a:pt x="11318" y="17058"/>
                    <a:pt x="11362" y="16826"/>
                    <a:pt x="11362" y="16687"/>
                  </a:cubicBezTo>
                  <a:cubicBezTo>
                    <a:pt x="11534" y="16640"/>
                    <a:pt x="11621" y="16733"/>
                    <a:pt x="11750" y="16640"/>
                  </a:cubicBezTo>
                  <a:cubicBezTo>
                    <a:pt x="11880" y="16594"/>
                    <a:pt x="11923" y="16455"/>
                    <a:pt x="12053" y="16362"/>
                  </a:cubicBezTo>
                  <a:cubicBezTo>
                    <a:pt x="12398" y="16130"/>
                    <a:pt x="12658" y="16038"/>
                    <a:pt x="13003" y="15852"/>
                  </a:cubicBezTo>
                  <a:cubicBezTo>
                    <a:pt x="13392" y="15621"/>
                    <a:pt x="13608" y="15435"/>
                    <a:pt x="13997" y="15203"/>
                  </a:cubicBezTo>
                  <a:cubicBezTo>
                    <a:pt x="14256" y="15018"/>
                    <a:pt x="14386" y="14694"/>
                    <a:pt x="14688" y="14694"/>
                  </a:cubicBezTo>
                  <a:cubicBezTo>
                    <a:pt x="15293" y="14694"/>
                    <a:pt x="15638" y="14694"/>
                    <a:pt x="16200" y="14694"/>
                  </a:cubicBezTo>
                  <a:cubicBezTo>
                    <a:pt x="16286" y="14694"/>
                    <a:pt x="16330" y="14740"/>
                    <a:pt x="16373" y="14833"/>
                  </a:cubicBezTo>
                  <a:cubicBezTo>
                    <a:pt x="16416" y="14833"/>
                    <a:pt x="16416" y="14786"/>
                    <a:pt x="16459" y="14786"/>
                  </a:cubicBezTo>
                  <a:cubicBezTo>
                    <a:pt x="16589" y="14786"/>
                    <a:pt x="16675" y="14833"/>
                    <a:pt x="16805" y="14833"/>
                  </a:cubicBezTo>
                  <a:cubicBezTo>
                    <a:pt x="17237" y="14833"/>
                    <a:pt x="17496" y="14647"/>
                    <a:pt x="17928" y="14647"/>
                  </a:cubicBezTo>
                  <a:cubicBezTo>
                    <a:pt x="18101" y="14647"/>
                    <a:pt x="18187" y="14647"/>
                    <a:pt x="18360" y="14647"/>
                  </a:cubicBezTo>
                  <a:cubicBezTo>
                    <a:pt x="18878" y="14647"/>
                    <a:pt x="19138" y="14415"/>
                    <a:pt x="19656" y="14415"/>
                  </a:cubicBezTo>
                  <a:cubicBezTo>
                    <a:pt x="19786" y="14415"/>
                    <a:pt x="19829" y="14415"/>
                    <a:pt x="19958" y="14415"/>
                  </a:cubicBezTo>
                  <a:cubicBezTo>
                    <a:pt x="20131" y="14415"/>
                    <a:pt x="20174" y="14184"/>
                    <a:pt x="20174" y="13998"/>
                  </a:cubicBezTo>
                  <a:cubicBezTo>
                    <a:pt x="20304" y="13998"/>
                    <a:pt x="20390" y="13998"/>
                    <a:pt x="20520" y="13998"/>
                  </a:cubicBezTo>
                  <a:cubicBezTo>
                    <a:pt x="20693" y="13998"/>
                    <a:pt x="20822" y="13813"/>
                    <a:pt x="20909" y="13627"/>
                  </a:cubicBezTo>
                  <a:cubicBezTo>
                    <a:pt x="21082" y="13396"/>
                    <a:pt x="21125" y="13257"/>
                    <a:pt x="21168" y="12979"/>
                  </a:cubicBezTo>
                  <a:cubicBezTo>
                    <a:pt x="21211" y="12793"/>
                    <a:pt x="21211" y="12700"/>
                    <a:pt x="21254" y="12515"/>
                  </a:cubicBezTo>
                  <a:cubicBezTo>
                    <a:pt x="21384" y="12191"/>
                    <a:pt x="21557" y="12052"/>
                    <a:pt x="21557" y="11727"/>
                  </a:cubicBezTo>
                  <a:cubicBezTo>
                    <a:pt x="21557" y="10985"/>
                    <a:pt x="21557" y="10568"/>
                    <a:pt x="21557" y="9873"/>
                  </a:cubicBezTo>
                  <a:cubicBezTo>
                    <a:pt x="21557" y="9688"/>
                    <a:pt x="21600" y="9548"/>
                    <a:pt x="21600" y="9363"/>
                  </a:cubicBezTo>
                  <a:cubicBezTo>
                    <a:pt x="21600" y="9224"/>
                    <a:pt x="21557" y="9131"/>
                    <a:pt x="21557" y="8946"/>
                  </a:cubicBezTo>
                  <a:cubicBezTo>
                    <a:pt x="21341" y="9039"/>
                    <a:pt x="21211" y="9085"/>
                    <a:pt x="20952" y="9085"/>
                  </a:cubicBezTo>
                  <a:cubicBezTo>
                    <a:pt x="20736" y="9085"/>
                    <a:pt x="20520" y="9178"/>
                    <a:pt x="20347" y="8992"/>
                  </a:cubicBezTo>
                  <a:cubicBezTo>
                    <a:pt x="20261" y="8946"/>
                    <a:pt x="20261" y="8807"/>
                    <a:pt x="20218" y="8668"/>
                  </a:cubicBezTo>
                  <a:cubicBezTo>
                    <a:pt x="20218" y="8482"/>
                    <a:pt x="20174" y="8390"/>
                    <a:pt x="20131" y="8251"/>
                  </a:cubicBezTo>
                  <a:cubicBezTo>
                    <a:pt x="20045" y="7880"/>
                    <a:pt x="19786" y="7787"/>
                    <a:pt x="19483" y="7555"/>
                  </a:cubicBezTo>
                  <a:cubicBezTo>
                    <a:pt x="19354" y="7416"/>
                    <a:pt x="19267" y="7324"/>
                    <a:pt x="19051" y="7231"/>
                  </a:cubicBezTo>
                  <a:cubicBezTo>
                    <a:pt x="18878" y="7138"/>
                    <a:pt x="18706" y="7231"/>
                    <a:pt x="18576" y="7092"/>
                  </a:cubicBezTo>
                  <a:cubicBezTo>
                    <a:pt x="18101" y="6721"/>
                    <a:pt x="17971" y="6350"/>
                    <a:pt x="17582" y="5840"/>
                  </a:cubicBezTo>
                  <a:cubicBezTo>
                    <a:pt x="10757" y="46"/>
                    <a:pt x="10757" y="46"/>
                    <a:pt x="10757" y="46"/>
                  </a:cubicBezTo>
                  <a:cubicBezTo>
                    <a:pt x="10714" y="46"/>
                    <a:pt x="10714" y="46"/>
                    <a:pt x="10714" y="46"/>
                  </a:cubicBezTo>
                  <a:lnTo>
                    <a:pt x="8424" y="0"/>
                  </a:ln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4" name="Shape 334"/>
            <p:cNvSpPr/>
            <p:nvPr/>
          </p:nvSpPr>
          <p:spPr>
            <a:xfrm>
              <a:off x="1924631" y="714604"/>
              <a:ext cx="1734794" cy="1319628"/>
            </a:xfrm>
            <a:custGeom>
              <a:avLst/>
              <a:gdLst/>
              <a:ahLst/>
              <a:cxnLst>
                <a:cxn ang="0">
                  <a:pos x="wd2" y="hd2"/>
                </a:cxn>
                <a:cxn ang="5400000">
                  <a:pos x="wd2" y="hd2"/>
                </a:cxn>
                <a:cxn ang="10800000">
                  <a:pos x="wd2" y="hd2"/>
                </a:cxn>
                <a:cxn ang="16200000">
                  <a:pos x="wd2" y="hd2"/>
                </a:cxn>
              </a:cxnLst>
              <a:rect l="0" t="0" r="r" b="b"/>
              <a:pathLst>
                <a:path w="21600" h="21600" extrusionOk="0">
                  <a:moveTo>
                    <a:pt x="5763" y="8294"/>
                  </a:moveTo>
                  <a:cubicBezTo>
                    <a:pt x="5763" y="8533"/>
                    <a:pt x="5718" y="8712"/>
                    <a:pt x="5718" y="8950"/>
                  </a:cubicBezTo>
                  <a:cubicBezTo>
                    <a:pt x="5718" y="9845"/>
                    <a:pt x="5718" y="10382"/>
                    <a:pt x="5718" y="11337"/>
                  </a:cubicBezTo>
                  <a:cubicBezTo>
                    <a:pt x="5718" y="11755"/>
                    <a:pt x="5536" y="11934"/>
                    <a:pt x="5400" y="12351"/>
                  </a:cubicBezTo>
                  <a:cubicBezTo>
                    <a:pt x="5355" y="12590"/>
                    <a:pt x="5355" y="12709"/>
                    <a:pt x="5309" y="12948"/>
                  </a:cubicBezTo>
                  <a:cubicBezTo>
                    <a:pt x="5264" y="13306"/>
                    <a:pt x="5218" y="13485"/>
                    <a:pt x="5037" y="13783"/>
                  </a:cubicBezTo>
                  <a:cubicBezTo>
                    <a:pt x="4946" y="14022"/>
                    <a:pt x="4810" y="14261"/>
                    <a:pt x="4629" y="14261"/>
                  </a:cubicBezTo>
                  <a:cubicBezTo>
                    <a:pt x="4492" y="14261"/>
                    <a:pt x="4402" y="14261"/>
                    <a:pt x="4266" y="14261"/>
                  </a:cubicBezTo>
                  <a:cubicBezTo>
                    <a:pt x="4266" y="14499"/>
                    <a:pt x="4220" y="14798"/>
                    <a:pt x="4039" y="14798"/>
                  </a:cubicBezTo>
                  <a:cubicBezTo>
                    <a:pt x="3903" y="14798"/>
                    <a:pt x="3857" y="14798"/>
                    <a:pt x="3721" y="14798"/>
                  </a:cubicBezTo>
                  <a:cubicBezTo>
                    <a:pt x="3176" y="14798"/>
                    <a:pt x="2904" y="15096"/>
                    <a:pt x="2360" y="15096"/>
                  </a:cubicBezTo>
                  <a:cubicBezTo>
                    <a:pt x="2178" y="15096"/>
                    <a:pt x="2087" y="15096"/>
                    <a:pt x="1906" y="15096"/>
                  </a:cubicBezTo>
                  <a:cubicBezTo>
                    <a:pt x="1452" y="15096"/>
                    <a:pt x="1180" y="15335"/>
                    <a:pt x="726" y="15335"/>
                  </a:cubicBezTo>
                  <a:cubicBezTo>
                    <a:pt x="590" y="15335"/>
                    <a:pt x="499" y="15275"/>
                    <a:pt x="363" y="15275"/>
                  </a:cubicBezTo>
                  <a:cubicBezTo>
                    <a:pt x="318" y="15275"/>
                    <a:pt x="318" y="15335"/>
                    <a:pt x="272" y="15335"/>
                  </a:cubicBezTo>
                  <a:cubicBezTo>
                    <a:pt x="272" y="15454"/>
                    <a:pt x="182" y="15514"/>
                    <a:pt x="136" y="15693"/>
                  </a:cubicBezTo>
                  <a:cubicBezTo>
                    <a:pt x="45" y="15991"/>
                    <a:pt x="0" y="16170"/>
                    <a:pt x="0" y="16528"/>
                  </a:cubicBezTo>
                  <a:cubicBezTo>
                    <a:pt x="0" y="16827"/>
                    <a:pt x="91" y="16946"/>
                    <a:pt x="227" y="17125"/>
                  </a:cubicBezTo>
                  <a:cubicBezTo>
                    <a:pt x="363" y="17483"/>
                    <a:pt x="363" y="17781"/>
                    <a:pt x="590" y="18020"/>
                  </a:cubicBezTo>
                  <a:cubicBezTo>
                    <a:pt x="726" y="18139"/>
                    <a:pt x="817" y="18080"/>
                    <a:pt x="953" y="18199"/>
                  </a:cubicBezTo>
                  <a:cubicBezTo>
                    <a:pt x="1044" y="18318"/>
                    <a:pt x="1044" y="18438"/>
                    <a:pt x="1134" y="18617"/>
                  </a:cubicBezTo>
                  <a:cubicBezTo>
                    <a:pt x="1180" y="18736"/>
                    <a:pt x="1271" y="18796"/>
                    <a:pt x="1361" y="18915"/>
                  </a:cubicBezTo>
                  <a:cubicBezTo>
                    <a:pt x="1588" y="19154"/>
                    <a:pt x="1679" y="19333"/>
                    <a:pt x="1951" y="19452"/>
                  </a:cubicBezTo>
                  <a:cubicBezTo>
                    <a:pt x="2087" y="19512"/>
                    <a:pt x="2224" y="19452"/>
                    <a:pt x="2360" y="19512"/>
                  </a:cubicBezTo>
                  <a:cubicBezTo>
                    <a:pt x="2541" y="19571"/>
                    <a:pt x="2587" y="19870"/>
                    <a:pt x="2587" y="20108"/>
                  </a:cubicBezTo>
                  <a:cubicBezTo>
                    <a:pt x="2587" y="20228"/>
                    <a:pt x="2541" y="20287"/>
                    <a:pt x="2541" y="20407"/>
                  </a:cubicBezTo>
                  <a:cubicBezTo>
                    <a:pt x="2541" y="20407"/>
                    <a:pt x="2541" y="20466"/>
                    <a:pt x="2541" y="20526"/>
                  </a:cubicBezTo>
                  <a:cubicBezTo>
                    <a:pt x="2587" y="20705"/>
                    <a:pt x="2677" y="20705"/>
                    <a:pt x="2677" y="20884"/>
                  </a:cubicBezTo>
                  <a:cubicBezTo>
                    <a:pt x="2677" y="20944"/>
                    <a:pt x="2723" y="20944"/>
                    <a:pt x="2723" y="20944"/>
                  </a:cubicBezTo>
                  <a:cubicBezTo>
                    <a:pt x="2950" y="20884"/>
                    <a:pt x="3040" y="20466"/>
                    <a:pt x="3313" y="20466"/>
                  </a:cubicBezTo>
                  <a:cubicBezTo>
                    <a:pt x="3449" y="20466"/>
                    <a:pt x="3449" y="20765"/>
                    <a:pt x="3585" y="20824"/>
                  </a:cubicBezTo>
                  <a:cubicBezTo>
                    <a:pt x="3676" y="20884"/>
                    <a:pt x="3721" y="20824"/>
                    <a:pt x="3812" y="20884"/>
                  </a:cubicBezTo>
                  <a:cubicBezTo>
                    <a:pt x="3903" y="20944"/>
                    <a:pt x="3857" y="21123"/>
                    <a:pt x="3948" y="21242"/>
                  </a:cubicBezTo>
                  <a:cubicBezTo>
                    <a:pt x="4084" y="21481"/>
                    <a:pt x="4266" y="21540"/>
                    <a:pt x="4447" y="21600"/>
                  </a:cubicBezTo>
                  <a:cubicBezTo>
                    <a:pt x="4447" y="21540"/>
                    <a:pt x="4447" y="21421"/>
                    <a:pt x="4447" y="21361"/>
                  </a:cubicBezTo>
                  <a:cubicBezTo>
                    <a:pt x="4447" y="21003"/>
                    <a:pt x="4674" y="20824"/>
                    <a:pt x="4674" y="20407"/>
                  </a:cubicBezTo>
                  <a:cubicBezTo>
                    <a:pt x="4674" y="20287"/>
                    <a:pt x="4674" y="20228"/>
                    <a:pt x="4674" y="20049"/>
                  </a:cubicBezTo>
                  <a:cubicBezTo>
                    <a:pt x="4674" y="19870"/>
                    <a:pt x="4901" y="19870"/>
                    <a:pt x="4992" y="19691"/>
                  </a:cubicBezTo>
                  <a:cubicBezTo>
                    <a:pt x="5128" y="19392"/>
                    <a:pt x="5264" y="19213"/>
                    <a:pt x="5355" y="18915"/>
                  </a:cubicBezTo>
                  <a:cubicBezTo>
                    <a:pt x="5445" y="18557"/>
                    <a:pt x="5491" y="18378"/>
                    <a:pt x="5627" y="18139"/>
                  </a:cubicBezTo>
                  <a:cubicBezTo>
                    <a:pt x="5718" y="17960"/>
                    <a:pt x="5808" y="17841"/>
                    <a:pt x="5945" y="17841"/>
                  </a:cubicBezTo>
                  <a:cubicBezTo>
                    <a:pt x="6217" y="17841"/>
                    <a:pt x="6398" y="17841"/>
                    <a:pt x="6716" y="17841"/>
                  </a:cubicBezTo>
                  <a:cubicBezTo>
                    <a:pt x="7261" y="17662"/>
                    <a:pt x="7261" y="17662"/>
                    <a:pt x="7261" y="17662"/>
                  </a:cubicBezTo>
                  <a:cubicBezTo>
                    <a:pt x="7442" y="17901"/>
                    <a:pt x="7578" y="17960"/>
                    <a:pt x="7805" y="18020"/>
                  </a:cubicBezTo>
                  <a:cubicBezTo>
                    <a:pt x="7941" y="18080"/>
                    <a:pt x="7987" y="18199"/>
                    <a:pt x="8168" y="18199"/>
                  </a:cubicBezTo>
                  <a:cubicBezTo>
                    <a:pt x="8304" y="18199"/>
                    <a:pt x="8350" y="18199"/>
                    <a:pt x="8486" y="18199"/>
                  </a:cubicBezTo>
                  <a:cubicBezTo>
                    <a:pt x="8576" y="18199"/>
                    <a:pt x="8622" y="18318"/>
                    <a:pt x="8667" y="18378"/>
                  </a:cubicBezTo>
                  <a:cubicBezTo>
                    <a:pt x="8758" y="18617"/>
                    <a:pt x="8849" y="18736"/>
                    <a:pt x="8985" y="18855"/>
                  </a:cubicBezTo>
                  <a:cubicBezTo>
                    <a:pt x="9076" y="18975"/>
                    <a:pt x="9121" y="19094"/>
                    <a:pt x="9257" y="19094"/>
                  </a:cubicBezTo>
                  <a:cubicBezTo>
                    <a:pt x="9756" y="19094"/>
                    <a:pt x="10029" y="18736"/>
                    <a:pt x="10528" y="18736"/>
                  </a:cubicBezTo>
                  <a:cubicBezTo>
                    <a:pt x="10709" y="18736"/>
                    <a:pt x="10800" y="18915"/>
                    <a:pt x="10936" y="19034"/>
                  </a:cubicBezTo>
                  <a:cubicBezTo>
                    <a:pt x="11254" y="19333"/>
                    <a:pt x="11481" y="19512"/>
                    <a:pt x="11844" y="19512"/>
                  </a:cubicBezTo>
                  <a:cubicBezTo>
                    <a:pt x="12842" y="19512"/>
                    <a:pt x="13341" y="18736"/>
                    <a:pt x="14339" y="18736"/>
                  </a:cubicBezTo>
                  <a:cubicBezTo>
                    <a:pt x="14839" y="18736"/>
                    <a:pt x="15111" y="18796"/>
                    <a:pt x="15565" y="18855"/>
                  </a:cubicBezTo>
                  <a:cubicBezTo>
                    <a:pt x="15928" y="18915"/>
                    <a:pt x="16109" y="19154"/>
                    <a:pt x="16427" y="19154"/>
                  </a:cubicBezTo>
                  <a:cubicBezTo>
                    <a:pt x="16790" y="19154"/>
                    <a:pt x="16926" y="18796"/>
                    <a:pt x="17198" y="18497"/>
                  </a:cubicBezTo>
                  <a:cubicBezTo>
                    <a:pt x="17198" y="18438"/>
                    <a:pt x="17244" y="18438"/>
                    <a:pt x="17289" y="18378"/>
                  </a:cubicBezTo>
                  <a:cubicBezTo>
                    <a:pt x="17516" y="18199"/>
                    <a:pt x="17743" y="18139"/>
                    <a:pt x="18015" y="18080"/>
                  </a:cubicBezTo>
                  <a:cubicBezTo>
                    <a:pt x="17970" y="17722"/>
                    <a:pt x="17834" y="17483"/>
                    <a:pt x="17834" y="17065"/>
                  </a:cubicBezTo>
                  <a:cubicBezTo>
                    <a:pt x="17834" y="16648"/>
                    <a:pt x="18287" y="16588"/>
                    <a:pt x="18287" y="16170"/>
                  </a:cubicBezTo>
                  <a:cubicBezTo>
                    <a:pt x="18287" y="15991"/>
                    <a:pt x="18242" y="15931"/>
                    <a:pt x="18242" y="15752"/>
                  </a:cubicBezTo>
                  <a:cubicBezTo>
                    <a:pt x="18242" y="15633"/>
                    <a:pt x="18287" y="15573"/>
                    <a:pt x="18333" y="15514"/>
                  </a:cubicBezTo>
                  <a:cubicBezTo>
                    <a:pt x="20783" y="12709"/>
                    <a:pt x="20783" y="12709"/>
                    <a:pt x="20783" y="12709"/>
                  </a:cubicBezTo>
                  <a:cubicBezTo>
                    <a:pt x="21101" y="6922"/>
                    <a:pt x="21101" y="6922"/>
                    <a:pt x="21101" y="6922"/>
                  </a:cubicBezTo>
                  <a:cubicBezTo>
                    <a:pt x="21146" y="6802"/>
                    <a:pt x="21192" y="6802"/>
                    <a:pt x="21237" y="6743"/>
                  </a:cubicBezTo>
                  <a:cubicBezTo>
                    <a:pt x="21373" y="6444"/>
                    <a:pt x="21282" y="6206"/>
                    <a:pt x="21418" y="5967"/>
                  </a:cubicBezTo>
                  <a:cubicBezTo>
                    <a:pt x="21509" y="5907"/>
                    <a:pt x="21600" y="5848"/>
                    <a:pt x="21600" y="5728"/>
                  </a:cubicBezTo>
                  <a:cubicBezTo>
                    <a:pt x="21600" y="5609"/>
                    <a:pt x="21555" y="5549"/>
                    <a:pt x="21464" y="5490"/>
                  </a:cubicBezTo>
                  <a:cubicBezTo>
                    <a:pt x="21373" y="5310"/>
                    <a:pt x="21282" y="5191"/>
                    <a:pt x="21146" y="5012"/>
                  </a:cubicBezTo>
                  <a:cubicBezTo>
                    <a:pt x="20874" y="4594"/>
                    <a:pt x="20738" y="4296"/>
                    <a:pt x="20556" y="3759"/>
                  </a:cubicBezTo>
                  <a:cubicBezTo>
                    <a:pt x="20511" y="3580"/>
                    <a:pt x="20466" y="3461"/>
                    <a:pt x="20466" y="3282"/>
                  </a:cubicBezTo>
                  <a:cubicBezTo>
                    <a:pt x="20466" y="3162"/>
                    <a:pt x="20466" y="3103"/>
                    <a:pt x="20466" y="2983"/>
                  </a:cubicBezTo>
                  <a:cubicBezTo>
                    <a:pt x="20466" y="2685"/>
                    <a:pt x="20511" y="2506"/>
                    <a:pt x="20511" y="2208"/>
                  </a:cubicBezTo>
                  <a:cubicBezTo>
                    <a:pt x="20511" y="1551"/>
                    <a:pt x="20284" y="1193"/>
                    <a:pt x="20239" y="597"/>
                  </a:cubicBezTo>
                  <a:cubicBezTo>
                    <a:pt x="18832" y="1253"/>
                    <a:pt x="18832" y="1253"/>
                    <a:pt x="18832" y="1253"/>
                  </a:cubicBezTo>
                  <a:cubicBezTo>
                    <a:pt x="18469" y="776"/>
                    <a:pt x="18106" y="656"/>
                    <a:pt x="17607" y="597"/>
                  </a:cubicBezTo>
                  <a:cubicBezTo>
                    <a:pt x="17380" y="537"/>
                    <a:pt x="17244" y="597"/>
                    <a:pt x="17062" y="477"/>
                  </a:cubicBezTo>
                  <a:cubicBezTo>
                    <a:pt x="16745" y="298"/>
                    <a:pt x="16608" y="60"/>
                    <a:pt x="16291" y="0"/>
                  </a:cubicBezTo>
                  <a:cubicBezTo>
                    <a:pt x="16291" y="0"/>
                    <a:pt x="16291" y="0"/>
                    <a:pt x="16291" y="0"/>
                  </a:cubicBezTo>
                  <a:cubicBezTo>
                    <a:pt x="8486" y="6385"/>
                    <a:pt x="8486" y="6385"/>
                    <a:pt x="8486" y="6385"/>
                  </a:cubicBezTo>
                  <a:cubicBezTo>
                    <a:pt x="8123" y="6564"/>
                    <a:pt x="8077" y="7041"/>
                    <a:pt x="7760" y="7220"/>
                  </a:cubicBezTo>
                  <a:cubicBezTo>
                    <a:pt x="7533" y="7339"/>
                    <a:pt x="7397" y="7339"/>
                    <a:pt x="7170" y="7399"/>
                  </a:cubicBezTo>
                  <a:cubicBezTo>
                    <a:pt x="6580" y="7459"/>
                    <a:pt x="6353" y="7757"/>
                    <a:pt x="5763" y="7817"/>
                  </a:cubicBezTo>
                  <a:cubicBezTo>
                    <a:pt x="5763" y="7996"/>
                    <a:pt x="5763" y="8115"/>
                    <a:pt x="5763" y="8294"/>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5" name="Shape 335"/>
            <p:cNvSpPr/>
            <p:nvPr/>
          </p:nvSpPr>
          <p:spPr>
            <a:xfrm>
              <a:off x="1274856" y="1640658"/>
              <a:ext cx="868941" cy="615827"/>
            </a:xfrm>
            <a:custGeom>
              <a:avLst/>
              <a:gdLst/>
              <a:ahLst/>
              <a:cxnLst>
                <a:cxn ang="0">
                  <a:pos x="wd2" y="hd2"/>
                </a:cxn>
                <a:cxn ang="5400000">
                  <a:pos x="wd2" y="hd2"/>
                </a:cxn>
                <a:cxn ang="10800000">
                  <a:pos x="wd2" y="hd2"/>
                </a:cxn>
                <a:cxn ang="16200000">
                  <a:pos x="wd2" y="hd2"/>
                </a:cxn>
              </a:cxnLst>
              <a:rect l="0" t="0" r="r" b="b"/>
              <a:pathLst>
                <a:path w="21600" h="21600" extrusionOk="0">
                  <a:moveTo>
                    <a:pt x="21237" y="11503"/>
                  </a:moveTo>
                  <a:cubicBezTo>
                    <a:pt x="21237" y="11375"/>
                    <a:pt x="21237" y="11247"/>
                    <a:pt x="21237" y="11247"/>
                  </a:cubicBezTo>
                  <a:cubicBezTo>
                    <a:pt x="21237" y="10992"/>
                    <a:pt x="21328" y="10864"/>
                    <a:pt x="21328" y="10608"/>
                  </a:cubicBezTo>
                  <a:cubicBezTo>
                    <a:pt x="21328" y="10097"/>
                    <a:pt x="21237" y="9458"/>
                    <a:pt x="20874" y="9330"/>
                  </a:cubicBezTo>
                  <a:cubicBezTo>
                    <a:pt x="20602" y="9202"/>
                    <a:pt x="20329" y="9330"/>
                    <a:pt x="20057" y="9202"/>
                  </a:cubicBezTo>
                  <a:cubicBezTo>
                    <a:pt x="19513" y="8947"/>
                    <a:pt x="19331" y="8563"/>
                    <a:pt x="18877" y="8052"/>
                  </a:cubicBezTo>
                  <a:cubicBezTo>
                    <a:pt x="18696" y="7796"/>
                    <a:pt x="18514" y="7669"/>
                    <a:pt x="18424" y="7413"/>
                  </a:cubicBezTo>
                  <a:cubicBezTo>
                    <a:pt x="18242" y="7030"/>
                    <a:pt x="18242" y="6774"/>
                    <a:pt x="18061" y="6518"/>
                  </a:cubicBezTo>
                  <a:cubicBezTo>
                    <a:pt x="17788" y="6263"/>
                    <a:pt x="17607" y="6391"/>
                    <a:pt x="17334" y="6135"/>
                  </a:cubicBezTo>
                  <a:cubicBezTo>
                    <a:pt x="16881" y="5624"/>
                    <a:pt x="16881" y="4985"/>
                    <a:pt x="16608" y="4218"/>
                  </a:cubicBezTo>
                  <a:cubicBezTo>
                    <a:pt x="16336" y="3834"/>
                    <a:pt x="16155" y="3579"/>
                    <a:pt x="16155" y="2940"/>
                  </a:cubicBezTo>
                  <a:cubicBezTo>
                    <a:pt x="16155" y="2173"/>
                    <a:pt x="16245" y="1789"/>
                    <a:pt x="16427" y="1150"/>
                  </a:cubicBezTo>
                  <a:cubicBezTo>
                    <a:pt x="16518" y="767"/>
                    <a:pt x="16699" y="639"/>
                    <a:pt x="16699" y="383"/>
                  </a:cubicBezTo>
                  <a:cubicBezTo>
                    <a:pt x="16608" y="128"/>
                    <a:pt x="16518" y="0"/>
                    <a:pt x="16336" y="0"/>
                  </a:cubicBezTo>
                  <a:cubicBezTo>
                    <a:pt x="15156" y="0"/>
                    <a:pt x="14430" y="0"/>
                    <a:pt x="13160" y="0"/>
                  </a:cubicBezTo>
                  <a:cubicBezTo>
                    <a:pt x="12524" y="0"/>
                    <a:pt x="12252" y="895"/>
                    <a:pt x="11708" y="1406"/>
                  </a:cubicBezTo>
                  <a:cubicBezTo>
                    <a:pt x="10891" y="2045"/>
                    <a:pt x="10437" y="2556"/>
                    <a:pt x="9620" y="3195"/>
                  </a:cubicBezTo>
                  <a:cubicBezTo>
                    <a:pt x="8894" y="3707"/>
                    <a:pt x="8350" y="3962"/>
                    <a:pt x="7624" y="4601"/>
                  </a:cubicBezTo>
                  <a:cubicBezTo>
                    <a:pt x="7351" y="4857"/>
                    <a:pt x="7261" y="5240"/>
                    <a:pt x="6988" y="5368"/>
                  </a:cubicBezTo>
                  <a:cubicBezTo>
                    <a:pt x="6716" y="5624"/>
                    <a:pt x="6534" y="5368"/>
                    <a:pt x="6171" y="5496"/>
                  </a:cubicBezTo>
                  <a:cubicBezTo>
                    <a:pt x="6171" y="5879"/>
                    <a:pt x="6081" y="6518"/>
                    <a:pt x="5808" y="6518"/>
                  </a:cubicBezTo>
                  <a:cubicBezTo>
                    <a:pt x="5536" y="6518"/>
                    <a:pt x="5355" y="6391"/>
                    <a:pt x="5082" y="6391"/>
                  </a:cubicBezTo>
                  <a:cubicBezTo>
                    <a:pt x="4538" y="6391"/>
                    <a:pt x="4084" y="6391"/>
                    <a:pt x="3812" y="7030"/>
                  </a:cubicBezTo>
                  <a:cubicBezTo>
                    <a:pt x="3449" y="7669"/>
                    <a:pt x="3539" y="8308"/>
                    <a:pt x="3176" y="8947"/>
                  </a:cubicBezTo>
                  <a:cubicBezTo>
                    <a:pt x="2995" y="9458"/>
                    <a:pt x="2723" y="9458"/>
                    <a:pt x="2541" y="9969"/>
                  </a:cubicBezTo>
                  <a:cubicBezTo>
                    <a:pt x="2360" y="10225"/>
                    <a:pt x="2450" y="10353"/>
                    <a:pt x="2450" y="10736"/>
                  </a:cubicBezTo>
                  <a:cubicBezTo>
                    <a:pt x="2360" y="11375"/>
                    <a:pt x="1997" y="11759"/>
                    <a:pt x="1543" y="11759"/>
                  </a:cubicBezTo>
                  <a:cubicBezTo>
                    <a:pt x="1180" y="11886"/>
                    <a:pt x="817" y="12142"/>
                    <a:pt x="635" y="12653"/>
                  </a:cubicBezTo>
                  <a:cubicBezTo>
                    <a:pt x="545" y="12909"/>
                    <a:pt x="635" y="13292"/>
                    <a:pt x="635" y="13676"/>
                  </a:cubicBezTo>
                  <a:cubicBezTo>
                    <a:pt x="635" y="14059"/>
                    <a:pt x="635" y="14187"/>
                    <a:pt x="635" y="14570"/>
                  </a:cubicBezTo>
                  <a:cubicBezTo>
                    <a:pt x="635" y="15465"/>
                    <a:pt x="0" y="15721"/>
                    <a:pt x="0" y="16488"/>
                  </a:cubicBezTo>
                  <a:cubicBezTo>
                    <a:pt x="0" y="16615"/>
                    <a:pt x="0" y="16615"/>
                    <a:pt x="0" y="16743"/>
                  </a:cubicBezTo>
                  <a:cubicBezTo>
                    <a:pt x="0" y="17127"/>
                    <a:pt x="182" y="17382"/>
                    <a:pt x="272" y="17766"/>
                  </a:cubicBezTo>
                  <a:cubicBezTo>
                    <a:pt x="272" y="17766"/>
                    <a:pt x="272" y="17766"/>
                    <a:pt x="272" y="17766"/>
                  </a:cubicBezTo>
                  <a:cubicBezTo>
                    <a:pt x="272" y="18021"/>
                    <a:pt x="182" y="18405"/>
                    <a:pt x="363" y="18533"/>
                  </a:cubicBezTo>
                  <a:cubicBezTo>
                    <a:pt x="635" y="18788"/>
                    <a:pt x="908" y="18533"/>
                    <a:pt x="1180" y="18788"/>
                  </a:cubicBezTo>
                  <a:cubicBezTo>
                    <a:pt x="1271" y="19044"/>
                    <a:pt x="1361" y="19427"/>
                    <a:pt x="1452" y="19683"/>
                  </a:cubicBezTo>
                  <a:cubicBezTo>
                    <a:pt x="1543" y="20194"/>
                    <a:pt x="1906" y="20322"/>
                    <a:pt x="2087" y="20705"/>
                  </a:cubicBezTo>
                  <a:cubicBezTo>
                    <a:pt x="2360" y="21217"/>
                    <a:pt x="2632" y="21600"/>
                    <a:pt x="2995" y="21600"/>
                  </a:cubicBezTo>
                  <a:cubicBezTo>
                    <a:pt x="3358" y="21600"/>
                    <a:pt x="3449" y="21089"/>
                    <a:pt x="3812" y="20961"/>
                  </a:cubicBezTo>
                  <a:cubicBezTo>
                    <a:pt x="4084" y="20961"/>
                    <a:pt x="4266" y="21089"/>
                    <a:pt x="4538" y="20961"/>
                  </a:cubicBezTo>
                  <a:cubicBezTo>
                    <a:pt x="4810" y="20833"/>
                    <a:pt x="4901" y="20194"/>
                    <a:pt x="5264" y="20194"/>
                  </a:cubicBezTo>
                  <a:cubicBezTo>
                    <a:pt x="6081" y="20194"/>
                    <a:pt x="6444" y="21089"/>
                    <a:pt x="7261" y="21472"/>
                  </a:cubicBezTo>
                  <a:cubicBezTo>
                    <a:pt x="7442" y="20833"/>
                    <a:pt x="7624" y="20322"/>
                    <a:pt x="7624" y="19555"/>
                  </a:cubicBezTo>
                  <a:cubicBezTo>
                    <a:pt x="7624" y="18660"/>
                    <a:pt x="7261" y="18149"/>
                    <a:pt x="7261" y="17254"/>
                  </a:cubicBezTo>
                  <a:cubicBezTo>
                    <a:pt x="7261" y="16871"/>
                    <a:pt x="7533" y="16615"/>
                    <a:pt x="7533" y="16104"/>
                  </a:cubicBezTo>
                  <a:cubicBezTo>
                    <a:pt x="7896" y="16104"/>
                    <a:pt x="8077" y="16232"/>
                    <a:pt x="8440" y="16232"/>
                  </a:cubicBezTo>
                  <a:cubicBezTo>
                    <a:pt x="13341" y="16104"/>
                    <a:pt x="13341" y="16104"/>
                    <a:pt x="13341" y="16104"/>
                  </a:cubicBezTo>
                  <a:cubicBezTo>
                    <a:pt x="13976" y="15976"/>
                    <a:pt x="14249" y="15465"/>
                    <a:pt x="14884" y="15465"/>
                  </a:cubicBezTo>
                  <a:cubicBezTo>
                    <a:pt x="15156" y="15465"/>
                    <a:pt x="15338" y="15465"/>
                    <a:pt x="15610" y="15465"/>
                  </a:cubicBezTo>
                  <a:cubicBezTo>
                    <a:pt x="15792" y="15465"/>
                    <a:pt x="15973" y="15721"/>
                    <a:pt x="15973" y="15849"/>
                  </a:cubicBezTo>
                  <a:cubicBezTo>
                    <a:pt x="16245" y="15849"/>
                    <a:pt x="16336" y="15849"/>
                    <a:pt x="16518" y="15976"/>
                  </a:cubicBezTo>
                  <a:cubicBezTo>
                    <a:pt x="16790" y="16104"/>
                    <a:pt x="16790" y="16488"/>
                    <a:pt x="17062" y="16488"/>
                  </a:cubicBezTo>
                  <a:cubicBezTo>
                    <a:pt x="17425" y="16488"/>
                    <a:pt x="17697" y="16488"/>
                    <a:pt x="18061" y="16488"/>
                  </a:cubicBezTo>
                  <a:cubicBezTo>
                    <a:pt x="18151" y="16360"/>
                    <a:pt x="18333" y="16104"/>
                    <a:pt x="18424" y="15976"/>
                  </a:cubicBezTo>
                  <a:cubicBezTo>
                    <a:pt x="18424" y="15849"/>
                    <a:pt x="18424" y="15849"/>
                    <a:pt x="18514" y="15849"/>
                  </a:cubicBezTo>
                  <a:cubicBezTo>
                    <a:pt x="18514" y="15721"/>
                    <a:pt x="18514" y="15721"/>
                    <a:pt x="18514" y="15721"/>
                  </a:cubicBezTo>
                  <a:cubicBezTo>
                    <a:pt x="18696" y="15465"/>
                    <a:pt x="18877" y="15209"/>
                    <a:pt x="19059" y="15082"/>
                  </a:cubicBezTo>
                  <a:cubicBezTo>
                    <a:pt x="19240" y="14826"/>
                    <a:pt x="19240" y="14570"/>
                    <a:pt x="19422" y="14570"/>
                  </a:cubicBezTo>
                  <a:cubicBezTo>
                    <a:pt x="19694" y="14570"/>
                    <a:pt x="19785" y="14570"/>
                    <a:pt x="20057" y="14570"/>
                  </a:cubicBezTo>
                  <a:cubicBezTo>
                    <a:pt x="20329" y="14570"/>
                    <a:pt x="20329" y="14570"/>
                    <a:pt x="20329" y="14570"/>
                  </a:cubicBezTo>
                  <a:cubicBezTo>
                    <a:pt x="20602" y="14570"/>
                    <a:pt x="20783" y="14570"/>
                    <a:pt x="21055" y="14570"/>
                  </a:cubicBezTo>
                  <a:cubicBezTo>
                    <a:pt x="21328" y="14570"/>
                    <a:pt x="21328" y="14059"/>
                    <a:pt x="21418" y="13676"/>
                  </a:cubicBezTo>
                  <a:cubicBezTo>
                    <a:pt x="21509" y="13420"/>
                    <a:pt x="21600" y="13164"/>
                    <a:pt x="21600" y="12909"/>
                  </a:cubicBezTo>
                  <a:cubicBezTo>
                    <a:pt x="21509" y="12525"/>
                    <a:pt x="21509" y="12525"/>
                    <a:pt x="21509" y="12525"/>
                  </a:cubicBezTo>
                  <a:cubicBezTo>
                    <a:pt x="21509" y="12525"/>
                    <a:pt x="21600" y="12525"/>
                    <a:pt x="21600" y="12398"/>
                  </a:cubicBezTo>
                  <a:cubicBezTo>
                    <a:pt x="21600" y="12398"/>
                    <a:pt x="21509" y="12398"/>
                    <a:pt x="21509" y="12270"/>
                  </a:cubicBezTo>
                  <a:cubicBezTo>
                    <a:pt x="21418" y="12014"/>
                    <a:pt x="21328" y="11759"/>
                    <a:pt x="21237" y="11503"/>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6" name="Shape 336"/>
            <p:cNvSpPr/>
            <p:nvPr/>
          </p:nvSpPr>
          <p:spPr>
            <a:xfrm>
              <a:off x="-1" y="1404514"/>
              <a:ext cx="637430" cy="506244"/>
            </a:xfrm>
            <a:custGeom>
              <a:avLst/>
              <a:gdLst/>
              <a:ahLst/>
              <a:cxnLst>
                <a:cxn ang="0">
                  <a:pos x="wd2" y="hd2"/>
                </a:cxn>
                <a:cxn ang="5400000">
                  <a:pos x="wd2" y="hd2"/>
                </a:cxn>
                <a:cxn ang="10800000">
                  <a:pos x="wd2" y="hd2"/>
                </a:cxn>
                <a:cxn ang="16200000">
                  <a:pos x="wd2" y="hd2"/>
                </a:cxn>
              </a:cxnLst>
              <a:rect l="0" t="0" r="r" b="b"/>
              <a:pathLst>
                <a:path w="21600" h="21600" extrusionOk="0">
                  <a:moveTo>
                    <a:pt x="4937" y="20357"/>
                  </a:moveTo>
                  <a:cubicBezTo>
                    <a:pt x="5307" y="20357"/>
                    <a:pt x="5554" y="20357"/>
                    <a:pt x="5925" y="20357"/>
                  </a:cubicBezTo>
                  <a:cubicBezTo>
                    <a:pt x="6789" y="20357"/>
                    <a:pt x="7159" y="19580"/>
                    <a:pt x="8023" y="19580"/>
                  </a:cubicBezTo>
                  <a:cubicBezTo>
                    <a:pt x="8887" y="19580"/>
                    <a:pt x="9257" y="19735"/>
                    <a:pt x="10121" y="19735"/>
                  </a:cubicBezTo>
                  <a:cubicBezTo>
                    <a:pt x="10491" y="19735"/>
                    <a:pt x="10738" y="19735"/>
                    <a:pt x="11232" y="19735"/>
                  </a:cubicBezTo>
                  <a:cubicBezTo>
                    <a:pt x="11232" y="19735"/>
                    <a:pt x="11355" y="19735"/>
                    <a:pt x="11355" y="19735"/>
                  </a:cubicBezTo>
                  <a:cubicBezTo>
                    <a:pt x="11849" y="19891"/>
                    <a:pt x="12219" y="20046"/>
                    <a:pt x="12713" y="20046"/>
                  </a:cubicBezTo>
                  <a:cubicBezTo>
                    <a:pt x="14194" y="20046"/>
                    <a:pt x="14194" y="20046"/>
                    <a:pt x="14194" y="20046"/>
                  </a:cubicBezTo>
                  <a:cubicBezTo>
                    <a:pt x="14565" y="20978"/>
                    <a:pt x="15182" y="20978"/>
                    <a:pt x="16046" y="21134"/>
                  </a:cubicBezTo>
                  <a:cubicBezTo>
                    <a:pt x="16539" y="21289"/>
                    <a:pt x="16663" y="21600"/>
                    <a:pt x="17157" y="21600"/>
                  </a:cubicBezTo>
                  <a:cubicBezTo>
                    <a:pt x="17527" y="21600"/>
                    <a:pt x="17650" y="21445"/>
                    <a:pt x="17897" y="21289"/>
                  </a:cubicBezTo>
                  <a:cubicBezTo>
                    <a:pt x="18514" y="20978"/>
                    <a:pt x="19008" y="20823"/>
                    <a:pt x="19625" y="20823"/>
                  </a:cubicBezTo>
                  <a:cubicBezTo>
                    <a:pt x="19995" y="20823"/>
                    <a:pt x="20242" y="20823"/>
                    <a:pt x="20613" y="20823"/>
                  </a:cubicBezTo>
                  <a:cubicBezTo>
                    <a:pt x="20983" y="20668"/>
                    <a:pt x="20983" y="20668"/>
                    <a:pt x="20983" y="20668"/>
                  </a:cubicBezTo>
                  <a:cubicBezTo>
                    <a:pt x="20983" y="20201"/>
                    <a:pt x="21106" y="20046"/>
                    <a:pt x="21353" y="19580"/>
                  </a:cubicBezTo>
                  <a:cubicBezTo>
                    <a:pt x="21477" y="19424"/>
                    <a:pt x="21600" y="19424"/>
                    <a:pt x="21600" y="19114"/>
                  </a:cubicBezTo>
                  <a:cubicBezTo>
                    <a:pt x="21600" y="18181"/>
                    <a:pt x="21477" y="17249"/>
                    <a:pt x="20736" y="16627"/>
                  </a:cubicBezTo>
                  <a:cubicBezTo>
                    <a:pt x="20489" y="16472"/>
                    <a:pt x="19995" y="16627"/>
                    <a:pt x="19872" y="16317"/>
                  </a:cubicBezTo>
                  <a:cubicBezTo>
                    <a:pt x="19502" y="15384"/>
                    <a:pt x="19255" y="14763"/>
                    <a:pt x="19255" y="13830"/>
                  </a:cubicBezTo>
                  <a:cubicBezTo>
                    <a:pt x="19255" y="13364"/>
                    <a:pt x="19378" y="13053"/>
                    <a:pt x="19378" y="12432"/>
                  </a:cubicBezTo>
                  <a:cubicBezTo>
                    <a:pt x="19378" y="11965"/>
                    <a:pt x="19131" y="11810"/>
                    <a:pt x="19131" y="11188"/>
                  </a:cubicBezTo>
                  <a:cubicBezTo>
                    <a:pt x="19131" y="10722"/>
                    <a:pt x="19131" y="10412"/>
                    <a:pt x="19131" y="9790"/>
                  </a:cubicBezTo>
                  <a:cubicBezTo>
                    <a:pt x="18144" y="8858"/>
                    <a:pt x="17650" y="8236"/>
                    <a:pt x="16663" y="6993"/>
                  </a:cubicBezTo>
                  <a:cubicBezTo>
                    <a:pt x="16293" y="6527"/>
                    <a:pt x="15922" y="6371"/>
                    <a:pt x="15675" y="5594"/>
                  </a:cubicBezTo>
                  <a:cubicBezTo>
                    <a:pt x="15552" y="5283"/>
                    <a:pt x="15675" y="4973"/>
                    <a:pt x="15552" y="4506"/>
                  </a:cubicBezTo>
                  <a:cubicBezTo>
                    <a:pt x="15305" y="3729"/>
                    <a:pt x="14935" y="3419"/>
                    <a:pt x="14811" y="2642"/>
                  </a:cubicBezTo>
                  <a:cubicBezTo>
                    <a:pt x="14194" y="2797"/>
                    <a:pt x="13701" y="2331"/>
                    <a:pt x="13207" y="1709"/>
                  </a:cubicBezTo>
                  <a:cubicBezTo>
                    <a:pt x="12960" y="1399"/>
                    <a:pt x="12590" y="1399"/>
                    <a:pt x="12343" y="1088"/>
                  </a:cubicBezTo>
                  <a:cubicBezTo>
                    <a:pt x="12096" y="777"/>
                    <a:pt x="11973" y="311"/>
                    <a:pt x="11479" y="311"/>
                  </a:cubicBezTo>
                  <a:cubicBezTo>
                    <a:pt x="11109" y="311"/>
                    <a:pt x="10985" y="311"/>
                    <a:pt x="10615" y="311"/>
                  </a:cubicBezTo>
                  <a:cubicBezTo>
                    <a:pt x="10121" y="311"/>
                    <a:pt x="9874" y="0"/>
                    <a:pt x="9381" y="0"/>
                  </a:cubicBezTo>
                  <a:cubicBezTo>
                    <a:pt x="9010" y="0"/>
                    <a:pt x="8887" y="311"/>
                    <a:pt x="8517" y="311"/>
                  </a:cubicBezTo>
                  <a:cubicBezTo>
                    <a:pt x="8146" y="311"/>
                    <a:pt x="8023" y="155"/>
                    <a:pt x="7653" y="155"/>
                  </a:cubicBezTo>
                  <a:cubicBezTo>
                    <a:pt x="7035" y="155"/>
                    <a:pt x="6665" y="311"/>
                    <a:pt x="6048" y="311"/>
                  </a:cubicBezTo>
                  <a:cubicBezTo>
                    <a:pt x="5554" y="311"/>
                    <a:pt x="5307" y="311"/>
                    <a:pt x="4937" y="311"/>
                  </a:cubicBezTo>
                  <a:cubicBezTo>
                    <a:pt x="4443" y="932"/>
                    <a:pt x="4567" y="1709"/>
                    <a:pt x="3950" y="1865"/>
                  </a:cubicBezTo>
                  <a:cubicBezTo>
                    <a:pt x="3950" y="2176"/>
                    <a:pt x="3950" y="2486"/>
                    <a:pt x="3826" y="2953"/>
                  </a:cubicBezTo>
                  <a:cubicBezTo>
                    <a:pt x="3579" y="3419"/>
                    <a:pt x="3456" y="3574"/>
                    <a:pt x="3209" y="4040"/>
                  </a:cubicBezTo>
                  <a:cubicBezTo>
                    <a:pt x="2839" y="4973"/>
                    <a:pt x="2715" y="5439"/>
                    <a:pt x="2222" y="6216"/>
                  </a:cubicBezTo>
                  <a:cubicBezTo>
                    <a:pt x="1975" y="6527"/>
                    <a:pt x="1851" y="6837"/>
                    <a:pt x="1605" y="7304"/>
                  </a:cubicBezTo>
                  <a:cubicBezTo>
                    <a:pt x="987" y="8081"/>
                    <a:pt x="494" y="8236"/>
                    <a:pt x="0" y="9013"/>
                  </a:cubicBezTo>
                  <a:cubicBezTo>
                    <a:pt x="123" y="9168"/>
                    <a:pt x="370" y="9168"/>
                    <a:pt x="494" y="9324"/>
                  </a:cubicBezTo>
                  <a:cubicBezTo>
                    <a:pt x="864" y="9945"/>
                    <a:pt x="864" y="10412"/>
                    <a:pt x="1234" y="11033"/>
                  </a:cubicBezTo>
                  <a:cubicBezTo>
                    <a:pt x="1358" y="11344"/>
                    <a:pt x="1605" y="11499"/>
                    <a:pt x="1728" y="11810"/>
                  </a:cubicBezTo>
                  <a:cubicBezTo>
                    <a:pt x="1851" y="12121"/>
                    <a:pt x="1851" y="12432"/>
                    <a:pt x="1975" y="12898"/>
                  </a:cubicBezTo>
                  <a:cubicBezTo>
                    <a:pt x="1975" y="13209"/>
                    <a:pt x="2098" y="13209"/>
                    <a:pt x="2222" y="13364"/>
                  </a:cubicBezTo>
                  <a:cubicBezTo>
                    <a:pt x="2592" y="13830"/>
                    <a:pt x="2962" y="14141"/>
                    <a:pt x="2962" y="14763"/>
                  </a:cubicBezTo>
                  <a:cubicBezTo>
                    <a:pt x="2962" y="14763"/>
                    <a:pt x="2962" y="14763"/>
                    <a:pt x="2962" y="14918"/>
                  </a:cubicBezTo>
                  <a:cubicBezTo>
                    <a:pt x="3333" y="14918"/>
                    <a:pt x="3703" y="14918"/>
                    <a:pt x="4073" y="14918"/>
                  </a:cubicBezTo>
                  <a:cubicBezTo>
                    <a:pt x="4690" y="14918"/>
                    <a:pt x="4937" y="15073"/>
                    <a:pt x="5554" y="15073"/>
                  </a:cubicBezTo>
                  <a:cubicBezTo>
                    <a:pt x="6665" y="15073"/>
                    <a:pt x="7159" y="13675"/>
                    <a:pt x="8270" y="13675"/>
                  </a:cubicBezTo>
                  <a:cubicBezTo>
                    <a:pt x="9257" y="13675"/>
                    <a:pt x="9504" y="15073"/>
                    <a:pt x="10491" y="15229"/>
                  </a:cubicBezTo>
                  <a:cubicBezTo>
                    <a:pt x="10985" y="15384"/>
                    <a:pt x="11232" y="15229"/>
                    <a:pt x="11726" y="15384"/>
                  </a:cubicBezTo>
                  <a:cubicBezTo>
                    <a:pt x="12219" y="15695"/>
                    <a:pt x="12219" y="16317"/>
                    <a:pt x="12219" y="17094"/>
                  </a:cubicBezTo>
                  <a:cubicBezTo>
                    <a:pt x="12219" y="17404"/>
                    <a:pt x="11726" y="17404"/>
                    <a:pt x="11355" y="17404"/>
                  </a:cubicBezTo>
                  <a:cubicBezTo>
                    <a:pt x="9998" y="17404"/>
                    <a:pt x="9381" y="16472"/>
                    <a:pt x="8023" y="16006"/>
                  </a:cubicBezTo>
                  <a:cubicBezTo>
                    <a:pt x="7899" y="16783"/>
                    <a:pt x="7282" y="16938"/>
                    <a:pt x="6789" y="16938"/>
                  </a:cubicBezTo>
                  <a:cubicBezTo>
                    <a:pt x="6542" y="16938"/>
                    <a:pt x="6295" y="16783"/>
                    <a:pt x="6048" y="16783"/>
                  </a:cubicBezTo>
                  <a:cubicBezTo>
                    <a:pt x="5801" y="16783"/>
                    <a:pt x="5678" y="17094"/>
                    <a:pt x="5307" y="17249"/>
                  </a:cubicBezTo>
                  <a:cubicBezTo>
                    <a:pt x="4814" y="17560"/>
                    <a:pt x="4567" y="17560"/>
                    <a:pt x="3950" y="17560"/>
                  </a:cubicBezTo>
                  <a:cubicBezTo>
                    <a:pt x="3209" y="17560"/>
                    <a:pt x="2715" y="17560"/>
                    <a:pt x="1975" y="17404"/>
                  </a:cubicBezTo>
                  <a:cubicBezTo>
                    <a:pt x="1851" y="18026"/>
                    <a:pt x="1851" y="18492"/>
                    <a:pt x="1851" y="19269"/>
                  </a:cubicBezTo>
                  <a:cubicBezTo>
                    <a:pt x="1851" y="19269"/>
                    <a:pt x="1851" y="19269"/>
                    <a:pt x="1851" y="19424"/>
                  </a:cubicBezTo>
                  <a:cubicBezTo>
                    <a:pt x="1975" y="19424"/>
                    <a:pt x="1975" y="19424"/>
                    <a:pt x="2098" y="19424"/>
                  </a:cubicBezTo>
                  <a:cubicBezTo>
                    <a:pt x="2469" y="19424"/>
                    <a:pt x="2715" y="19735"/>
                    <a:pt x="3086" y="19735"/>
                  </a:cubicBezTo>
                  <a:cubicBezTo>
                    <a:pt x="3333" y="19735"/>
                    <a:pt x="3456" y="19735"/>
                    <a:pt x="3703" y="19735"/>
                  </a:cubicBezTo>
                  <a:cubicBezTo>
                    <a:pt x="3703" y="19735"/>
                    <a:pt x="3579" y="19891"/>
                    <a:pt x="3579" y="19891"/>
                  </a:cubicBezTo>
                  <a:cubicBezTo>
                    <a:pt x="2962" y="19891"/>
                    <a:pt x="2962" y="19891"/>
                    <a:pt x="2962" y="19891"/>
                  </a:cubicBezTo>
                  <a:cubicBezTo>
                    <a:pt x="1481" y="20201"/>
                    <a:pt x="1481" y="20201"/>
                    <a:pt x="1481" y="20201"/>
                  </a:cubicBezTo>
                  <a:cubicBezTo>
                    <a:pt x="2098" y="20357"/>
                    <a:pt x="2592" y="20512"/>
                    <a:pt x="3086" y="20668"/>
                  </a:cubicBezTo>
                  <a:cubicBezTo>
                    <a:pt x="3333" y="20668"/>
                    <a:pt x="3703" y="20668"/>
                    <a:pt x="4073" y="20668"/>
                  </a:cubicBezTo>
                  <a:cubicBezTo>
                    <a:pt x="4443" y="20668"/>
                    <a:pt x="4567" y="20357"/>
                    <a:pt x="4937" y="20357"/>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7" name="Shape 337"/>
            <p:cNvSpPr/>
            <p:nvPr/>
          </p:nvSpPr>
          <p:spPr>
            <a:xfrm>
              <a:off x="40128" y="1862911"/>
              <a:ext cx="327204" cy="219167"/>
            </a:xfrm>
            <a:custGeom>
              <a:avLst/>
              <a:gdLst/>
              <a:ahLst/>
              <a:cxnLst>
                <a:cxn ang="0">
                  <a:pos x="wd2" y="hd2"/>
                </a:cxn>
                <a:cxn ang="5400000">
                  <a:pos x="wd2" y="hd2"/>
                </a:cxn>
                <a:cxn ang="10800000">
                  <a:pos x="wd2" y="hd2"/>
                </a:cxn>
                <a:cxn ang="16200000">
                  <a:pos x="wd2" y="hd2"/>
                </a:cxn>
              </a:cxnLst>
              <a:rect l="0" t="0" r="r" b="b"/>
              <a:pathLst>
                <a:path w="21600" h="21600" extrusionOk="0">
                  <a:moveTo>
                    <a:pt x="16560" y="14760"/>
                  </a:moveTo>
                  <a:cubicBezTo>
                    <a:pt x="18480" y="13320"/>
                    <a:pt x="20400" y="12240"/>
                    <a:pt x="20400" y="9000"/>
                  </a:cubicBezTo>
                  <a:cubicBezTo>
                    <a:pt x="20400" y="8280"/>
                    <a:pt x="20160" y="7920"/>
                    <a:pt x="20160" y="7560"/>
                  </a:cubicBezTo>
                  <a:cubicBezTo>
                    <a:pt x="20160" y="6480"/>
                    <a:pt x="20880" y="6120"/>
                    <a:pt x="21120" y="5400"/>
                  </a:cubicBezTo>
                  <a:cubicBezTo>
                    <a:pt x="21600" y="3960"/>
                    <a:pt x="21120" y="2880"/>
                    <a:pt x="21600" y="1440"/>
                  </a:cubicBezTo>
                  <a:cubicBezTo>
                    <a:pt x="20640" y="1440"/>
                    <a:pt x="20400" y="720"/>
                    <a:pt x="19440" y="360"/>
                  </a:cubicBezTo>
                  <a:cubicBezTo>
                    <a:pt x="19440" y="360"/>
                    <a:pt x="19200" y="360"/>
                    <a:pt x="19200" y="360"/>
                  </a:cubicBezTo>
                  <a:cubicBezTo>
                    <a:pt x="18240" y="360"/>
                    <a:pt x="17760" y="360"/>
                    <a:pt x="17040" y="360"/>
                  </a:cubicBezTo>
                  <a:cubicBezTo>
                    <a:pt x="15360" y="360"/>
                    <a:pt x="14640" y="0"/>
                    <a:pt x="12960" y="0"/>
                  </a:cubicBezTo>
                  <a:cubicBezTo>
                    <a:pt x="11280" y="0"/>
                    <a:pt x="10560" y="1800"/>
                    <a:pt x="8880" y="1800"/>
                  </a:cubicBezTo>
                  <a:cubicBezTo>
                    <a:pt x="8160" y="1800"/>
                    <a:pt x="7680" y="1800"/>
                    <a:pt x="6960" y="1800"/>
                  </a:cubicBezTo>
                  <a:cubicBezTo>
                    <a:pt x="6240" y="1800"/>
                    <a:pt x="6000" y="2520"/>
                    <a:pt x="5280" y="2520"/>
                  </a:cubicBezTo>
                  <a:cubicBezTo>
                    <a:pt x="4560" y="2520"/>
                    <a:pt x="3840" y="2520"/>
                    <a:pt x="3360" y="2520"/>
                  </a:cubicBezTo>
                  <a:cubicBezTo>
                    <a:pt x="2160" y="2160"/>
                    <a:pt x="1440" y="1800"/>
                    <a:pt x="0" y="1080"/>
                  </a:cubicBezTo>
                  <a:cubicBezTo>
                    <a:pt x="0" y="1440"/>
                    <a:pt x="240" y="1440"/>
                    <a:pt x="240" y="1800"/>
                  </a:cubicBezTo>
                  <a:cubicBezTo>
                    <a:pt x="960" y="2520"/>
                    <a:pt x="1200" y="3240"/>
                    <a:pt x="1920" y="3960"/>
                  </a:cubicBezTo>
                  <a:cubicBezTo>
                    <a:pt x="2160" y="4680"/>
                    <a:pt x="2400" y="5040"/>
                    <a:pt x="2880" y="5040"/>
                  </a:cubicBezTo>
                  <a:cubicBezTo>
                    <a:pt x="3120" y="5400"/>
                    <a:pt x="3600" y="5400"/>
                    <a:pt x="3600" y="6120"/>
                  </a:cubicBezTo>
                  <a:cubicBezTo>
                    <a:pt x="3600" y="6480"/>
                    <a:pt x="3360" y="6840"/>
                    <a:pt x="3360" y="7200"/>
                  </a:cubicBezTo>
                  <a:cubicBezTo>
                    <a:pt x="3360" y="7920"/>
                    <a:pt x="3600" y="8280"/>
                    <a:pt x="4080" y="8640"/>
                  </a:cubicBezTo>
                  <a:cubicBezTo>
                    <a:pt x="4560" y="9000"/>
                    <a:pt x="4800" y="9360"/>
                    <a:pt x="5280" y="9360"/>
                  </a:cubicBezTo>
                  <a:cubicBezTo>
                    <a:pt x="5760" y="9360"/>
                    <a:pt x="6000" y="9360"/>
                    <a:pt x="6720" y="9000"/>
                  </a:cubicBezTo>
                  <a:cubicBezTo>
                    <a:pt x="6720" y="9720"/>
                    <a:pt x="6720" y="10080"/>
                    <a:pt x="6720" y="10440"/>
                  </a:cubicBezTo>
                  <a:cubicBezTo>
                    <a:pt x="6720" y="10800"/>
                    <a:pt x="6960" y="11160"/>
                    <a:pt x="7200" y="11160"/>
                  </a:cubicBezTo>
                  <a:cubicBezTo>
                    <a:pt x="7680" y="11160"/>
                    <a:pt x="7680" y="10800"/>
                    <a:pt x="8160" y="10440"/>
                  </a:cubicBezTo>
                  <a:cubicBezTo>
                    <a:pt x="8880" y="10080"/>
                    <a:pt x="9360" y="9360"/>
                    <a:pt x="10320" y="9360"/>
                  </a:cubicBezTo>
                  <a:cubicBezTo>
                    <a:pt x="10560" y="9360"/>
                    <a:pt x="10800" y="9720"/>
                    <a:pt x="11280" y="9720"/>
                  </a:cubicBezTo>
                  <a:cubicBezTo>
                    <a:pt x="11280" y="10080"/>
                    <a:pt x="11280" y="10080"/>
                    <a:pt x="11280" y="10080"/>
                  </a:cubicBezTo>
                  <a:cubicBezTo>
                    <a:pt x="10800" y="10080"/>
                    <a:pt x="10560" y="10440"/>
                    <a:pt x="10080" y="10800"/>
                  </a:cubicBezTo>
                  <a:cubicBezTo>
                    <a:pt x="9840" y="10800"/>
                    <a:pt x="9360" y="10800"/>
                    <a:pt x="9120" y="11160"/>
                  </a:cubicBezTo>
                  <a:cubicBezTo>
                    <a:pt x="8880" y="11520"/>
                    <a:pt x="8880" y="11520"/>
                    <a:pt x="8880" y="11880"/>
                  </a:cubicBezTo>
                  <a:cubicBezTo>
                    <a:pt x="8880" y="12600"/>
                    <a:pt x="8880" y="12600"/>
                    <a:pt x="8880" y="13320"/>
                  </a:cubicBezTo>
                  <a:cubicBezTo>
                    <a:pt x="9360" y="13320"/>
                    <a:pt x="9360" y="13320"/>
                    <a:pt x="9840" y="13320"/>
                  </a:cubicBezTo>
                  <a:cubicBezTo>
                    <a:pt x="10080" y="13320"/>
                    <a:pt x="10320" y="13320"/>
                    <a:pt x="10560" y="12960"/>
                  </a:cubicBezTo>
                  <a:cubicBezTo>
                    <a:pt x="10560" y="13320"/>
                    <a:pt x="10560" y="13320"/>
                    <a:pt x="10560" y="13680"/>
                  </a:cubicBezTo>
                  <a:cubicBezTo>
                    <a:pt x="10560" y="14400"/>
                    <a:pt x="10320" y="14760"/>
                    <a:pt x="9840" y="15120"/>
                  </a:cubicBezTo>
                  <a:cubicBezTo>
                    <a:pt x="10080" y="15840"/>
                    <a:pt x="9840" y="16200"/>
                    <a:pt x="10080" y="16560"/>
                  </a:cubicBezTo>
                  <a:cubicBezTo>
                    <a:pt x="10320" y="18000"/>
                    <a:pt x="10560" y="18720"/>
                    <a:pt x="10560" y="20160"/>
                  </a:cubicBezTo>
                  <a:cubicBezTo>
                    <a:pt x="10800" y="20160"/>
                    <a:pt x="11040" y="20160"/>
                    <a:pt x="11040" y="20160"/>
                  </a:cubicBezTo>
                  <a:cubicBezTo>
                    <a:pt x="11520" y="20160"/>
                    <a:pt x="11520" y="19440"/>
                    <a:pt x="11760" y="19440"/>
                  </a:cubicBezTo>
                  <a:cubicBezTo>
                    <a:pt x="11760" y="19440"/>
                    <a:pt x="12000" y="19800"/>
                    <a:pt x="12000" y="19800"/>
                  </a:cubicBezTo>
                  <a:cubicBezTo>
                    <a:pt x="12000" y="20520"/>
                    <a:pt x="12240" y="21600"/>
                    <a:pt x="12720" y="21600"/>
                  </a:cubicBezTo>
                  <a:cubicBezTo>
                    <a:pt x="13440" y="18000"/>
                    <a:pt x="14640" y="16560"/>
                    <a:pt x="16560" y="1476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8" name="Shape 338"/>
            <p:cNvSpPr/>
            <p:nvPr/>
          </p:nvSpPr>
          <p:spPr>
            <a:xfrm>
              <a:off x="233054" y="1873714"/>
              <a:ext cx="776336" cy="652870"/>
            </a:xfrm>
            <a:custGeom>
              <a:avLst/>
              <a:gdLst/>
              <a:ahLst/>
              <a:cxnLst>
                <a:cxn ang="0">
                  <a:pos x="wd2" y="hd2"/>
                </a:cxn>
                <a:cxn ang="5400000">
                  <a:pos x="wd2" y="hd2"/>
                </a:cxn>
                <a:cxn ang="10800000">
                  <a:pos x="wd2" y="hd2"/>
                </a:cxn>
                <a:cxn ang="16200000">
                  <a:pos x="wd2" y="hd2"/>
                </a:cxn>
              </a:cxnLst>
              <a:rect l="0" t="0" r="r" b="b"/>
              <a:pathLst>
                <a:path w="21600" h="21600" extrusionOk="0">
                  <a:moveTo>
                    <a:pt x="5679" y="13153"/>
                  </a:moveTo>
                  <a:cubicBezTo>
                    <a:pt x="5983" y="12550"/>
                    <a:pt x="6186" y="12308"/>
                    <a:pt x="6592" y="11705"/>
                  </a:cubicBezTo>
                  <a:cubicBezTo>
                    <a:pt x="6794" y="11464"/>
                    <a:pt x="6794" y="11222"/>
                    <a:pt x="7099" y="11222"/>
                  </a:cubicBezTo>
                  <a:cubicBezTo>
                    <a:pt x="7606" y="11222"/>
                    <a:pt x="7808" y="11222"/>
                    <a:pt x="8315" y="11222"/>
                  </a:cubicBezTo>
                  <a:cubicBezTo>
                    <a:pt x="8924" y="11222"/>
                    <a:pt x="9330" y="10740"/>
                    <a:pt x="9938" y="10740"/>
                  </a:cubicBezTo>
                  <a:cubicBezTo>
                    <a:pt x="11358" y="10740"/>
                    <a:pt x="12372" y="12067"/>
                    <a:pt x="12575" y="13756"/>
                  </a:cubicBezTo>
                  <a:cubicBezTo>
                    <a:pt x="12575" y="14239"/>
                    <a:pt x="12980" y="14360"/>
                    <a:pt x="12980" y="14842"/>
                  </a:cubicBezTo>
                  <a:cubicBezTo>
                    <a:pt x="12980" y="15566"/>
                    <a:pt x="12575" y="15808"/>
                    <a:pt x="12270" y="16411"/>
                  </a:cubicBezTo>
                  <a:cubicBezTo>
                    <a:pt x="12473" y="16532"/>
                    <a:pt x="12575" y="16653"/>
                    <a:pt x="12676" y="16653"/>
                  </a:cubicBezTo>
                  <a:cubicBezTo>
                    <a:pt x="12777" y="16653"/>
                    <a:pt x="12879" y="16773"/>
                    <a:pt x="13082" y="16653"/>
                  </a:cubicBezTo>
                  <a:cubicBezTo>
                    <a:pt x="13487" y="16653"/>
                    <a:pt x="13690" y="16653"/>
                    <a:pt x="13994" y="16653"/>
                  </a:cubicBezTo>
                  <a:cubicBezTo>
                    <a:pt x="14400" y="16653"/>
                    <a:pt x="14603" y="16532"/>
                    <a:pt x="14907" y="16653"/>
                  </a:cubicBezTo>
                  <a:cubicBezTo>
                    <a:pt x="15820" y="17015"/>
                    <a:pt x="16225" y="17980"/>
                    <a:pt x="16225" y="19187"/>
                  </a:cubicBezTo>
                  <a:cubicBezTo>
                    <a:pt x="16225" y="19669"/>
                    <a:pt x="16124" y="19790"/>
                    <a:pt x="16023" y="20273"/>
                  </a:cubicBezTo>
                  <a:cubicBezTo>
                    <a:pt x="16124" y="20635"/>
                    <a:pt x="16124" y="20635"/>
                    <a:pt x="16124" y="20635"/>
                  </a:cubicBezTo>
                  <a:cubicBezTo>
                    <a:pt x="16327" y="20635"/>
                    <a:pt x="16530" y="20514"/>
                    <a:pt x="16732" y="20755"/>
                  </a:cubicBezTo>
                  <a:cubicBezTo>
                    <a:pt x="16935" y="20997"/>
                    <a:pt x="16834" y="21600"/>
                    <a:pt x="17239" y="21600"/>
                  </a:cubicBezTo>
                  <a:cubicBezTo>
                    <a:pt x="17442" y="21600"/>
                    <a:pt x="17544" y="21359"/>
                    <a:pt x="17746" y="21117"/>
                  </a:cubicBezTo>
                  <a:cubicBezTo>
                    <a:pt x="17949" y="20876"/>
                    <a:pt x="18152" y="20876"/>
                    <a:pt x="18254" y="20514"/>
                  </a:cubicBezTo>
                  <a:cubicBezTo>
                    <a:pt x="18456" y="20152"/>
                    <a:pt x="18456" y="19790"/>
                    <a:pt x="18558" y="19428"/>
                  </a:cubicBezTo>
                  <a:cubicBezTo>
                    <a:pt x="18659" y="19428"/>
                    <a:pt x="18761" y="19428"/>
                    <a:pt x="18862" y="19549"/>
                  </a:cubicBezTo>
                  <a:cubicBezTo>
                    <a:pt x="18862" y="19549"/>
                    <a:pt x="18963" y="19549"/>
                    <a:pt x="18963" y="19549"/>
                  </a:cubicBezTo>
                  <a:cubicBezTo>
                    <a:pt x="18963" y="19549"/>
                    <a:pt x="18963" y="19549"/>
                    <a:pt x="18963" y="19549"/>
                  </a:cubicBezTo>
                  <a:cubicBezTo>
                    <a:pt x="19166" y="19790"/>
                    <a:pt x="19268" y="19911"/>
                    <a:pt x="19470" y="20152"/>
                  </a:cubicBezTo>
                  <a:cubicBezTo>
                    <a:pt x="19876" y="19428"/>
                    <a:pt x="20586" y="19187"/>
                    <a:pt x="20586" y="18342"/>
                  </a:cubicBezTo>
                  <a:cubicBezTo>
                    <a:pt x="20586" y="17980"/>
                    <a:pt x="20282" y="17739"/>
                    <a:pt x="20282" y="17256"/>
                  </a:cubicBezTo>
                  <a:cubicBezTo>
                    <a:pt x="20282" y="16773"/>
                    <a:pt x="20890" y="16894"/>
                    <a:pt x="21296" y="16653"/>
                  </a:cubicBezTo>
                  <a:cubicBezTo>
                    <a:pt x="21397" y="16653"/>
                    <a:pt x="21600" y="16532"/>
                    <a:pt x="21600" y="16411"/>
                  </a:cubicBezTo>
                  <a:cubicBezTo>
                    <a:pt x="21600" y="15808"/>
                    <a:pt x="21296" y="15446"/>
                    <a:pt x="21296" y="14842"/>
                  </a:cubicBezTo>
                  <a:cubicBezTo>
                    <a:pt x="21296" y="14480"/>
                    <a:pt x="21296" y="14239"/>
                    <a:pt x="21296" y="13756"/>
                  </a:cubicBezTo>
                  <a:cubicBezTo>
                    <a:pt x="21296" y="13515"/>
                    <a:pt x="21397" y="13394"/>
                    <a:pt x="21397" y="13032"/>
                  </a:cubicBezTo>
                  <a:cubicBezTo>
                    <a:pt x="21397" y="12308"/>
                    <a:pt x="20586" y="11946"/>
                    <a:pt x="20586" y="11102"/>
                  </a:cubicBezTo>
                  <a:cubicBezTo>
                    <a:pt x="20586" y="10860"/>
                    <a:pt x="20789" y="10740"/>
                    <a:pt x="20992" y="10498"/>
                  </a:cubicBezTo>
                  <a:cubicBezTo>
                    <a:pt x="20992" y="10378"/>
                    <a:pt x="21093" y="10257"/>
                    <a:pt x="21093" y="10136"/>
                  </a:cubicBezTo>
                  <a:cubicBezTo>
                    <a:pt x="21194" y="10136"/>
                    <a:pt x="21194" y="10136"/>
                    <a:pt x="21194" y="10016"/>
                  </a:cubicBezTo>
                  <a:cubicBezTo>
                    <a:pt x="21194" y="10016"/>
                    <a:pt x="21194" y="10016"/>
                    <a:pt x="21194" y="10016"/>
                  </a:cubicBezTo>
                  <a:cubicBezTo>
                    <a:pt x="21296" y="9774"/>
                    <a:pt x="21296" y="9533"/>
                    <a:pt x="21397" y="9171"/>
                  </a:cubicBezTo>
                  <a:cubicBezTo>
                    <a:pt x="20992" y="8447"/>
                    <a:pt x="20180" y="8447"/>
                    <a:pt x="20180" y="7602"/>
                  </a:cubicBezTo>
                  <a:cubicBezTo>
                    <a:pt x="20180" y="7361"/>
                    <a:pt x="20282" y="7240"/>
                    <a:pt x="20180" y="6999"/>
                  </a:cubicBezTo>
                  <a:cubicBezTo>
                    <a:pt x="19876" y="7240"/>
                    <a:pt x="19775" y="7723"/>
                    <a:pt x="19470" y="7723"/>
                  </a:cubicBezTo>
                  <a:cubicBezTo>
                    <a:pt x="19268" y="7723"/>
                    <a:pt x="19166" y="7602"/>
                    <a:pt x="19166" y="7482"/>
                  </a:cubicBezTo>
                  <a:cubicBezTo>
                    <a:pt x="19166" y="6999"/>
                    <a:pt x="19166" y="6637"/>
                    <a:pt x="19268" y="6154"/>
                  </a:cubicBezTo>
                  <a:cubicBezTo>
                    <a:pt x="19369" y="6034"/>
                    <a:pt x="19470" y="6034"/>
                    <a:pt x="19470" y="5913"/>
                  </a:cubicBezTo>
                  <a:cubicBezTo>
                    <a:pt x="19470" y="5189"/>
                    <a:pt x="18761" y="5068"/>
                    <a:pt x="18761" y="4465"/>
                  </a:cubicBezTo>
                  <a:cubicBezTo>
                    <a:pt x="18761" y="4223"/>
                    <a:pt x="18761" y="3982"/>
                    <a:pt x="18761" y="3741"/>
                  </a:cubicBezTo>
                  <a:cubicBezTo>
                    <a:pt x="18761" y="3379"/>
                    <a:pt x="18558" y="3137"/>
                    <a:pt x="18456" y="2775"/>
                  </a:cubicBezTo>
                  <a:cubicBezTo>
                    <a:pt x="18152" y="2293"/>
                    <a:pt x="18152" y="1569"/>
                    <a:pt x="17645" y="1569"/>
                  </a:cubicBezTo>
                  <a:cubicBezTo>
                    <a:pt x="16631" y="1569"/>
                    <a:pt x="16225" y="2775"/>
                    <a:pt x="15211" y="2775"/>
                  </a:cubicBezTo>
                  <a:cubicBezTo>
                    <a:pt x="14704" y="2775"/>
                    <a:pt x="14603" y="2051"/>
                    <a:pt x="14096" y="2051"/>
                  </a:cubicBezTo>
                  <a:cubicBezTo>
                    <a:pt x="13690" y="2051"/>
                    <a:pt x="13487" y="2534"/>
                    <a:pt x="13183" y="2896"/>
                  </a:cubicBezTo>
                  <a:cubicBezTo>
                    <a:pt x="13082" y="3017"/>
                    <a:pt x="13082" y="3258"/>
                    <a:pt x="12980" y="3258"/>
                  </a:cubicBezTo>
                  <a:cubicBezTo>
                    <a:pt x="12473" y="3258"/>
                    <a:pt x="12473" y="2293"/>
                    <a:pt x="11865" y="2293"/>
                  </a:cubicBezTo>
                  <a:cubicBezTo>
                    <a:pt x="11662" y="2293"/>
                    <a:pt x="11459" y="2413"/>
                    <a:pt x="11155" y="2413"/>
                  </a:cubicBezTo>
                  <a:cubicBezTo>
                    <a:pt x="11054" y="2413"/>
                    <a:pt x="10952" y="2413"/>
                    <a:pt x="10851" y="2413"/>
                  </a:cubicBezTo>
                  <a:cubicBezTo>
                    <a:pt x="10851" y="1931"/>
                    <a:pt x="10648" y="1689"/>
                    <a:pt x="10648" y="1207"/>
                  </a:cubicBezTo>
                  <a:cubicBezTo>
                    <a:pt x="10648" y="965"/>
                    <a:pt x="10648" y="724"/>
                    <a:pt x="10749" y="483"/>
                  </a:cubicBezTo>
                  <a:cubicBezTo>
                    <a:pt x="10445" y="603"/>
                    <a:pt x="10445" y="603"/>
                    <a:pt x="10445" y="603"/>
                  </a:cubicBezTo>
                  <a:cubicBezTo>
                    <a:pt x="10141" y="603"/>
                    <a:pt x="9938" y="603"/>
                    <a:pt x="9634" y="603"/>
                  </a:cubicBezTo>
                  <a:cubicBezTo>
                    <a:pt x="9127" y="603"/>
                    <a:pt x="8721" y="724"/>
                    <a:pt x="8214" y="965"/>
                  </a:cubicBezTo>
                  <a:cubicBezTo>
                    <a:pt x="8011" y="1086"/>
                    <a:pt x="7910" y="1207"/>
                    <a:pt x="7606" y="1207"/>
                  </a:cubicBezTo>
                  <a:cubicBezTo>
                    <a:pt x="7200" y="1207"/>
                    <a:pt x="7099" y="965"/>
                    <a:pt x="6693" y="845"/>
                  </a:cubicBezTo>
                  <a:cubicBezTo>
                    <a:pt x="5983" y="724"/>
                    <a:pt x="5476" y="724"/>
                    <a:pt x="5172" y="0"/>
                  </a:cubicBezTo>
                  <a:cubicBezTo>
                    <a:pt x="3752" y="121"/>
                    <a:pt x="3752" y="121"/>
                    <a:pt x="3752" y="121"/>
                  </a:cubicBezTo>
                  <a:cubicBezTo>
                    <a:pt x="3549" y="603"/>
                    <a:pt x="3752" y="965"/>
                    <a:pt x="3549" y="1448"/>
                  </a:cubicBezTo>
                  <a:cubicBezTo>
                    <a:pt x="3448" y="1689"/>
                    <a:pt x="3144" y="1810"/>
                    <a:pt x="3144" y="2172"/>
                  </a:cubicBezTo>
                  <a:cubicBezTo>
                    <a:pt x="3144" y="2293"/>
                    <a:pt x="3245" y="2413"/>
                    <a:pt x="3245" y="2655"/>
                  </a:cubicBezTo>
                  <a:cubicBezTo>
                    <a:pt x="3245" y="3741"/>
                    <a:pt x="2434" y="4103"/>
                    <a:pt x="1623" y="4585"/>
                  </a:cubicBezTo>
                  <a:cubicBezTo>
                    <a:pt x="811" y="5189"/>
                    <a:pt x="304" y="5672"/>
                    <a:pt x="0" y="6878"/>
                  </a:cubicBezTo>
                  <a:cubicBezTo>
                    <a:pt x="0" y="6878"/>
                    <a:pt x="0" y="6878"/>
                    <a:pt x="0" y="6878"/>
                  </a:cubicBezTo>
                  <a:cubicBezTo>
                    <a:pt x="0" y="6878"/>
                    <a:pt x="0" y="6878"/>
                    <a:pt x="0" y="6878"/>
                  </a:cubicBezTo>
                  <a:cubicBezTo>
                    <a:pt x="0" y="6878"/>
                    <a:pt x="0" y="6878"/>
                    <a:pt x="0" y="6878"/>
                  </a:cubicBezTo>
                  <a:cubicBezTo>
                    <a:pt x="101" y="6878"/>
                    <a:pt x="203" y="6637"/>
                    <a:pt x="304" y="6637"/>
                  </a:cubicBezTo>
                  <a:cubicBezTo>
                    <a:pt x="507" y="6637"/>
                    <a:pt x="507" y="6878"/>
                    <a:pt x="608" y="7120"/>
                  </a:cubicBezTo>
                  <a:cubicBezTo>
                    <a:pt x="608" y="7240"/>
                    <a:pt x="913" y="7240"/>
                    <a:pt x="913" y="7482"/>
                  </a:cubicBezTo>
                  <a:cubicBezTo>
                    <a:pt x="913" y="7723"/>
                    <a:pt x="710" y="7844"/>
                    <a:pt x="710" y="8085"/>
                  </a:cubicBezTo>
                  <a:cubicBezTo>
                    <a:pt x="710" y="8326"/>
                    <a:pt x="913" y="8447"/>
                    <a:pt x="1014" y="8688"/>
                  </a:cubicBezTo>
                  <a:cubicBezTo>
                    <a:pt x="1217" y="9292"/>
                    <a:pt x="1521" y="9654"/>
                    <a:pt x="1927" y="10136"/>
                  </a:cubicBezTo>
                  <a:cubicBezTo>
                    <a:pt x="2231" y="10498"/>
                    <a:pt x="2434" y="10619"/>
                    <a:pt x="2839" y="10860"/>
                  </a:cubicBezTo>
                  <a:cubicBezTo>
                    <a:pt x="3042" y="10981"/>
                    <a:pt x="3245" y="11222"/>
                    <a:pt x="3245" y="11464"/>
                  </a:cubicBezTo>
                  <a:cubicBezTo>
                    <a:pt x="3245" y="11826"/>
                    <a:pt x="3042" y="12067"/>
                    <a:pt x="3042" y="12429"/>
                  </a:cubicBezTo>
                  <a:cubicBezTo>
                    <a:pt x="3042" y="12550"/>
                    <a:pt x="3245" y="12550"/>
                    <a:pt x="3245" y="12550"/>
                  </a:cubicBezTo>
                  <a:cubicBezTo>
                    <a:pt x="3549" y="12670"/>
                    <a:pt x="3854" y="12550"/>
                    <a:pt x="3955" y="12791"/>
                  </a:cubicBezTo>
                  <a:cubicBezTo>
                    <a:pt x="4158" y="13153"/>
                    <a:pt x="4259" y="13274"/>
                    <a:pt x="4361" y="13636"/>
                  </a:cubicBezTo>
                  <a:cubicBezTo>
                    <a:pt x="4462" y="13756"/>
                    <a:pt x="4563" y="13756"/>
                    <a:pt x="4563" y="13877"/>
                  </a:cubicBezTo>
                  <a:cubicBezTo>
                    <a:pt x="4766" y="13877"/>
                    <a:pt x="4868" y="13877"/>
                    <a:pt x="5070" y="13877"/>
                  </a:cubicBezTo>
                  <a:cubicBezTo>
                    <a:pt x="5375" y="13877"/>
                    <a:pt x="5476" y="13515"/>
                    <a:pt x="5679" y="13153"/>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39" name="Shape 339"/>
            <p:cNvSpPr/>
            <p:nvPr/>
          </p:nvSpPr>
          <p:spPr>
            <a:xfrm>
              <a:off x="393568" y="2199377"/>
              <a:ext cx="313314" cy="359619"/>
            </a:xfrm>
            <a:custGeom>
              <a:avLst/>
              <a:gdLst/>
              <a:ahLst/>
              <a:cxnLst>
                <a:cxn ang="0">
                  <a:pos x="wd2" y="hd2"/>
                </a:cxn>
                <a:cxn ang="5400000">
                  <a:pos x="wd2" y="hd2"/>
                </a:cxn>
                <a:cxn ang="10800000">
                  <a:pos x="wd2" y="hd2"/>
                </a:cxn>
                <a:cxn ang="16200000">
                  <a:pos x="wd2" y="hd2"/>
                </a:cxn>
              </a:cxnLst>
              <a:rect l="0" t="0" r="r" b="b"/>
              <a:pathLst>
                <a:path w="21600" h="21600" extrusionOk="0">
                  <a:moveTo>
                    <a:pt x="16074" y="18327"/>
                  </a:moveTo>
                  <a:cubicBezTo>
                    <a:pt x="16828" y="17455"/>
                    <a:pt x="17833" y="17236"/>
                    <a:pt x="18586" y="16582"/>
                  </a:cubicBezTo>
                  <a:cubicBezTo>
                    <a:pt x="19088" y="15927"/>
                    <a:pt x="19088" y="15273"/>
                    <a:pt x="19591" y="14618"/>
                  </a:cubicBezTo>
                  <a:cubicBezTo>
                    <a:pt x="20344" y="13309"/>
                    <a:pt x="21600" y="12655"/>
                    <a:pt x="21600" y="11345"/>
                  </a:cubicBezTo>
                  <a:cubicBezTo>
                    <a:pt x="21600" y="11127"/>
                    <a:pt x="21349" y="10909"/>
                    <a:pt x="21349" y="10691"/>
                  </a:cubicBezTo>
                  <a:cubicBezTo>
                    <a:pt x="20847" y="10909"/>
                    <a:pt x="20595" y="10691"/>
                    <a:pt x="20344" y="10691"/>
                  </a:cubicBezTo>
                  <a:cubicBezTo>
                    <a:pt x="20093" y="10691"/>
                    <a:pt x="19842" y="10473"/>
                    <a:pt x="19340" y="10255"/>
                  </a:cubicBezTo>
                  <a:cubicBezTo>
                    <a:pt x="20093" y="9164"/>
                    <a:pt x="21098" y="8727"/>
                    <a:pt x="21098" y="7418"/>
                  </a:cubicBezTo>
                  <a:cubicBezTo>
                    <a:pt x="21098" y="6545"/>
                    <a:pt x="20093" y="6327"/>
                    <a:pt x="20093" y="5455"/>
                  </a:cubicBezTo>
                  <a:cubicBezTo>
                    <a:pt x="19591" y="2400"/>
                    <a:pt x="17079" y="0"/>
                    <a:pt x="13563" y="0"/>
                  </a:cubicBezTo>
                  <a:cubicBezTo>
                    <a:pt x="12056" y="0"/>
                    <a:pt x="11051" y="873"/>
                    <a:pt x="9544" y="873"/>
                  </a:cubicBezTo>
                  <a:cubicBezTo>
                    <a:pt x="8288" y="873"/>
                    <a:pt x="7786" y="873"/>
                    <a:pt x="6530" y="873"/>
                  </a:cubicBezTo>
                  <a:cubicBezTo>
                    <a:pt x="5777" y="873"/>
                    <a:pt x="5777" y="1309"/>
                    <a:pt x="5274" y="1745"/>
                  </a:cubicBezTo>
                  <a:cubicBezTo>
                    <a:pt x="4270" y="2836"/>
                    <a:pt x="3767" y="3273"/>
                    <a:pt x="3014" y="4364"/>
                  </a:cubicBezTo>
                  <a:cubicBezTo>
                    <a:pt x="2512" y="5018"/>
                    <a:pt x="2260" y="5673"/>
                    <a:pt x="1507" y="5673"/>
                  </a:cubicBezTo>
                  <a:cubicBezTo>
                    <a:pt x="1005" y="5673"/>
                    <a:pt x="753" y="5673"/>
                    <a:pt x="251" y="5673"/>
                  </a:cubicBezTo>
                  <a:cubicBezTo>
                    <a:pt x="251" y="6109"/>
                    <a:pt x="0" y="6545"/>
                    <a:pt x="0" y="7200"/>
                  </a:cubicBezTo>
                  <a:cubicBezTo>
                    <a:pt x="0" y="7855"/>
                    <a:pt x="251" y="8509"/>
                    <a:pt x="1005" y="8945"/>
                  </a:cubicBezTo>
                  <a:cubicBezTo>
                    <a:pt x="1507" y="9382"/>
                    <a:pt x="2009" y="9164"/>
                    <a:pt x="2512" y="9600"/>
                  </a:cubicBezTo>
                  <a:cubicBezTo>
                    <a:pt x="2512" y="9818"/>
                    <a:pt x="2512" y="9818"/>
                    <a:pt x="2512" y="9818"/>
                  </a:cubicBezTo>
                  <a:cubicBezTo>
                    <a:pt x="1758" y="9818"/>
                    <a:pt x="1507" y="9818"/>
                    <a:pt x="1005" y="9818"/>
                  </a:cubicBezTo>
                  <a:cubicBezTo>
                    <a:pt x="753" y="9818"/>
                    <a:pt x="502" y="10036"/>
                    <a:pt x="502" y="10255"/>
                  </a:cubicBezTo>
                  <a:cubicBezTo>
                    <a:pt x="502" y="10691"/>
                    <a:pt x="753" y="10691"/>
                    <a:pt x="1256" y="11127"/>
                  </a:cubicBezTo>
                  <a:cubicBezTo>
                    <a:pt x="1507" y="11345"/>
                    <a:pt x="1758" y="11564"/>
                    <a:pt x="2009" y="11782"/>
                  </a:cubicBezTo>
                  <a:cubicBezTo>
                    <a:pt x="2512" y="12000"/>
                    <a:pt x="3265" y="12000"/>
                    <a:pt x="3265" y="12655"/>
                  </a:cubicBezTo>
                  <a:cubicBezTo>
                    <a:pt x="3265" y="12873"/>
                    <a:pt x="3014" y="13091"/>
                    <a:pt x="3014" y="13309"/>
                  </a:cubicBezTo>
                  <a:cubicBezTo>
                    <a:pt x="3014" y="14400"/>
                    <a:pt x="3767" y="15491"/>
                    <a:pt x="5023" y="15491"/>
                  </a:cubicBezTo>
                  <a:cubicBezTo>
                    <a:pt x="5274" y="15491"/>
                    <a:pt x="5526" y="15491"/>
                    <a:pt x="6028" y="15491"/>
                  </a:cubicBezTo>
                  <a:cubicBezTo>
                    <a:pt x="6530" y="15273"/>
                    <a:pt x="6530" y="15273"/>
                    <a:pt x="6530" y="15273"/>
                  </a:cubicBezTo>
                  <a:cubicBezTo>
                    <a:pt x="6781" y="15491"/>
                    <a:pt x="6781" y="15709"/>
                    <a:pt x="6781" y="16145"/>
                  </a:cubicBezTo>
                  <a:cubicBezTo>
                    <a:pt x="6781" y="16364"/>
                    <a:pt x="7033" y="16582"/>
                    <a:pt x="7033" y="16800"/>
                  </a:cubicBezTo>
                  <a:cubicBezTo>
                    <a:pt x="7033" y="16800"/>
                    <a:pt x="6781" y="16800"/>
                    <a:pt x="6781" y="17018"/>
                  </a:cubicBezTo>
                  <a:cubicBezTo>
                    <a:pt x="6530" y="17236"/>
                    <a:pt x="6279" y="17455"/>
                    <a:pt x="6279" y="18109"/>
                  </a:cubicBezTo>
                  <a:cubicBezTo>
                    <a:pt x="6279" y="18327"/>
                    <a:pt x="6530" y="18327"/>
                    <a:pt x="6781" y="18327"/>
                  </a:cubicBezTo>
                  <a:cubicBezTo>
                    <a:pt x="7284" y="18545"/>
                    <a:pt x="7535" y="18982"/>
                    <a:pt x="8037" y="19200"/>
                  </a:cubicBezTo>
                  <a:cubicBezTo>
                    <a:pt x="9042" y="19418"/>
                    <a:pt x="9293" y="19855"/>
                    <a:pt x="10047" y="20291"/>
                  </a:cubicBezTo>
                  <a:cubicBezTo>
                    <a:pt x="11051" y="20727"/>
                    <a:pt x="11553" y="20945"/>
                    <a:pt x="12558" y="21600"/>
                  </a:cubicBezTo>
                  <a:cubicBezTo>
                    <a:pt x="12558" y="21600"/>
                    <a:pt x="12558" y="21600"/>
                    <a:pt x="12558" y="21600"/>
                  </a:cubicBezTo>
                  <a:cubicBezTo>
                    <a:pt x="14316" y="20727"/>
                    <a:pt x="14819" y="19636"/>
                    <a:pt x="16074" y="18327"/>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0" name="Shape 340"/>
            <p:cNvSpPr/>
            <p:nvPr/>
          </p:nvSpPr>
          <p:spPr>
            <a:xfrm>
              <a:off x="575691" y="2375810"/>
              <a:ext cx="466110" cy="479523"/>
            </a:xfrm>
            <a:custGeom>
              <a:avLst/>
              <a:gdLst/>
              <a:ahLst/>
              <a:cxnLst>
                <a:cxn ang="0">
                  <a:pos x="wd2" y="hd2"/>
                </a:cxn>
                <a:cxn ang="5400000">
                  <a:pos x="wd2" y="hd2"/>
                </a:cxn>
                <a:cxn ang="10800000">
                  <a:pos x="wd2" y="hd2"/>
                </a:cxn>
                <a:cxn ang="16200000">
                  <a:pos x="wd2" y="hd2"/>
                </a:cxn>
              </a:cxnLst>
              <a:rect l="0" t="0" r="r" b="b"/>
              <a:pathLst>
                <a:path w="21600" h="21509" extrusionOk="0">
                  <a:moveTo>
                    <a:pt x="20925" y="13982"/>
                  </a:moveTo>
                  <a:cubicBezTo>
                    <a:pt x="20587" y="13491"/>
                    <a:pt x="19912" y="13491"/>
                    <a:pt x="19406" y="13000"/>
                  </a:cubicBezTo>
                  <a:cubicBezTo>
                    <a:pt x="19069" y="12509"/>
                    <a:pt x="19069" y="12182"/>
                    <a:pt x="18731" y="11691"/>
                  </a:cubicBezTo>
                  <a:cubicBezTo>
                    <a:pt x="17719" y="11036"/>
                    <a:pt x="16537" y="10873"/>
                    <a:pt x="16537" y="9727"/>
                  </a:cubicBezTo>
                  <a:cubicBezTo>
                    <a:pt x="16537" y="9564"/>
                    <a:pt x="16537" y="9564"/>
                    <a:pt x="16537" y="9400"/>
                  </a:cubicBezTo>
                  <a:cubicBezTo>
                    <a:pt x="16537" y="8582"/>
                    <a:pt x="16537" y="8091"/>
                    <a:pt x="16537" y="7273"/>
                  </a:cubicBezTo>
                  <a:cubicBezTo>
                    <a:pt x="16537" y="7109"/>
                    <a:pt x="16706" y="6945"/>
                    <a:pt x="16706" y="6618"/>
                  </a:cubicBezTo>
                  <a:cubicBezTo>
                    <a:pt x="16706" y="5964"/>
                    <a:pt x="16537" y="5473"/>
                    <a:pt x="16537" y="4818"/>
                  </a:cubicBezTo>
                  <a:cubicBezTo>
                    <a:pt x="16537" y="4818"/>
                    <a:pt x="16537" y="4818"/>
                    <a:pt x="16537" y="4818"/>
                  </a:cubicBezTo>
                  <a:cubicBezTo>
                    <a:pt x="16200" y="4491"/>
                    <a:pt x="16031" y="4327"/>
                    <a:pt x="15694" y="4000"/>
                  </a:cubicBezTo>
                  <a:cubicBezTo>
                    <a:pt x="15694" y="4000"/>
                    <a:pt x="15694" y="4000"/>
                    <a:pt x="15694" y="4000"/>
                  </a:cubicBezTo>
                  <a:cubicBezTo>
                    <a:pt x="15694" y="4000"/>
                    <a:pt x="15525" y="4000"/>
                    <a:pt x="15525" y="4000"/>
                  </a:cubicBezTo>
                  <a:cubicBezTo>
                    <a:pt x="15356" y="3836"/>
                    <a:pt x="15187" y="3836"/>
                    <a:pt x="15019" y="3836"/>
                  </a:cubicBezTo>
                  <a:cubicBezTo>
                    <a:pt x="14850" y="4327"/>
                    <a:pt x="14850" y="4818"/>
                    <a:pt x="14512" y="5309"/>
                  </a:cubicBezTo>
                  <a:cubicBezTo>
                    <a:pt x="14344" y="5800"/>
                    <a:pt x="14006" y="5800"/>
                    <a:pt x="13669" y="6127"/>
                  </a:cubicBezTo>
                  <a:cubicBezTo>
                    <a:pt x="13331" y="6454"/>
                    <a:pt x="13162" y="6782"/>
                    <a:pt x="12825" y="6782"/>
                  </a:cubicBezTo>
                  <a:cubicBezTo>
                    <a:pt x="12150" y="6782"/>
                    <a:pt x="12319" y="5964"/>
                    <a:pt x="11981" y="5636"/>
                  </a:cubicBezTo>
                  <a:cubicBezTo>
                    <a:pt x="11644" y="5309"/>
                    <a:pt x="11306" y="5473"/>
                    <a:pt x="10969" y="5473"/>
                  </a:cubicBezTo>
                  <a:cubicBezTo>
                    <a:pt x="10800" y="4982"/>
                    <a:pt x="10800" y="4982"/>
                    <a:pt x="10800" y="4982"/>
                  </a:cubicBezTo>
                  <a:cubicBezTo>
                    <a:pt x="10969" y="4327"/>
                    <a:pt x="11137" y="4164"/>
                    <a:pt x="11137" y="3509"/>
                  </a:cubicBezTo>
                  <a:cubicBezTo>
                    <a:pt x="11137" y="1873"/>
                    <a:pt x="10463" y="564"/>
                    <a:pt x="8944" y="73"/>
                  </a:cubicBezTo>
                  <a:cubicBezTo>
                    <a:pt x="8438" y="-91"/>
                    <a:pt x="8100" y="73"/>
                    <a:pt x="7425" y="73"/>
                  </a:cubicBezTo>
                  <a:cubicBezTo>
                    <a:pt x="6919" y="73"/>
                    <a:pt x="6581" y="73"/>
                    <a:pt x="5906" y="73"/>
                  </a:cubicBezTo>
                  <a:cubicBezTo>
                    <a:pt x="5906" y="236"/>
                    <a:pt x="6075" y="400"/>
                    <a:pt x="6075" y="564"/>
                  </a:cubicBezTo>
                  <a:cubicBezTo>
                    <a:pt x="6075" y="1545"/>
                    <a:pt x="5231" y="2036"/>
                    <a:pt x="4725" y="3018"/>
                  </a:cubicBezTo>
                  <a:cubicBezTo>
                    <a:pt x="4388" y="3509"/>
                    <a:pt x="4388" y="4000"/>
                    <a:pt x="4050" y="4491"/>
                  </a:cubicBezTo>
                  <a:cubicBezTo>
                    <a:pt x="3544" y="4982"/>
                    <a:pt x="2869" y="5145"/>
                    <a:pt x="2363" y="5800"/>
                  </a:cubicBezTo>
                  <a:cubicBezTo>
                    <a:pt x="1519" y="6782"/>
                    <a:pt x="1181" y="7600"/>
                    <a:pt x="0" y="8254"/>
                  </a:cubicBezTo>
                  <a:cubicBezTo>
                    <a:pt x="0" y="8254"/>
                    <a:pt x="0" y="8254"/>
                    <a:pt x="0" y="8254"/>
                  </a:cubicBezTo>
                  <a:cubicBezTo>
                    <a:pt x="338" y="8418"/>
                    <a:pt x="675" y="8582"/>
                    <a:pt x="844" y="8909"/>
                  </a:cubicBezTo>
                  <a:cubicBezTo>
                    <a:pt x="1013" y="9073"/>
                    <a:pt x="1013" y="9236"/>
                    <a:pt x="1181" y="9400"/>
                  </a:cubicBezTo>
                  <a:cubicBezTo>
                    <a:pt x="1519" y="9564"/>
                    <a:pt x="1856" y="9564"/>
                    <a:pt x="2363" y="9727"/>
                  </a:cubicBezTo>
                  <a:cubicBezTo>
                    <a:pt x="2700" y="9727"/>
                    <a:pt x="2869" y="10054"/>
                    <a:pt x="3038" y="10545"/>
                  </a:cubicBezTo>
                  <a:cubicBezTo>
                    <a:pt x="3206" y="11036"/>
                    <a:pt x="3544" y="11200"/>
                    <a:pt x="4050" y="11691"/>
                  </a:cubicBezTo>
                  <a:cubicBezTo>
                    <a:pt x="4388" y="12018"/>
                    <a:pt x="4725" y="12345"/>
                    <a:pt x="5400" y="12345"/>
                  </a:cubicBezTo>
                  <a:cubicBezTo>
                    <a:pt x="5738" y="12345"/>
                    <a:pt x="5906" y="12345"/>
                    <a:pt x="6244" y="12345"/>
                  </a:cubicBezTo>
                  <a:cubicBezTo>
                    <a:pt x="6581" y="12673"/>
                    <a:pt x="6750" y="13000"/>
                    <a:pt x="7088" y="13164"/>
                  </a:cubicBezTo>
                  <a:cubicBezTo>
                    <a:pt x="7594" y="13491"/>
                    <a:pt x="7763" y="13654"/>
                    <a:pt x="8100" y="14145"/>
                  </a:cubicBezTo>
                  <a:cubicBezTo>
                    <a:pt x="8269" y="14473"/>
                    <a:pt x="8775" y="14309"/>
                    <a:pt x="9113" y="14636"/>
                  </a:cubicBezTo>
                  <a:cubicBezTo>
                    <a:pt x="9281" y="14964"/>
                    <a:pt x="9281" y="15127"/>
                    <a:pt x="9450" y="15454"/>
                  </a:cubicBezTo>
                  <a:cubicBezTo>
                    <a:pt x="9450" y="15782"/>
                    <a:pt x="9788" y="15782"/>
                    <a:pt x="9956" y="15945"/>
                  </a:cubicBezTo>
                  <a:cubicBezTo>
                    <a:pt x="10294" y="16273"/>
                    <a:pt x="10631" y="16273"/>
                    <a:pt x="10969" y="16600"/>
                  </a:cubicBezTo>
                  <a:cubicBezTo>
                    <a:pt x="11475" y="17091"/>
                    <a:pt x="11812" y="17418"/>
                    <a:pt x="12319" y="17745"/>
                  </a:cubicBezTo>
                  <a:cubicBezTo>
                    <a:pt x="12825" y="18073"/>
                    <a:pt x="13162" y="18236"/>
                    <a:pt x="13669" y="18564"/>
                  </a:cubicBezTo>
                  <a:cubicBezTo>
                    <a:pt x="14006" y="18727"/>
                    <a:pt x="14344" y="18564"/>
                    <a:pt x="14681" y="18727"/>
                  </a:cubicBezTo>
                  <a:cubicBezTo>
                    <a:pt x="15019" y="19054"/>
                    <a:pt x="15187" y="19218"/>
                    <a:pt x="15525" y="19382"/>
                  </a:cubicBezTo>
                  <a:cubicBezTo>
                    <a:pt x="16875" y="20364"/>
                    <a:pt x="17719" y="20854"/>
                    <a:pt x="19406" y="21345"/>
                  </a:cubicBezTo>
                  <a:cubicBezTo>
                    <a:pt x="20925" y="21509"/>
                    <a:pt x="20925" y="21509"/>
                    <a:pt x="20925" y="21509"/>
                  </a:cubicBezTo>
                  <a:cubicBezTo>
                    <a:pt x="20925" y="21345"/>
                    <a:pt x="20925" y="21345"/>
                    <a:pt x="20756" y="21018"/>
                  </a:cubicBezTo>
                  <a:cubicBezTo>
                    <a:pt x="21600" y="15945"/>
                    <a:pt x="21600" y="15945"/>
                    <a:pt x="21600" y="15945"/>
                  </a:cubicBezTo>
                  <a:cubicBezTo>
                    <a:pt x="21600" y="15127"/>
                    <a:pt x="21431" y="14636"/>
                    <a:pt x="20925" y="13982"/>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1" name="Shape 341"/>
            <p:cNvSpPr/>
            <p:nvPr/>
          </p:nvSpPr>
          <p:spPr>
            <a:xfrm>
              <a:off x="932219" y="2129923"/>
              <a:ext cx="652863" cy="725410"/>
            </a:xfrm>
            <a:custGeom>
              <a:avLst/>
              <a:gdLst/>
              <a:ahLst/>
              <a:cxnLst>
                <a:cxn ang="0">
                  <a:pos x="wd2" y="hd2"/>
                </a:cxn>
                <a:cxn ang="5400000">
                  <a:pos x="wd2" y="hd2"/>
                </a:cxn>
                <a:cxn ang="10800000">
                  <a:pos x="wd2" y="hd2"/>
                </a:cxn>
                <a:cxn ang="16200000">
                  <a:pos x="wd2" y="hd2"/>
                </a:cxn>
              </a:cxnLst>
              <a:rect l="0" t="0" r="r" b="b"/>
              <a:pathLst>
                <a:path w="21600" h="21600" extrusionOk="0">
                  <a:moveTo>
                    <a:pt x="19066" y="14002"/>
                  </a:moveTo>
                  <a:cubicBezTo>
                    <a:pt x="19066" y="13242"/>
                    <a:pt x="19669" y="12917"/>
                    <a:pt x="19911" y="12157"/>
                  </a:cubicBezTo>
                  <a:cubicBezTo>
                    <a:pt x="20152" y="11506"/>
                    <a:pt x="19911" y="10963"/>
                    <a:pt x="20393" y="10312"/>
                  </a:cubicBezTo>
                  <a:cubicBezTo>
                    <a:pt x="20876" y="9660"/>
                    <a:pt x="21600" y="9226"/>
                    <a:pt x="21600" y="8358"/>
                  </a:cubicBezTo>
                  <a:cubicBezTo>
                    <a:pt x="21600" y="7924"/>
                    <a:pt x="21600" y="7707"/>
                    <a:pt x="21600" y="7381"/>
                  </a:cubicBezTo>
                  <a:cubicBezTo>
                    <a:pt x="20997" y="5536"/>
                    <a:pt x="20997" y="5536"/>
                    <a:pt x="20997" y="5536"/>
                  </a:cubicBezTo>
                  <a:cubicBezTo>
                    <a:pt x="21117" y="5319"/>
                    <a:pt x="21238" y="5210"/>
                    <a:pt x="21238" y="4993"/>
                  </a:cubicBezTo>
                  <a:cubicBezTo>
                    <a:pt x="21238" y="4450"/>
                    <a:pt x="21117" y="4233"/>
                    <a:pt x="20997" y="3690"/>
                  </a:cubicBezTo>
                  <a:cubicBezTo>
                    <a:pt x="19911" y="3473"/>
                    <a:pt x="19428" y="2605"/>
                    <a:pt x="18342" y="2605"/>
                  </a:cubicBezTo>
                  <a:cubicBezTo>
                    <a:pt x="17859" y="2605"/>
                    <a:pt x="17739" y="3148"/>
                    <a:pt x="17377" y="3256"/>
                  </a:cubicBezTo>
                  <a:cubicBezTo>
                    <a:pt x="17015" y="3365"/>
                    <a:pt x="16773" y="3256"/>
                    <a:pt x="16411" y="3256"/>
                  </a:cubicBezTo>
                  <a:cubicBezTo>
                    <a:pt x="15928" y="3365"/>
                    <a:pt x="15808" y="3799"/>
                    <a:pt x="15325" y="3799"/>
                  </a:cubicBezTo>
                  <a:cubicBezTo>
                    <a:pt x="14842" y="3799"/>
                    <a:pt x="14480" y="3473"/>
                    <a:pt x="14118" y="3039"/>
                  </a:cubicBezTo>
                  <a:cubicBezTo>
                    <a:pt x="13877" y="2714"/>
                    <a:pt x="13394" y="2605"/>
                    <a:pt x="13274" y="2171"/>
                  </a:cubicBezTo>
                  <a:cubicBezTo>
                    <a:pt x="13153" y="1954"/>
                    <a:pt x="13032" y="1628"/>
                    <a:pt x="12912" y="1411"/>
                  </a:cubicBezTo>
                  <a:cubicBezTo>
                    <a:pt x="12550" y="1194"/>
                    <a:pt x="12188" y="1411"/>
                    <a:pt x="11826" y="1194"/>
                  </a:cubicBezTo>
                  <a:cubicBezTo>
                    <a:pt x="11584" y="1085"/>
                    <a:pt x="11705" y="868"/>
                    <a:pt x="11584" y="543"/>
                  </a:cubicBezTo>
                  <a:cubicBezTo>
                    <a:pt x="11222" y="543"/>
                    <a:pt x="10981" y="543"/>
                    <a:pt x="10498" y="543"/>
                  </a:cubicBezTo>
                  <a:cubicBezTo>
                    <a:pt x="9895" y="543"/>
                    <a:pt x="9774" y="1085"/>
                    <a:pt x="9533" y="1628"/>
                  </a:cubicBezTo>
                  <a:cubicBezTo>
                    <a:pt x="9050" y="1411"/>
                    <a:pt x="8809" y="1085"/>
                    <a:pt x="8688" y="543"/>
                  </a:cubicBezTo>
                  <a:cubicBezTo>
                    <a:pt x="8568" y="326"/>
                    <a:pt x="8447" y="0"/>
                    <a:pt x="8085" y="0"/>
                  </a:cubicBezTo>
                  <a:cubicBezTo>
                    <a:pt x="7240" y="0"/>
                    <a:pt x="6758" y="109"/>
                    <a:pt x="6154" y="543"/>
                  </a:cubicBezTo>
                  <a:cubicBezTo>
                    <a:pt x="5792" y="760"/>
                    <a:pt x="5672" y="1194"/>
                    <a:pt x="5068" y="1194"/>
                  </a:cubicBezTo>
                  <a:cubicBezTo>
                    <a:pt x="4827" y="1194"/>
                    <a:pt x="4827" y="977"/>
                    <a:pt x="4585" y="868"/>
                  </a:cubicBezTo>
                  <a:cubicBezTo>
                    <a:pt x="3982" y="760"/>
                    <a:pt x="3741" y="543"/>
                    <a:pt x="3137" y="543"/>
                  </a:cubicBezTo>
                  <a:cubicBezTo>
                    <a:pt x="2775" y="543"/>
                    <a:pt x="2655" y="543"/>
                    <a:pt x="2293" y="543"/>
                  </a:cubicBezTo>
                  <a:cubicBezTo>
                    <a:pt x="2293" y="651"/>
                    <a:pt x="2293" y="651"/>
                    <a:pt x="2293" y="651"/>
                  </a:cubicBezTo>
                  <a:cubicBezTo>
                    <a:pt x="2293" y="977"/>
                    <a:pt x="2172" y="1194"/>
                    <a:pt x="2051" y="1411"/>
                  </a:cubicBezTo>
                  <a:cubicBezTo>
                    <a:pt x="2051" y="1411"/>
                    <a:pt x="2051" y="1411"/>
                    <a:pt x="2051" y="1411"/>
                  </a:cubicBezTo>
                  <a:cubicBezTo>
                    <a:pt x="2051" y="1520"/>
                    <a:pt x="2051" y="1520"/>
                    <a:pt x="1931" y="1520"/>
                  </a:cubicBezTo>
                  <a:cubicBezTo>
                    <a:pt x="1931" y="1628"/>
                    <a:pt x="1810" y="1737"/>
                    <a:pt x="1810" y="1845"/>
                  </a:cubicBezTo>
                  <a:cubicBezTo>
                    <a:pt x="1569" y="2062"/>
                    <a:pt x="1327" y="2171"/>
                    <a:pt x="1327" y="2388"/>
                  </a:cubicBezTo>
                  <a:cubicBezTo>
                    <a:pt x="1327" y="3148"/>
                    <a:pt x="2293" y="3473"/>
                    <a:pt x="2293" y="4125"/>
                  </a:cubicBezTo>
                  <a:cubicBezTo>
                    <a:pt x="2293" y="4450"/>
                    <a:pt x="2172" y="4559"/>
                    <a:pt x="2172" y="4776"/>
                  </a:cubicBezTo>
                  <a:cubicBezTo>
                    <a:pt x="2172" y="5210"/>
                    <a:pt x="2172" y="5427"/>
                    <a:pt x="2172" y="5753"/>
                  </a:cubicBezTo>
                  <a:cubicBezTo>
                    <a:pt x="2172" y="6295"/>
                    <a:pt x="2534" y="6621"/>
                    <a:pt x="2534" y="7164"/>
                  </a:cubicBezTo>
                  <a:cubicBezTo>
                    <a:pt x="2534" y="7272"/>
                    <a:pt x="2293" y="7381"/>
                    <a:pt x="2172" y="7381"/>
                  </a:cubicBezTo>
                  <a:cubicBezTo>
                    <a:pt x="1689" y="7598"/>
                    <a:pt x="965" y="7489"/>
                    <a:pt x="965" y="7924"/>
                  </a:cubicBezTo>
                  <a:cubicBezTo>
                    <a:pt x="965" y="8358"/>
                    <a:pt x="1327" y="8575"/>
                    <a:pt x="1327" y="8901"/>
                  </a:cubicBezTo>
                  <a:cubicBezTo>
                    <a:pt x="1327" y="9660"/>
                    <a:pt x="483" y="9877"/>
                    <a:pt x="121" y="10529"/>
                  </a:cubicBezTo>
                  <a:cubicBezTo>
                    <a:pt x="121" y="10963"/>
                    <a:pt x="121" y="11288"/>
                    <a:pt x="121" y="11723"/>
                  </a:cubicBezTo>
                  <a:cubicBezTo>
                    <a:pt x="121" y="11940"/>
                    <a:pt x="0" y="12048"/>
                    <a:pt x="0" y="12157"/>
                  </a:cubicBezTo>
                  <a:cubicBezTo>
                    <a:pt x="0" y="12699"/>
                    <a:pt x="0" y="13025"/>
                    <a:pt x="0" y="13568"/>
                  </a:cubicBezTo>
                  <a:cubicBezTo>
                    <a:pt x="0" y="13676"/>
                    <a:pt x="0" y="13676"/>
                    <a:pt x="0" y="13785"/>
                  </a:cubicBezTo>
                  <a:cubicBezTo>
                    <a:pt x="0" y="14545"/>
                    <a:pt x="845" y="14653"/>
                    <a:pt x="1569" y="15087"/>
                  </a:cubicBezTo>
                  <a:cubicBezTo>
                    <a:pt x="1810" y="15413"/>
                    <a:pt x="1810" y="15630"/>
                    <a:pt x="2051" y="15956"/>
                  </a:cubicBezTo>
                  <a:cubicBezTo>
                    <a:pt x="2413" y="16281"/>
                    <a:pt x="2896" y="16281"/>
                    <a:pt x="3137" y="16607"/>
                  </a:cubicBezTo>
                  <a:cubicBezTo>
                    <a:pt x="3499" y="17041"/>
                    <a:pt x="3620" y="17367"/>
                    <a:pt x="3620" y="17910"/>
                  </a:cubicBezTo>
                  <a:cubicBezTo>
                    <a:pt x="3017" y="21274"/>
                    <a:pt x="3017" y="21274"/>
                    <a:pt x="3017" y="21274"/>
                  </a:cubicBezTo>
                  <a:cubicBezTo>
                    <a:pt x="3137" y="21491"/>
                    <a:pt x="3137" y="21491"/>
                    <a:pt x="3137" y="21600"/>
                  </a:cubicBezTo>
                  <a:cubicBezTo>
                    <a:pt x="4465" y="21600"/>
                    <a:pt x="4465" y="21600"/>
                    <a:pt x="4465" y="21600"/>
                  </a:cubicBezTo>
                  <a:cubicBezTo>
                    <a:pt x="4706" y="21600"/>
                    <a:pt x="4706" y="21383"/>
                    <a:pt x="4947" y="21274"/>
                  </a:cubicBezTo>
                  <a:cubicBezTo>
                    <a:pt x="5189" y="21166"/>
                    <a:pt x="5309" y="21166"/>
                    <a:pt x="5551" y="21057"/>
                  </a:cubicBezTo>
                  <a:cubicBezTo>
                    <a:pt x="5672" y="20949"/>
                    <a:pt x="5792" y="21057"/>
                    <a:pt x="5913" y="20949"/>
                  </a:cubicBezTo>
                  <a:cubicBezTo>
                    <a:pt x="6275" y="20840"/>
                    <a:pt x="6516" y="20732"/>
                    <a:pt x="6878" y="20732"/>
                  </a:cubicBezTo>
                  <a:cubicBezTo>
                    <a:pt x="7482" y="20623"/>
                    <a:pt x="7602" y="20189"/>
                    <a:pt x="8206" y="19972"/>
                  </a:cubicBezTo>
                  <a:cubicBezTo>
                    <a:pt x="8447" y="19863"/>
                    <a:pt x="8688" y="19863"/>
                    <a:pt x="9050" y="19755"/>
                  </a:cubicBezTo>
                  <a:cubicBezTo>
                    <a:pt x="9292" y="19646"/>
                    <a:pt x="9292" y="19429"/>
                    <a:pt x="9533" y="19429"/>
                  </a:cubicBezTo>
                  <a:cubicBezTo>
                    <a:pt x="10016" y="19212"/>
                    <a:pt x="10378" y="19321"/>
                    <a:pt x="10860" y="19321"/>
                  </a:cubicBezTo>
                  <a:cubicBezTo>
                    <a:pt x="11343" y="19321"/>
                    <a:pt x="11464" y="19321"/>
                    <a:pt x="11946" y="19321"/>
                  </a:cubicBezTo>
                  <a:cubicBezTo>
                    <a:pt x="12308" y="19321"/>
                    <a:pt x="12670" y="19321"/>
                    <a:pt x="13153" y="19212"/>
                  </a:cubicBezTo>
                  <a:cubicBezTo>
                    <a:pt x="13636" y="19104"/>
                    <a:pt x="13998" y="18886"/>
                    <a:pt x="14601" y="18778"/>
                  </a:cubicBezTo>
                  <a:cubicBezTo>
                    <a:pt x="14842" y="18778"/>
                    <a:pt x="14963" y="18561"/>
                    <a:pt x="15204" y="18561"/>
                  </a:cubicBezTo>
                  <a:cubicBezTo>
                    <a:pt x="15446" y="18452"/>
                    <a:pt x="15687" y="18344"/>
                    <a:pt x="16049" y="18344"/>
                  </a:cubicBezTo>
                  <a:cubicBezTo>
                    <a:pt x="16291" y="18561"/>
                    <a:pt x="16170" y="18778"/>
                    <a:pt x="16411" y="18886"/>
                  </a:cubicBezTo>
                  <a:cubicBezTo>
                    <a:pt x="16894" y="19104"/>
                    <a:pt x="17256" y="18995"/>
                    <a:pt x="17859" y="18995"/>
                  </a:cubicBezTo>
                  <a:cubicBezTo>
                    <a:pt x="18101" y="18995"/>
                    <a:pt x="18101" y="18778"/>
                    <a:pt x="18221" y="18669"/>
                  </a:cubicBezTo>
                  <a:cubicBezTo>
                    <a:pt x="18342" y="18344"/>
                    <a:pt x="18463" y="18344"/>
                    <a:pt x="18825" y="18127"/>
                  </a:cubicBezTo>
                  <a:cubicBezTo>
                    <a:pt x="18825" y="18127"/>
                    <a:pt x="18825" y="18127"/>
                    <a:pt x="18825" y="18127"/>
                  </a:cubicBezTo>
                  <a:cubicBezTo>
                    <a:pt x="18825" y="18235"/>
                    <a:pt x="18825" y="18235"/>
                    <a:pt x="18825" y="18344"/>
                  </a:cubicBezTo>
                  <a:cubicBezTo>
                    <a:pt x="18945" y="18344"/>
                    <a:pt x="18945" y="18344"/>
                    <a:pt x="18945" y="18344"/>
                  </a:cubicBezTo>
                  <a:cubicBezTo>
                    <a:pt x="19187" y="18344"/>
                    <a:pt x="19307" y="18344"/>
                    <a:pt x="19549" y="18344"/>
                  </a:cubicBezTo>
                  <a:cubicBezTo>
                    <a:pt x="19669" y="18344"/>
                    <a:pt x="19669" y="18452"/>
                    <a:pt x="19790" y="18452"/>
                  </a:cubicBezTo>
                  <a:cubicBezTo>
                    <a:pt x="20031" y="18452"/>
                    <a:pt x="20152" y="18235"/>
                    <a:pt x="20152" y="18018"/>
                  </a:cubicBezTo>
                  <a:cubicBezTo>
                    <a:pt x="20152" y="16824"/>
                    <a:pt x="19066" y="16281"/>
                    <a:pt x="19066" y="14979"/>
                  </a:cubicBezTo>
                  <a:cubicBezTo>
                    <a:pt x="19066" y="14653"/>
                    <a:pt x="19066" y="14436"/>
                    <a:pt x="19066" y="14002"/>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2" name="Shape 342"/>
            <p:cNvSpPr/>
            <p:nvPr/>
          </p:nvSpPr>
          <p:spPr>
            <a:xfrm>
              <a:off x="1501736" y="2082077"/>
              <a:ext cx="506240" cy="733127"/>
            </a:xfrm>
            <a:custGeom>
              <a:avLst/>
              <a:gdLst/>
              <a:ahLst/>
              <a:cxnLst>
                <a:cxn ang="0">
                  <a:pos x="wd2" y="hd2"/>
                </a:cxn>
                <a:cxn ang="5400000">
                  <a:pos x="wd2" y="hd2"/>
                </a:cxn>
                <a:cxn ang="10800000">
                  <a:pos x="wd2" y="hd2"/>
                </a:cxn>
                <a:cxn ang="16200000">
                  <a:pos x="wd2" y="hd2"/>
                </a:cxn>
              </a:cxnLst>
              <a:rect l="0" t="0" r="r" b="b"/>
              <a:pathLst>
                <a:path w="21600" h="21600" extrusionOk="0">
                  <a:moveTo>
                    <a:pt x="19114" y="13218"/>
                  </a:moveTo>
                  <a:cubicBezTo>
                    <a:pt x="19114" y="13003"/>
                    <a:pt x="19580" y="12896"/>
                    <a:pt x="19580" y="12573"/>
                  </a:cubicBezTo>
                  <a:cubicBezTo>
                    <a:pt x="19580" y="12143"/>
                    <a:pt x="19269" y="11928"/>
                    <a:pt x="19269" y="11391"/>
                  </a:cubicBezTo>
                  <a:cubicBezTo>
                    <a:pt x="19269" y="10746"/>
                    <a:pt x="19735" y="10316"/>
                    <a:pt x="19735" y="9672"/>
                  </a:cubicBezTo>
                  <a:cubicBezTo>
                    <a:pt x="19735" y="9242"/>
                    <a:pt x="18958" y="9134"/>
                    <a:pt x="18958" y="8704"/>
                  </a:cubicBezTo>
                  <a:cubicBezTo>
                    <a:pt x="18958" y="6878"/>
                    <a:pt x="18958" y="6878"/>
                    <a:pt x="18958" y="6878"/>
                  </a:cubicBezTo>
                  <a:cubicBezTo>
                    <a:pt x="18958" y="6340"/>
                    <a:pt x="18026" y="6125"/>
                    <a:pt x="18026" y="5696"/>
                  </a:cubicBezTo>
                  <a:cubicBezTo>
                    <a:pt x="18026" y="4621"/>
                    <a:pt x="18337" y="4084"/>
                    <a:pt x="18337" y="3116"/>
                  </a:cubicBezTo>
                  <a:cubicBezTo>
                    <a:pt x="18337" y="2257"/>
                    <a:pt x="17094" y="1827"/>
                    <a:pt x="15850" y="1719"/>
                  </a:cubicBezTo>
                  <a:cubicBezTo>
                    <a:pt x="16006" y="967"/>
                    <a:pt x="16627" y="645"/>
                    <a:pt x="17560" y="322"/>
                  </a:cubicBezTo>
                  <a:cubicBezTo>
                    <a:pt x="17404" y="215"/>
                    <a:pt x="17404" y="0"/>
                    <a:pt x="17094" y="0"/>
                  </a:cubicBezTo>
                  <a:cubicBezTo>
                    <a:pt x="16627" y="0"/>
                    <a:pt x="16317" y="0"/>
                    <a:pt x="15850" y="0"/>
                  </a:cubicBezTo>
                  <a:cubicBezTo>
                    <a:pt x="14763" y="0"/>
                    <a:pt x="14296" y="430"/>
                    <a:pt x="13209" y="537"/>
                  </a:cubicBezTo>
                  <a:cubicBezTo>
                    <a:pt x="4817" y="645"/>
                    <a:pt x="4817" y="645"/>
                    <a:pt x="4817" y="645"/>
                  </a:cubicBezTo>
                  <a:cubicBezTo>
                    <a:pt x="4196" y="645"/>
                    <a:pt x="3885" y="537"/>
                    <a:pt x="3263" y="537"/>
                  </a:cubicBezTo>
                  <a:cubicBezTo>
                    <a:pt x="3263" y="967"/>
                    <a:pt x="2797" y="1182"/>
                    <a:pt x="2797" y="1504"/>
                  </a:cubicBezTo>
                  <a:cubicBezTo>
                    <a:pt x="2797" y="2257"/>
                    <a:pt x="3419" y="2687"/>
                    <a:pt x="3419" y="3439"/>
                  </a:cubicBezTo>
                  <a:cubicBezTo>
                    <a:pt x="3419" y="4084"/>
                    <a:pt x="3108" y="4513"/>
                    <a:pt x="2797" y="5051"/>
                  </a:cubicBezTo>
                  <a:cubicBezTo>
                    <a:pt x="2797" y="5051"/>
                    <a:pt x="2797" y="5051"/>
                    <a:pt x="2797" y="5051"/>
                  </a:cubicBezTo>
                  <a:cubicBezTo>
                    <a:pt x="2953" y="5588"/>
                    <a:pt x="3108" y="5803"/>
                    <a:pt x="3108" y="6340"/>
                  </a:cubicBezTo>
                  <a:cubicBezTo>
                    <a:pt x="3108" y="6555"/>
                    <a:pt x="2953" y="6663"/>
                    <a:pt x="2797" y="6878"/>
                  </a:cubicBezTo>
                  <a:cubicBezTo>
                    <a:pt x="3574" y="8704"/>
                    <a:pt x="3574" y="8704"/>
                    <a:pt x="3574" y="8704"/>
                  </a:cubicBezTo>
                  <a:cubicBezTo>
                    <a:pt x="3574" y="9027"/>
                    <a:pt x="3574" y="9242"/>
                    <a:pt x="3574" y="9672"/>
                  </a:cubicBezTo>
                  <a:cubicBezTo>
                    <a:pt x="3574" y="10531"/>
                    <a:pt x="2642" y="10961"/>
                    <a:pt x="2020" y="11606"/>
                  </a:cubicBezTo>
                  <a:cubicBezTo>
                    <a:pt x="1399" y="12251"/>
                    <a:pt x="1709" y="12788"/>
                    <a:pt x="1399" y="13433"/>
                  </a:cubicBezTo>
                  <a:cubicBezTo>
                    <a:pt x="1088" y="14185"/>
                    <a:pt x="311" y="14507"/>
                    <a:pt x="311" y="15260"/>
                  </a:cubicBezTo>
                  <a:cubicBezTo>
                    <a:pt x="311" y="15690"/>
                    <a:pt x="311" y="15904"/>
                    <a:pt x="311" y="16227"/>
                  </a:cubicBezTo>
                  <a:cubicBezTo>
                    <a:pt x="311" y="17516"/>
                    <a:pt x="1709" y="18054"/>
                    <a:pt x="1709" y="19236"/>
                  </a:cubicBezTo>
                  <a:cubicBezTo>
                    <a:pt x="1709" y="19451"/>
                    <a:pt x="1554" y="19666"/>
                    <a:pt x="1243" y="19666"/>
                  </a:cubicBezTo>
                  <a:cubicBezTo>
                    <a:pt x="932" y="19881"/>
                    <a:pt x="466" y="19773"/>
                    <a:pt x="0" y="19988"/>
                  </a:cubicBezTo>
                  <a:cubicBezTo>
                    <a:pt x="155" y="20203"/>
                    <a:pt x="466" y="20203"/>
                    <a:pt x="777" y="20203"/>
                  </a:cubicBezTo>
                  <a:cubicBezTo>
                    <a:pt x="1554" y="20525"/>
                    <a:pt x="2020" y="20525"/>
                    <a:pt x="2642" y="20848"/>
                  </a:cubicBezTo>
                  <a:cubicBezTo>
                    <a:pt x="3419" y="21063"/>
                    <a:pt x="3885" y="21170"/>
                    <a:pt x="4662" y="21385"/>
                  </a:cubicBezTo>
                  <a:cubicBezTo>
                    <a:pt x="4973" y="21385"/>
                    <a:pt x="5128" y="21600"/>
                    <a:pt x="5439" y="21600"/>
                  </a:cubicBezTo>
                  <a:cubicBezTo>
                    <a:pt x="6060" y="21600"/>
                    <a:pt x="6060" y="21600"/>
                    <a:pt x="6060" y="21600"/>
                  </a:cubicBezTo>
                  <a:cubicBezTo>
                    <a:pt x="6060" y="21600"/>
                    <a:pt x="6060" y="21493"/>
                    <a:pt x="6216" y="21493"/>
                  </a:cubicBezTo>
                  <a:cubicBezTo>
                    <a:pt x="6527" y="21385"/>
                    <a:pt x="6682" y="21278"/>
                    <a:pt x="6993" y="21170"/>
                  </a:cubicBezTo>
                  <a:cubicBezTo>
                    <a:pt x="7148" y="21063"/>
                    <a:pt x="7459" y="21063"/>
                    <a:pt x="7614" y="21063"/>
                  </a:cubicBezTo>
                  <a:cubicBezTo>
                    <a:pt x="7770" y="20848"/>
                    <a:pt x="7925" y="20740"/>
                    <a:pt x="8236" y="20740"/>
                  </a:cubicBezTo>
                  <a:cubicBezTo>
                    <a:pt x="8391" y="20740"/>
                    <a:pt x="8547" y="20848"/>
                    <a:pt x="8702" y="20848"/>
                  </a:cubicBezTo>
                  <a:cubicBezTo>
                    <a:pt x="9790" y="20848"/>
                    <a:pt x="10101" y="20310"/>
                    <a:pt x="11188" y="20203"/>
                  </a:cubicBezTo>
                  <a:cubicBezTo>
                    <a:pt x="11188" y="20203"/>
                    <a:pt x="11188" y="20203"/>
                    <a:pt x="11188" y="20203"/>
                  </a:cubicBezTo>
                  <a:cubicBezTo>
                    <a:pt x="11499" y="20203"/>
                    <a:pt x="11655" y="20096"/>
                    <a:pt x="11965" y="19988"/>
                  </a:cubicBezTo>
                  <a:cubicBezTo>
                    <a:pt x="12121" y="19881"/>
                    <a:pt x="12432" y="19773"/>
                    <a:pt x="12587" y="19666"/>
                  </a:cubicBezTo>
                  <a:cubicBezTo>
                    <a:pt x="12742" y="19666"/>
                    <a:pt x="12742" y="19558"/>
                    <a:pt x="12898" y="19558"/>
                  </a:cubicBezTo>
                  <a:cubicBezTo>
                    <a:pt x="13053" y="19558"/>
                    <a:pt x="13209" y="19558"/>
                    <a:pt x="13364" y="19558"/>
                  </a:cubicBezTo>
                  <a:cubicBezTo>
                    <a:pt x="14141" y="19558"/>
                    <a:pt x="14452" y="19236"/>
                    <a:pt x="15229" y="19021"/>
                  </a:cubicBezTo>
                  <a:cubicBezTo>
                    <a:pt x="15695" y="18913"/>
                    <a:pt x="16006" y="18806"/>
                    <a:pt x="16317" y="18699"/>
                  </a:cubicBezTo>
                  <a:cubicBezTo>
                    <a:pt x="16783" y="18591"/>
                    <a:pt x="16938" y="18376"/>
                    <a:pt x="17404" y="18376"/>
                  </a:cubicBezTo>
                  <a:cubicBezTo>
                    <a:pt x="17560" y="18376"/>
                    <a:pt x="17715" y="18484"/>
                    <a:pt x="17871" y="18484"/>
                  </a:cubicBezTo>
                  <a:cubicBezTo>
                    <a:pt x="18492" y="18484"/>
                    <a:pt x="18492" y="18484"/>
                    <a:pt x="18492" y="18484"/>
                  </a:cubicBezTo>
                  <a:cubicBezTo>
                    <a:pt x="18803" y="18484"/>
                    <a:pt x="18958" y="18376"/>
                    <a:pt x="19269" y="18269"/>
                  </a:cubicBezTo>
                  <a:cubicBezTo>
                    <a:pt x="19580" y="18161"/>
                    <a:pt x="19891" y="18269"/>
                    <a:pt x="20357" y="18161"/>
                  </a:cubicBezTo>
                  <a:cubicBezTo>
                    <a:pt x="20668" y="18054"/>
                    <a:pt x="20823" y="17839"/>
                    <a:pt x="21134" y="17731"/>
                  </a:cubicBezTo>
                  <a:cubicBezTo>
                    <a:pt x="21289" y="17731"/>
                    <a:pt x="21445" y="17624"/>
                    <a:pt x="21600" y="17624"/>
                  </a:cubicBezTo>
                  <a:cubicBezTo>
                    <a:pt x="21134" y="16334"/>
                    <a:pt x="19580" y="15904"/>
                    <a:pt x="19580" y="14615"/>
                  </a:cubicBezTo>
                  <a:cubicBezTo>
                    <a:pt x="19580" y="14293"/>
                    <a:pt x="19891" y="14078"/>
                    <a:pt x="19891" y="13755"/>
                  </a:cubicBezTo>
                  <a:cubicBezTo>
                    <a:pt x="19891" y="13433"/>
                    <a:pt x="19114" y="13540"/>
                    <a:pt x="19114" y="13218"/>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3" name="Shape 343"/>
            <p:cNvSpPr/>
            <p:nvPr/>
          </p:nvSpPr>
          <p:spPr>
            <a:xfrm>
              <a:off x="1873699" y="2092880"/>
              <a:ext cx="214535" cy="586503"/>
            </a:xfrm>
            <a:custGeom>
              <a:avLst/>
              <a:gdLst/>
              <a:ahLst/>
              <a:cxnLst>
                <a:cxn ang="0">
                  <a:pos x="wd2" y="hd2"/>
                </a:cxn>
                <a:cxn ang="5400000">
                  <a:pos x="wd2" y="hd2"/>
                </a:cxn>
                <a:cxn ang="10800000">
                  <a:pos x="wd2" y="hd2"/>
                </a:cxn>
                <a:cxn ang="16200000">
                  <a:pos x="wd2" y="hd2"/>
                </a:cxn>
              </a:cxnLst>
              <a:rect l="0" t="0" r="r" b="b"/>
              <a:pathLst>
                <a:path w="21600" h="21600" extrusionOk="0">
                  <a:moveTo>
                    <a:pt x="19769" y="18917"/>
                  </a:moveTo>
                  <a:cubicBezTo>
                    <a:pt x="19403" y="18246"/>
                    <a:pt x="18305" y="17978"/>
                    <a:pt x="18305" y="17307"/>
                  </a:cubicBezTo>
                  <a:cubicBezTo>
                    <a:pt x="18305" y="16904"/>
                    <a:pt x="18305" y="16636"/>
                    <a:pt x="18305" y="16099"/>
                  </a:cubicBezTo>
                  <a:cubicBezTo>
                    <a:pt x="18305" y="14624"/>
                    <a:pt x="19403" y="13819"/>
                    <a:pt x="19403" y="12343"/>
                  </a:cubicBezTo>
                  <a:cubicBezTo>
                    <a:pt x="19403" y="11404"/>
                    <a:pt x="19037" y="10733"/>
                    <a:pt x="18671" y="9794"/>
                  </a:cubicBezTo>
                  <a:cubicBezTo>
                    <a:pt x="17939" y="8989"/>
                    <a:pt x="17939" y="8586"/>
                    <a:pt x="16475" y="7781"/>
                  </a:cubicBezTo>
                  <a:cubicBezTo>
                    <a:pt x="16108" y="7513"/>
                    <a:pt x="15010" y="7513"/>
                    <a:pt x="15010" y="7111"/>
                  </a:cubicBezTo>
                  <a:cubicBezTo>
                    <a:pt x="15010" y="6708"/>
                    <a:pt x="15010" y="6440"/>
                    <a:pt x="15010" y="6037"/>
                  </a:cubicBezTo>
                  <a:cubicBezTo>
                    <a:pt x="15010" y="5232"/>
                    <a:pt x="15010" y="4561"/>
                    <a:pt x="13546" y="4025"/>
                  </a:cubicBezTo>
                  <a:cubicBezTo>
                    <a:pt x="12081" y="3488"/>
                    <a:pt x="10251" y="3220"/>
                    <a:pt x="10251" y="2549"/>
                  </a:cubicBezTo>
                  <a:cubicBezTo>
                    <a:pt x="10251" y="1744"/>
                    <a:pt x="12081" y="1342"/>
                    <a:pt x="12814" y="671"/>
                  </a:cubicBezTo>
                  <a:cubicBezTo>
                    <a:pt x="11349" y="671"/>
                    <a:pt x="10251" y="671"/>
                    <a:pt x="8786" y="671"/>
                  </a:cubicBezTo>
                  <a:cubicBezTo>
                    <a:pt x="7688" y="671"/>
                    <a:pt x="7688" y="268"/>
                    <a:pt x="6590" y="134"/>
                  </a:cubicBezTo>
                  <a:cubicBezTo>
                    <a:pt x="5858" y="0"/>
                    <a:pt x="5492" y="0"/>
                    <a:pt x="4393" y="0"/>
                  </a:cubicBezTo>
                  <a:cubicBezTo>
                    <a:pt x="2563" y="402"/>
                    <a:pt x="366" y="805"/>
                    <a:pt x="0" y="1744"/>
                  </a:cubicBezTo>
                  <a:cubicBezTo>
                    <a:pt x="2929" y="1878"/>
                    <a:pt x="5858" y="2415"/>
                    <a:pt x="5858" y="3488"/>
                  </a:cubicBezTo>
                  <a:cubicBezTo>
                    <a:pt x="5858" y="4696"/>
                    <a:pt x="5125" y="5366"/>
                    <a:pt x="5125" y="6708"/>
                  </a:cubicBezTo>
                  <a:cubicBezTo>
                    <a:pt x="5125" y="7245"/>
                    <a:pt x="7322" y="7513"/>
                    <a:pt x="7322" y="8184"/>
                  </a:cubicBezTo>
                  <a:cubicBezTo>
                    <a:pt x="7322" y="10465"/>
                    <a:pt x="7322" y="10465"/>
                    <a:pt x="7322" y="10465"/>
                  </a:cubicBezTo>
                  <a:cubicBezTo>
                    <a:pt x="7322" y="11001"/>
                    <a:pt x="9153" y="11135"/>
                    <a:pt x="9153" y="11672"/>
                  </a:cubicBezTo>
                  <a:cubicBezTo>
                    <a:pt x="9153" y="12477"/>
                    <a:pt x="8054" y="13014"/>
                    <a:pt x="8054" y="13819"/>
                  </a:cubicBezTo>
                  <a:cubicBezTo>
                    <a:pt x="8054" y="14489"/>
                    <a:pt x="8786" y="14758"/>
                    <a:pt x="8786" y="15294"/>
                  </a:cubicBezTo>
                  <a:cubicBezTo>
                    <a:pt x="8786" y="15697"/>
                    <a:pt x="7688" y="15831"/>
                    <a:pt x="7688" y="16099"/>
                  </a:cubicBezTo>
                  <a:cubicBezTo>
                    <a:pt x="7688" y="16502"/>
                    <a:pt x="9519" y="16368"/>
                    <a:pt x="9519" y="16770"/>
                  </a:cubicBezTo>
                  <a:cubicBezTo>
                    <a:pt x="9519" y="17173"/>
                    <a:pt x="8786" y="17441"/>
                    <a:pt x="8786" y="17843"/>
                  </a:cubicBezTo>
                  <a:cubicBezTo>
                    <a:pt x="8786" y="19453"/>
                    <a:pt x="12447" y="19990"/>
                    <a:pt x="13546" y="21600"/>
                  </a:cubicBezTo>
                  <a:cubicBezTo>
                    <a:pt x="13912" y="21466"/>
                    <a:pt x="14278" y="21466"/>
                    <a:pt x="14644" y="21466"/>
                  </a:cubicBezTo>
                  <a:cubicBezTo>
                    <a:pt x="15376" y="21332"/>
                    <a:pt x="15742" y="21466"/>
                    <a:pt x="16475" y="21332"/>
                  </a:cubicBezTo>
                  <a:cubicBezTo>
                    <a:pt x="17207" y="21332"/>
                    <a:pt x="17573" y="21063"/>
                    <a:pt x="18305" y="21063"/>
                  </a:cubicBezTo>
                  <a:cubicBezTo>
                    <a:pt x="19037" y="21063"/>
                    <a:pt x="19403" y="21063"/>
                    <a:pt x="19769" y="21063"/>
                  </a:cubicBezTo>
                  <a:cubicBezTo>
                    <a:pt x="20502" y="21063"/>
                    <a:pt x="20868" y="21063"/>
                    <a:pt x="21234" y="21063"/>
                  </a:cubicBezTo>
                  <a:cubicBezTo>
                    <a:pt x="21600" y="21063"/>
                    <a:pt x="21600" y="21063"/>
                    <a:pt x="21600" y="21063"/>
                  </a:cubicBezTo>
                  <a:cubicBezTo>
                    <a:pt x="21600" y="21063"/>
                    <a:pt x="21600" y="21063"/>
                    <a:pt x="21600" y="21063"/>
                  </a:cubicBezTo>
                  <a:cubicBezTo>
                    <a:pt x="21600" y="21063"/>
                    <a:pt x="21600" y="21063"/>
                    <a:pt x="21600" y="21063"/>
                  </a:cubicBezTo>
                  <a:cubicBezTo>
                    <a:pt x="20502" y="20258"/>
                    <a:pt x="20136" y="19722"/>
                    <a:pt x="19769" y="18917"/>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4" name="Shape 344"/>
            <p:cNvSpPr/>
            <p:nvPr/>
          </p:nvSpPr>
          <p:spPr>
            <a:xfrm>
              <a:off x="1975564" y="1964777"/>
              <a:ext cx="317943" cy="700715"/>
            </a:xfrm>
            <a:custGeom>
              <a:avLst/>
              <a:gdLst/>
              <a:ahLst/>
              <a:cxnLst>
                <a:cxn ang="0">
                  <a:pos x="wd2" y="hd2"/>
                </a:cxn>
                <a:cxn ang="5400000">
                  <a:pos x="wd2" y="hd2"/>
                </a:cxn>
                <a:cxn ang="10800000">
                  <a:pos x="wd2" y="hd2"/>
                </a:cxn>
                <a:cxn ang="16200000">
                  <a:pos x="wd2" y="hd2"/>
                </a:cxn>
              </a:cxnLst>
              <a:rect l="0" t="0" r="r" b="b"/>
              <a:pathLst>
                <a:path w="21600" h="21600" extrusionOk="0">
                  <a:moveTo>
                    <a:pt x="13903" y="20363"/>
                  </a:moveTo>
                  <a:cubicBezTo>
                    <a:pt x="13903" y="20250"/>
                    <a:pt x="13903" y="20138"/>
                    <a:pt x="13903" y="20025"/>
                  </a:cubicBezTo>
                  <a:cubicBezTo>
                    <a:pt x="13903" y="19913"/>
                    <a:pt x="14152" y="19800"/>
                    <a:pt x="14400" y="19688"/>
                  </a:cubicBezTo>
                  <a:cubicBezTo>
                    <a:pt x="14648" y="19350"/>
                    <a:pt x="14897" y="19125"/>
                    <a:pt x="14897" y="18788"/>
                  </a:cubicBezTo>
                  <a:cubicBezTo>
                    <a:pt x="14897" y="18675"/>
                    <a:pt x="14648" y="18563"/>
                    <a:pt x="14648" y="18338"/>
                  </a:cubicBezTo>
                  <a:cubicBezTo>
                    <a:pt x="14648" y="17888"/>
                    <a:pt x="14648" y="17550"/>
                    <a:pt x="14648" y="16988"/>
                  </a:cubicBezTo>
                  <a:cubicBezTo>
                    <a:pt x="14648" y="15975"/>
                    <a:pt x="13407" y="15413"/>
                    <a:pt x="13407" y="14288"/>
                  </a:cubicBezTo>
                  <a:cubicBezTo>
                    <a:pt x="13407" y="12713"/>
                    <a:pt x="14400" y="10800"/>
                    <a:pt x="17628" y="10800"/>
                  </a:cubicBezTo>
                  <a:cubicBezTo>
                    <a:pt x="17876" y="10012"/>
                    <a:pt x="17628" y="9562"/>
                    <a:pt x="18621" y="8887"/>
                  </a:cubicBezTo>
                  <a:cubicBezTo>
                    <a:pt x="18869" y="8662"/>
                    <a:pt x="19614" y="8775"/>
                    <a:pt x="20110" y="8550"/>
                  </a:cubicBezTo>
                  <a:cubicBezTo>
                    <a:pt x="20855" y="8325"/>
                    <a:pt x="21352" y="7987"/>
                    <a:pt x="21352" y="7537"/>
                  </a:cubicBezTo>
                  <a:cubicBezTo>
                    <a:pt x="21352" y="7087"/>
                    <a:pt x="20110" y="6975"/>
                    <a:pt x="20110" y="6525"/>
                  </a:cubicBezTo>
                  <a:cubicBezTo>
                    <a:pt x="20110" y="5737"/>
                    <a:pt x="21600" y="5287"/>
                    <a:pt x="21600" y="4500"/>
                  </a:cubicBezTo>
                  <a:cubicBezTo>
                    <a:pt x="21600" y="3825"/>
                    <a:pt x="20607" y="3487"/>
                    <a:pt x="20607" y="2812"/>
                  </a:cubicBezTo>
                  <a:cubicBezTo>
                    <a:pt x="20607" y="2587"/>
                    <a:pt x="21103" y="2475"/>
                    <a:pt x="21103" y="2250"/>
                  </a:cubicBezTo>
                  <a:cubicBezTo>
                    <a:pt x="19862" y="2137"/>
                    <a:pt x="18869" y="1912"/>
                    <a:pt x="18124" y="1462"/>
                  </a:cubicBezTo>
                  <a:cubicBezTo>
                    <a:pt x="17628" y="1237"/>
                    <a:pt x="17876" y="900"/>
                    <a:pt x="17379" y="787"/>
                  </a:cubicBezTo>
                  <a:cubicBezTo>
                    <a:pt x="16883" y="675"/>
                    <a:pt x="16634" y="787"/>
                    <a:pt x="16138" y="675"/>
                  </a:cubicBezTo>
                  <a:cubicBezTo>
                    <a:pt x="15393" y="562"/>
                    <a:pt x="15393" y="0"/>
                    <a:pt x="14648" y="0"/>
                  </a:cubicBezTo>
                  <a:cubicBezTo>
                    <a:pt x="13159" y="0"/>
                    <a:pt x="12662" y="787"/>
                    <a:pt x="11421" y="900"/>
                  </a:cubicBezTo>
                  <a:cubicBezTo>
                    <a:pt x="11421" y="1012"/>
                    <a:pt x="11172" y="1012"/>
                    <a:pt x="11172" y="1012"/>
                  </a:cubicBezTo>
                  <a:cubicBezTo>
                    <a:pt x="11421" y="1350"/>
                    <a:pt x="11421" y="1350"/>
                    <a:pt x="11421" y="1350"/>
                  </a:cubicBezTo>
                  <a:cubicBezTo>
                    <a:pt x="11421" y="1575"/>
                    <a:pt x="11172" y="1800"/>
                    <a:pt x="10924" y="2025"/>
                  </a:cubicBezTo>
                  <a:cubicBezTo>
                    <a:pt x="10676" y="2362"/>
                    <a:pt x="10676" y="2812"/>
                    <a:pt x="9931" y="2812"/>
                  </a:cubicBezTo>
                  <a:cubicBezTo>
                    <a:pt x="9186" y="2812"/>
                    <a:pt x="8690" y="2812"/>
                    <a:pt x="7945" y="2812"/>
                  </a:cubicBezTo>
                  <a:cubicBezTo>
                    <a:pt x="7200" y="2812"/>
                    <a:pt x="7200" y="2812"/>
                    <a:pt x="7200" y="2812"/>
                  </a:cubicBezTo>
                  <a:cubicBezTo>
                    <a:pt x="6455" y="2812"/>
                    <a:pt x="6207" y="2812"/>
                    <a:pt x="5462" y="2812"/>
                  </a:cubicBezTo>
                  <a:cubicBezTo>
                    <a:pt x="4966" y="2812"/>
                    <a:pt x="4966" y="3037"/>
                    <a:pt x="4469" y="3262"/>
                  </a:cubicBezTo>
                  <a:cubicBezTo>
                    <a:pt x="3972" y="3375"/>
                    <a:pt x="3476" y="3600"/>
                    <a:pt x="2979" y="3825"/>
                  </a:cubicBezTo>
                  <a:cubicBezTo>
                    <a:pt x="2979" y="3825"/>
                    <a:pt x="2979" y="3825"/>
                    <a:pt x="2979" y="3937"/>
                  </a:cubicBezTo>
                  <a:cubicBezTo>
                    <a:pt x="2731" y="3937"/>
                    <a:pt x="2731" y="3937"/>
                    <a:pt x="2731" y="4050"/>
                  </a:cubicBezTo>
                  <a:cubicBezTo>
                    <a:pt x="2483" y="4162"/>
                    <a:pt x="2234" y="4275"/>
                    <a:pt x="1986" y="4500"/>
                  </a:cubicBezTo>
                  <a:cubicBezTo>
                    <a:pt x="1241" y="5062"/>
                    <a:pt x="0" y="5400"/>
                    <a:pt x="0" y="6075"/>
                  </a:cubicBezTo>
                  <a:cubicBezTo>
                    <a:pt x="0" y="6637"/>
                    <a:pt x="1241" y="6862"/>
                    <a:pt x="2234" y="7312"/>
                  </a:cubicBezTo>
                  <a:cubicBezTo>
                    <a:pt x="3228" y="7762"/>
                    <a:pt x="3228" y="8325"/>
                    <a:pt x="3228" y="9000"/>
                  </a:cubicBezTo>
                  <a:cubicBezTo>
                    <a:pt x="3228" y="9337"/>
                    <a:pt x="3228" y="9562"/>
                    <a:pt x="3228" y="9900"/>
                  </a:cubicBezTo>
                  <a:cubicBezTo>
                    <a:pt x="3228" y="10237"/>
                    <a:pt x="3972" y="10237"/>
                    <a:pt x="4221" y="10462"/>
                  </a:cubicBezTo>
                  <a:cubicBezTo>
                    <a:pt x="5214" y="11138"/>
                    <a:pt x="5214" y="11475"/>
                    <a:pt x="5710" y="12150"/>
                  </a:cubicBezTo>
                  <a:cubicBezTo>
                    <a:pt x="5959" y="12938"/>
                    <a:pt x="6207" y="13500"/>
                    <a:pt x="6207" y="14288"/>
                  </a:cubicBezTo>
                  <a:cubicBezTo>
                    <a:pt x="6207" y="15525"/>
                    <a:pt x="5462" y="16200"/>
                    <a:pt x="5462" y="17438"/>
                  </a:cubicBezTo>
                  <a:cubicBezTo>
                    <a:pt x="5462" y="17888"/>
                    <a:pt x="5462" y="18113"/>
                    <a:pt x="5462" y="18450"/>
                  </a:cubicBezTo>
                  <a:cubicBezTo>
                    <a:pt x="5462" y="19013"/>
                    <a:pt x="6207" y="19238"/>
                    <a:pt x="6455" y="19800"/>
                  </a:cubicBezTo>
                  <a:cubicBezTo>
                    <a:pt x="6703" y="20475"/>
                    <a:pt x="6952" y="20925"/>
                    <a:pt x="7697" y="21600"/>
                  </a:cubicBezTo>
                  <a:cubicBezTo>
                    <a:pt x="7697" y="21600"/>
                    <a:pt x="7697" y="21600"/>
                    <a:pt x="7697" y="21600"/>
                  </a:cubicBezTo>
                  <a:cubicBezTo>
                    <a:pt x="13655" y="21263"/>
                    <a:pt x="13655" y="21263"/>
                    <a:pt x="13655" y="21263"/>
                  </a:cubicBezTo>
                  <a:cubicBezTo>
                    <a:pt x="13655" y="21150"/>
                    <a:pt x="13655" y="21150"/>
                    <a:pt x="13655" y="21150"/>
                  </a:cubicBezTo>
                  <a:cubicBezTo>
                    <a:pt x="13159" y="20813"/>
                    <a:pt x="12414" y="20813"/>
                    <a:pt x="11669" y="20700"/>
                  </a:cubicBezTo>
                  <a:cubicBezTo>
                    <a:pt x="11669" y="20250"/>
                    <a:pt x="11669" y="20250"/>
                    <a:pt x="11669" y="20250"/>
                  </a:cubicBezTo>
                  <a:cubicBezTo>
                    <a:pt x="11669" y="20250"/>
                    <a:pt x="11669" y="20250"/>
                    <a:pt x="11917" y="20250"/>
                  </a:cubicBezTo>
                  <a:cubicBezTo>
                    <a:pt x="12166" y="20250"/>
                    <a:pt x="12166" y="20363"/>
                    <a:pt x="12414" y="20475"/>
                  </a:cubicBezTo>
                  <a:cubicBezTo>
                    <a:pt x="12910" y="20475"/>
                    <a:pt x="13407" y="20475"/>
                    <a:pt x="13903" y="20475"/>
                  </a:cubicBezTo>
                  <a:cubicBezTo>
                    <a:pt x="13903" y="20475"/>
                    <a:pt x="13903" y="20475"/>
                    <a:pt x="13903" y="20475"/>
                  </a:cubicBezTo>
                  <a:cubicBezTo>
                    <a:pt x="13903" y="20363"/>
                    <a:pt x="13903" y="20363"/>
                    <a:pt x="13903" y="20363"/>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5" name="Shape 345"/>
            <p:cNvSpPr/>
            <p:nvPr/>
          </p:nvSpPr>
          <p:spPr>
            <a:xfrm>
              <a:off x="2173120" y="1793456"/>
              <a:ext cx="1325790" cy="1083484"/>
            </a:xfrm>
            <a:custGeom>
              <a:avLst/>
              <a:gdLst/>
              <a:ahLst/>
              <a:cxnLst>
                <a:cxn ang="0">
                  <a:pos x="wd2" y="hd2"/>
                </a:cxn>
                <a:cxn ang="5400000">
                  <a:pos x="wd2" y="hd2"/>
                </a:cxn>
                <a:cxn ang="10800000">
                  <a:pos x="wd2" y="hd2"/>
                </a:cxn>
                <a:cxn ang="16200000">
                  <a:pos x="wd2" y="hd2"/>
                </a:cxn>
              </a:cxnLst>
              <a:rect l="0" t="0" r="r" b="b"/>
              <a:pathLst>
                <a:path w="21600" h="21600" extrusionOk="0">
                  <a:moveTo>
                    <a:pt x="10859" y="19491"/>
                  </a:moveTo>
                  <a:cubicBezTo>
                    <a:pt x="10859" y="19273"/>
                    <a:pt x="10741" y="19127"/>
                    <a:pt x="10741" y="18836"/>
                  </a:cubicBezTo>
                  <a:cubicBezTo>
                    <a:pt x="10741" y="18327"/>
                    <a:pt x="11037" y="18109"/>
                    <a:pt x="11334" y="17818"/>
                  </a:cubicBezTo>
                  <a:cubicBezTo>
                    <a:pt x="11631" y="17455"/>
                    <a:pt x="11749" y="17236"/>
                    <a:pt x="12105" y="16945"/>
                  </a:cubicBezTo>
                  <a:cubicBezTo>
                    <a:pt x="12402" y="16655"/>
                    <a:pt x="12640" y="16509"/>
                    <a:pt x="12936" y="16073"/>
                  </a:cubicBezTo>
                  <a:cubicBezTo>
                    <a:pt x="13174" y="15855"/>
                    <a:pt x="13352" y="15636"/>
                    <a:pt x="13708" y="15636"/>
                  </a:cubicBezTo>
                  <a:cubicBezTo>
                    <a:pt x="13945" y="15636"/>
                    <a:pt x="14064" y="15782"/>
                    <a:pt x="14301" y="15782"/>
                  </a:cubicBezTo>
                  <a:cubicBezTo>
                    <a:pt x="14479" y="15782"/>
                    <a:pt x="14657" y="15636"/>
                    <a:pt x="14835" y="15636"/>
                  </a:cubicBezTo>
                  <a:cubicBezTo>
                    <a:pt x="14954" y="15636"/>
                    <a:pt x="15013" y="15782"/>
                    <a:pt x="15132" y="15855"/>
                  </a:cubicBezTo>
                  <a:cubicBezTo>
                    <a:pt x="15429" y="16145"/>
                    <a:pt x="15488" y="16509"/>
                    <a:pt x="15666" y="16945"/>
                  </a:cubicBezTo>
                  <a:cubicBezTo>
                    <a:pt x="16081" y="16727"/>
                    <a:pt x="16141" y="16291"/>
                    <a:pt x="16437" y="15782"/>
                  </a:cubicBezTo>
                  <a:cubicBezTo>
                    <a:pt x="16615" y="15345"/>
                    <a:pt x="16675" y="15055"/>
                    <a:pt x="16853" y="14545"/>
                  </a:cubicBezTo>
                  <a:cubicBezTo>
                    <a:pt x="16971" y="14255"/>
                    <a:pt x="17090" y="14109"/>
                    <a:pt x="17149" y="13745"/>
                  </a:cubicBezTo>
                  <a:cubicBezTo>
                    <a:pt x="17209" y="13382"/>
                    <a:pt x="17209" y="13091"/>
                    <a:pt x="17327" y="12800"/>
                  </a:cubicBezTo>
                  <a:cubicBezTo>
                    <a:pt x="17624" y="12218"/>
                    <a:pt x="17921" y="12000"/>
                    <a:pt x="18158" y="11418"/>
                  </a:cubicBezTo>
                  <a:cubicBezTo>
                    <a:pt x="18336" y="11055"/>
                    <a:pt x="18336" y="10836"/>
                    <a:pt x="18455" y="10473"/>
                  </a:cubicBezTo>
                  <a:cubicBezTo>
                    <a:pt x="18633" y="9964"/>
                    <a:pt x="18752" y="9673"/>
                    <a:pt x="19108" y="9309"/>
                  </a:cubicBezTo>
                  <a:cubicBezTo>
                    <a:pt x="19286" y="9091"/>
                    <a:pt x="19404" y="9164"/>
                    <a:pt x="19642" y="8945"/>
                  </a:cubicBezTo>
                  <a:cubicBezTo>
                    <a:pt x="19820" y="8800"/>
                    <a:pt x="19701" y="8509"/>
                    <a:pt x="19820" y="8291"/>
                  </a:cubicBezTo>
                  <a:cubicBezTo>
                    <a:pt x="19938" y="8000"/>
                    <a:pt x="19998" y="7855"/>
                    <a:pt x="19998" y="7491"/>
                  </a:cubicBezTo>
                  <a:cubicBezTo>
                    <a:pt x="19998" y="7127"/>
                    <a:pt x="20116" y="6982"/>
                    <a:pt x="20295" y="6691"/>
                  </a:cubicBezTo>
                  <a:cubicBezTo>
                    <a:pt x="20591" y="6255"/>
                    <a:pt x="20651" y="5964"/>
                    <a:pt x="21007" y="5745"/>
                  </a:cubicBezTo>
                  <a:cubicBezTo>
                    <a:pt x="21125" y="5673"/>
                    <a:pt x="21244" y="5673"/>
                    <a:pt x="21303" y="5527"/>
                  </a:cubicBezTo>
                  <a:cubicBezTo>
                    <a:pt x="21422" y="5309"/>
                    <a:pt x="21363" y="5091"/>
                    <a:pt x="21481" y="4873"/>
                  </a:cubicBezTo>
                  <a:cubicBezTo>
                    <a:pt x="21541" y="4655"/>
                    <a:pt x="21600" y="4509"/>
                    <a:pt x="21600" y="4291"/>
                  </a:cubicBezTo>
                  <a:cubicBezTo>
                    <a:pt x="21600" y="4000"/>
                    <a:pt x="21422" y="3927"/>
                    <a:pt x="21244" y="3782"/>
                  </a:cubicBezTo>
                  <a:cubicBezTo>
                    <a:pt x="20888" y="3273"/>
                    <a:pt x="20591" y="3200"/>
                    <a:pt x="20176" y="2836"/>
                  </a:cubicBezTo>
                  <a:cubicBezTo>
                    <a:pt x="19582" y="2400"/>
                    <a:pt x="19523" y="1673"/>
                    <a:pt x="19523" y="873"/>
                  </a:cubicBezTo>
                  <a:cubicBezTo>
                    <a:pt x="19523" y="727"/>
                    <a:pt x="19523" y="655"/>
                    <a:pt x="19523" y="582"/>
                  </a:cubicBezTo>
                  <a:cubicBezTo>
                    <a:pt x="19108" y="655"/>
                    <a:pt x="18870" y="655"/>
                    <a:pt x="18574" y="873"/>
                  </a:cubicBezTo>
                  <a:cubicBezTo>
                    <a:pt x="18514" y="945"/>
                    <a:pt x="18455" y="945"/>
                    <a:pt x="18455" y="1018"/>
                  </a:cubicBezTo>
                  <a:cubicBezTo>
                    <a:pt x="18099" y="1382"/>
                    <a:pt x="17921" y="1818"/>
                    <a:pt x="17446" y="1818"/>
                  </a:cubicBezTo>
                  <a:cubicBezTo>
                    <a:pt x="17031" y="1818"/>
                    <a:pt x="16793" y="1527"/>
                    <a:pt x="16319" y="1455"/>
                  </a:cubicBezTo>
                  <a:cubicBezTo>
                    <a:pt x="15725" y="1382"/>
                    <a:pt x="15369" y="1309"/>
                    <a:pt x="14716" y="1309"/>
                  </a:cubicBezTo>
                  <a:cubicBezTo>
                    <a:pt x="13411" y="1309"/>
                    <a:pt x="12758" y="2255"/>
                    <a:pt x="11453" y="2255"/>
                  </a:cubicBezTo>
                  <a:cubicBezTo>
                    <a:pt x="10978" y="2255"/>
                    <a:pt x="10681" y="2036"/>
                    <a:pt x="10266" y="1673"/>
                  </a:cubicBezTo>
                  <a:cubicBezTo>
                    <a:pt x="10088" y="1527"/>
                    <a:pt x="9969" y="1309"/>
                    <a:pt x="9732" y="1309"/>
                  </a:cubicBezTo>
                  <a:cubicBezTo>
                    <a:pt x="9079" y="1309"/>
                    <a:pt x="8723" y="1745"/>
                    <a:pt x="8070" y="1745"/>
                  </a:cubicBezTo>
                  <a:cubicBezTo>
                    <a:pt x="7892" y="1745"/>
                    <a:pt x="7833" y="1600"/>
                    <a:pt x="7714" y="1455"/>
                  </a:cubicBezTo>
                  <a:cubicBezTo>
                    <a:pt x="7536" y="1309"/>
                    <a:pt x="7418" y="1164"/>
                    <a:pt x="7299" y="873"/>
                  </a:cubicBezTo>
                  <a:cubicBezTo>
                    <a:pt x="7240" y="800"/>
                    <a:pt x="7180" y="655"/>
                    <a:pt x="7062" y="655"/>
                  </a:cubicBezTo>
                  <a:cubicBezTo>
                    <a:pt x="6884" y="655"/>
                    <a:pt x="6824" y="655"/>
                    <a:pt x="6646" y="655"/>
                  </a:cubicBezTo>
                  <a:cubicBezTo>
                    <a:pt x="6409" y="655"/>
                    <a:pt x="6349" y="509"/>
                    <a:pt x="6171" y="436"/>
                  </a:cubicBezTo>
                  <a:cubicBezTo>
                    <a:pt x="5875" y="364"/>
                    <a:pt x="5697" y="291"/>
                    <a:pt x="5459" y="0"/>
                  </a:cubicBezTo>
                  <a:cubicBezTo>
                    <a:pt x="4747" y="218"/>
                    <a:pt x="4747" y="218"/>
                    <a:pt x="4747" y="218"/>
                  </a:cubicBezTo>
                  <a:cubicBezTo>
                    <a:pt x="4332" y="218"/>
                    <a:pt x="4095" y="218"/>
                    <a:pt x="3738" y="218"/>
                  </a:cubicBezTo>
                  <a:cubicBezTo>
                    <a:pt x="3560" y="218"/>
                    <a:pt x="3442" y="364"/>
                    <a:pt x="3323" y="582"/>
                  </a:cubicBezTo>
                  <a:cubicBezTo>
                    <a:pt x="3145" y="873"/>
                    <a:pt x="3086" y="1091"/>
                    <a:pt x="2967" y="1527"/>
                  </a:cubicBezTo>
                  <a:cubicBezTo>
                    <a:pt x="2848" y="1891"/>
                    <a:pt x="2670" y="2109"/>
                    <a:pt x="2492" y="2473"/>
                  </a:cubicBezTo>
                  <a:cubicBezTo>
                    <a:pt x="2374" y="2691"/>
                    <a:pt x="2077" y="2691"/>
                    <a:pt x="2077" y="2909"/>
                  </a:cubicBezTo>
                  <a:cubicBezTo>
                    <a:pt x="2077" y="3127"/>
                    <a:pt x="2077" y="3200"/>
                    <a:pt x="2077" y="3345"/>
                  </a:cubicBezTo>
                  <a:cubicBezTo>
                    <a:pt x="2077" y="3855"/>
                    <a:pt x="1780" y="4073"/>
                    <a:pt x="1780" y="4509"/>
                  </a:cubicBezTo>
                  <a:cubicBezTo>
                    <a:pt x="1780" y="4582"/>
                    <a:pt x="1840" y="4727"/>
                    <a:pt x="1840" y="4873"/>
                  </a:cubicBezTo>
                  <a:cubicBezTo>
                    <a:pt x="1840" y="5018"/>
                    <a:pt x="1721" y="5091"/>
                    <a:pt x="1721" y="5236"/>
                  </a:cubicBezTo>
                  <a:cubicBezTo>
                    <a:pt x="1721" y="5673"/>
                    <a:pt x="1958" y="5891"/>
                    <a:pt x="1958" y="6327"/>
                  </a:cubicBezTo>
                  <a:cubicBezTo>
                    <a:pt x="1958" y="6836"/>
                    <a:pt x="1602" y="7127"/>
                    <a:pt x="1602" y="7636"/>
                  </a:cubicBezTo>
                  <a:cubicBezTo>
                    <a:pt x="1602" y="7927"/>
                    <a:pt x="1899" y="8000"/>
                    <a:pt x="1899" y="8291"/>
                  </a:cubicBezTo>
                  <a:cubicBezTo>
                    <a:pt x="1899" y="8582"/>
                    <a:pt x="1780" y="8800"/>
                    <a:pt x="1602" y="8945"/>
                  </a:cubicBezTo>
                  <a:cubicBezTo>
                    <a:pt x="1484" y="9091"/>
                    <a:pt x="1305" y="9018"/>
                    <a:pt x="1246" y="9164"/>
                  </a:cubicBezTo>
                  <a:cubicBezTo>
                    <a:pt x="1009" y="9600"/>
                    <a:pt x="1068" y="9891"/>
                    <a:pt x="1009" y="10400"/>
                  </a:cubicBezTo>
                  <a:cubicBezTo>
                    <a:pt x="237" y="10400"/>
                    <a:pt x="0" y="11636"/>
                    <a:pt x="0" y="12655"/>
                  </a:cubicBezTo>
                  <a:cubicBezTo>
                    <a:pt x="0" y="13382"/>
                    <a:pt x="297" y="13745"/>
                    <a:pt x="297" y="14400"/>
                  </a:cubicBezTo>
                  <a:cubicBezTo>
                    <a:pt x="297" y="14764"/>
                    <a:pt x="297" y="14982"/>
                    <a:pt x="297" y="15273"/>
                  </a:cubicBezTo>
                  <a:cubicBezTo>
                    <a:pt x="297" y="15418"/>
                    <a:pt x="356" y="15491"/>
                    <a:pt x="356" y="15564"/>
                  </a:cubicBezTo>
                  <a:cubicBezTo>
                    <a:pt x="356" y="15782"/>
                    <a:pt x="297" y="15927"/>
                    <a:pt x="237" y="16145"/>
                  </a:cubicBezTo>
                  <a:cubicBezTo>
                    <a:pt x="178" y="16218"/>
                    <a:pt x="119" y="16291"/>
                    <a:pt x="119" y="16364"/>
                  </a:cubicBezTo>
                  <a:cubicBezTo>
                    <a:pt x="119" y="16436"/>
                    <a:pt x="119" y="16509"/>
                    <a:pt x="119" y="16582"/>
                  </a:cubicBezTo>
                  <a:cubicBezTo>
                    <a:pt x="119" y="16582"/>
                    <a:pt x="119" y="16582"/>
                    <a:pt x="119" y="16655"/>
                  </a:cubicBezTo>
                  <a:cubicBezTo>
                    <a:pt x="119" y="16655"/>
                    <a:pt x="119" y="16655"/>
                    <a:pt x="178" y="16655"/>
                  </a:cubicBezTo>
                  <a:cubicBezTo>
                    <a:pt x="237" y="16655"/>
                    <a:pt x="297" y="16655"/>
                    <a:pt x="415" y="16655"/>
                  </a:cubicBezTo>
                  <a:cubicBezTo>
                    <a:pt x="593" y="16655"/>
                    <a:pt x="712" y="16800"/>
                    <a:pt x="890" y="16800"/>
                  </a:cubicBezTo>
                  <a:cubicBezTo>
                    <a:pt x="1009" y="16800"/>
                    <a:pt x="1068" y="16800"/>
                    <a:pt x="1127" y="16800"/>
                  </a:cubicBezTo>
                  <a:cubicBezTo>
                    <a:pt x="1246" y="16655"/>
                    <a:pt x="1365" y="16509"/>
                    <a:pt x="1543" y="16509"/>
                  </a:cubicBezTo>
                  <a:cubicBezTo>
                    <a:pt x="1602" y="16509"/>
                    <a:pt x="1662" y="16509"/>
                    <a:pt x="1721" y="16509"/>
                  </a:cubicBezTo>
                  <a:cubicBezTo>
                    <a:pt x="1899" y="16509"/>
                    <a:pt x="2018" y="16509"/>
                    <a:pt x="2196" y="16509"/>
                  </a:cubicBezTo>
                  <a:cubicBezTo>
                    <a:pt x="1958" y="16582"/>
                    <a:pt x="1721" y="16582"/>
                    <a:pt x="1721" y="16873"/>
                  </a:cubicBezTo>
                  <a:cubicBezTo>
                    <a:pt x="1899" y="16945"/>
                    <a:pt x="2018" y="17018"/>
                    <a:pt x="2255" y="17018"/>
                  </a:cubicBezTo>
                  <a:cubicBezTo>
                    <a:pt x="2374" y="17018"/>
                    <a:pt x="2492" y="17018"/>
                    <a:pt x="2611" y="17018"/>
                  </a:cubicBezTo>
                  <a:cubicBezTo>
                    <a:pt x="2789" y="17018"/>
                    <a:pt x="2848" y="17091"/>
                    <a:pt x="3026" y="17164"/>
                  </a:cubicBezTo>
                  <a:cubicBezTo>
                    <a:pt x="3204" y="17236"/>
                    <a:pt x="3323" y="17236"/>
                    <a:pt x="3501" y="17382"/>
                  </a:cubicBezTo>
                  <a:cubicBezTo>
                    <a:pt x="3620" y="17527"/>
                    <a:pt x="3679" y="17673"/>
                    <a:pt x="3798" y="17891"/>
                  </a:cubicBezTo>
                  <a:cubicBezTo>
                    <a:pt x="3916" y="18036"/>
                    <a:pt x="3976" y="18182"/>
                    <a:pt x="4095" y="18182"/>
                  </a:cubicBezTo>
                  <a:cubicBezTo>
                    <a:pt x="4213" y="18182"/>
                    <a:pt x="4213" y="18109"/>
                    <a:pt x="4273" y="18036"/>
                  </a:cubicBezTo>
                  <a:cubicBezTo>
                    <a:pt x="4391" y="17964"/>
                    <a:pt x="4451" y="17964"/>
                    <a:pt x="4569" y="17964"/>
                  </a:cubicBezTo>
                  <a:cubicBezTo>
                    <a:pt x="4510" y="18109"/>
                    <a:pt x="4391" y="18182"/>
                    <a:pt x="4391" y="18327"/>
                  </a:cubicBezTo>
                  <a:cubicBezTo>
                    <a:pt x="4391" y="18545"/>
                    <a:pt x="4569" y="18545"/>
                    <a:pt x="4629" y="18691"/>
                  </a:cubicBezTo>
                  <a:cubicBezTo>
                    <a:pt x="4629" y="18764"/>
                    <a:pt x="4688" y="18764"/>
                    <a:pt x="4688" y="18836"/>
                  </a:cubicBezTo>
                  <a:cubicBezTo>
                    <a:pt x="4688" y="18909"/>
                    <a:pt x="4629" y="18909"/>
                    <a:pt x="4569" y="18982"/>
                  </a:cubicBezTo>
                  <a:cubicBezTo>
                    <a:pt x="4747" y="19055"/>
                    <a:pt x="4807" y="18982"/>
                    <a:pt x="4925" y="18982"/>
                  </a:cubicBezTo>
                  <a:cubicBezTo>
                    <a:pt x="4866" y="19200"/>
                    <a:pt x="4807" y="19273"/>
                    <a:pt x="4807" y="19418"/>
                  </a:cubicBezTo>
                  <a:cubicBezTo>
                    <a:pt x="4807" y="19564"/>
                    <a:pt x="4866" y="19564"/>
                    <a:pt x="4866" y="19709"/>
                  </a:cubicBezTo>
                  <a:cubicBezTo>
                    <a:pt x="4866" y="19782"/>
                    <a:pt x="4807" y="19855"/>
                    <a:pt x="4807" y="19927"/>
                  </a:cubicBezTo>
                  <a:cubicBezTo>
                    <a:pt x="4807" y="20073"/>
                    <a:pt x="4866" y="20145"/>
                    <a:pt x="4925" y="20218"/>
                  </a:cubicBezTo>
                  <a:cubicBezTo>
                    <a:pt x="4985" y="20364"/>
                    <a:pt x="4985" y="20436"/>
                    <a:pt x="4985" y="20509"/>
                  </a:cubicBezTo>
                  <a:cubicBezTo>
                    <a:pt x="4985" y="20655"/>
                    <a:pt x="5103" y="20727"/>
                    <a:pt x="5222" y="20800"/>
                  </a:cubicBezTo>
                  <a:cubicBezTo>
                    <a:pt x="5400" y="20945"/>
                    <a:pt x="5400" y="21018"/>
                    <a:pt x="5519" y="21236"/>
                  </a:cubicBezTo>
                  <a:cubicBezTo>
                    <a:pt x="5578" y="21382"/>
                    <a:pt x="5637" y="21527"/>
                    <a:pt x="5756" y="21527"/>
                  </a:cubicBezTo>
                  <a:cubicBezTo>
                    <a:pt x="5934" y="21527"/>
                    <a:pt x="5993" y="21455"/>
                    <a:pt x="6171" y="21455"/>
                  </a:cubicBezTo>
                  <a:cubicBezTo>
                    <a:pt x="6290" y="21455"/>
                    <a:pt x="6349" y="21600"/>
                    <a:pt x="6527" y="21600"/>
                  </a:cubicBezTo>
                  <a:cubicBezTo>
                    <a:pt x="6646" y="21600"/>
                    <a:pt x="6765" y="21455"/>
                    <a:pt x="6884" y="21455"/>
                  </a:cubicBezTo>
                  <a:cubicBezTo>
                    <a:pt x="7002" y="21455"/>
                    <a:pt x="7062" y="21455"/>
                    <a:pt x="7180" y="21455"/>
                  </a:cubicBezTo>
                  <a:cubicBezTo>
                    <a:pt x="7299" y="21455"/>
                    <a:pt x="7299" y="21164"/>
                    <a:pt x="7418" y="21164"/>
                  </a:cubicBezTo>
                  <a:cubicBezTo>
                    <a:pt x="7536" y="21164"/>
                    <a:pt x="7596" y="21309"/>
                    <a:pt x="7714" y="21309"/>
                  </a:cubicBezTo>
                  <a:cubicBezTo>
                    <a:pt x="7833" y="21309"/>
                    <a:pt x="7833" y="21091"/>
                    <a:pt x="7952" y="21091"/>
                  </a:cubicBezTo>
                  <a:cubicBezTo>
                    <a:pt x="8070" y="21091"/>
                    <a:pt x="8130" y="21236"/>
                    <a:pt x="8248" y="21236"/>
                  </a:cubicBezTo>
                  <a:cubicBezTo>
                    <a:pt x="8426" y="21236"/>
                    <a:pt x="8426" y="20945"/>
                    <a:pt x="8604" y="20945"/>
                  </a:cubicBezTo>
                  <a:cubicBezTo>
                    <a:pt x="9020" y="20945"/>
                    <a:pt x="9257" y="21091"/>
                    <a:pt x="9673" y="21091"/>
                  </a:cubicBezTo>
                  <a:cubicBezTo>
                    <a:pt x="9851" y="21091"/>
                    <a:pt x="9969" y="21091"/>
                    <a:pt x="10147" y="21091"/>
                  </a:cubicBezTo>
                  <a:cubicBezTo>
                    <a:pt x="10147" y="21018"/>
                    <a:pt x="10147" y="21018"/>
                    <a:pt x="10147" y="21018"/>
                  </a:cubicBezTo>
                  <a:cubicBezTo>
                    <a:pt x="10147" y="20727"/>
                    <a:pt x="9969" y="20655"/>
                    <a:pt x="9969" y="20436"/>
                  </a:cubicBezTo>
                  <a:cubicBezTo>
                    <a:pt x="9969" y="20436"/>
                    <a:pt x="9969" y="20364"/>
                    <a:pt x="9969" y="20364"/>
                  </a:cubicBezTo>
                  <a:cubicBezTo>
                    <a:pt x="10088" y="20436"/>
                    <a:pt x="10088" y="20509"/>
                    <a:pt x="10207" y="20582"/>
                  </a:cubicBezTo>
                  <a:cubicBezTo>
                    <a:pt x="10325" y="20655"/>
                    <a:pt x="10385" y="20655"/>
                    <a:pt x="10503" y="20655"/>
                  </a:cubicBezTo>
                  <a:cubicBezTo>
                    <a:pt x="10503" y="20655"/>
                    <a:pt x="10503" y="20582"/>
                    <a:pt x="10503" y="20582"/>
                  </a:cubicBezTo>
                  <a:cubicBezTo>
                    <a:pt x="10503" y="20582"/>
                    <a:pt x="10503" y="20582"/>
                    <a:pt x="10503" y="20582"/>
                  </a:cubicBezTo>
                  <a:cubicBezTo>
                    <a:pt x="10503" y="20145"/>
                    <a:pt x="10859" y="19927"/>
                    <a:pt x="10859" y="19491"/>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6" name="Shape 346"/>
            <p:cNvSpPr/>
            <p:nvPr/>
          </p:nvSpPr>
          <p:spPr>
            <a:xfrm>
              <a:off x="3356915" y="714604"/>
              <a:ext cx="679102" cy="1852108"/>
            </a:xfrm>
            <a:custGeom>
              <a:avLst/>
              <a:gdLst/>
              <a:ahLst/>
              <a:cxnLst>
                <a:cxn ang="0">
                  <a:pos x="wd2" y="hd2"/>
                </a:cxn>
                <a:cxn ang="5400000">
                  <a:pos x="wd2" y="hd2"/>
                </a:cxn>
                <a:cxn ang="10800000">
                  <a:pos x="wd2" y="hd2"/>
                </a:cxn>
                <a:cxn ang="16200000">
                  <a:pos x="wd2" y="hd2"/>
                </a:cxn>
              </a:cxnLst>
              <a:rect l="0" t="0" r="r" b="b"/>
              <a:pathLst>
                <a:path w="21600" h="21600" extrusionOk="0">
                  <a:moveTo>
                    <a:pt x="6155" y="425"/>
                  </a:moveTo>
                  <a:cubicBezTo>
                    <a:pt x="6271" y="850"/>
                    <a:pt x="6852" y="1106"/>
                    <a:pt x="6852" y="1573"/>
                  </a:cubicBezTo>
                  <a:cubicBezTo>
                    <a:pt x="6852" y="1786"/>
                    <a:pt x="6735" y="1913"/>
                    <a:pt x="6735" y="2126"/>
                  </a:cubicBezTo>
                  <a:cubicBezTo>
                    <a:pt x="6735" y="2211"/>
                    <a:pt x="6735" y="2254"/>
                    <a:pt x="6735" y="2339"/>
                  </a:cubicBezTo>
                  <a:cubicBezTo>
                    <a:pt x="6735" y="2466"/>
                    <a:pt x="6852" y="2551"/>
                    <a:pt x="6968" y="2679"/>
                  </a:cubicBezTo>
                  <a:cubicBezTo>
                    <a:pt x="7432" y="3061"/>
                    <a:pt x="7781" y="3274"/>
                    <a:pt x="8477" y="3572"/>
                  </a:cubicBezTo>
                  <a:cubicBezTo>
                    <a:pt x="8826" y="3699"/>
                    <a:pt x="9058" y="3784"/>
                    <a:pt x="9290" y="3912"/>
                  </a:cubicBezTo>
                  <a:cubicBezTo>
                    <a:pt x="9523" y="3954"/>
                    <a:pt x="9639" y="3997"/>
                    <a:pt x="9639" y="4082"/>
                  </a:cubicBezTo>
                  <a:cubicBezTo>
                    <a:pt x="9639" y="4167"/>
                    <a:pt x="9406" y="4209"/>
                    <a:pt x="9174" y="4252"/>
                  </a:cubicBezTo>
                  <a:cubicBezTo>
                    <a:pt x="8826" y="4422"/>
                    <a:pt x="9058" y="4592"/>
                    <a:pt x="8710" y="4805"/>
                  </a:cubicBezTo>
                  <a:cubicBezTo>
                    <a:pt x="8594" y="4847"/>
                    <a:pt x="8477" y="4847"/>
                    <a:pt x="8361" y="4932"/>
                  </a:cubicBezTo>
                  <a:cubicBezTo>
                    <a:pt x="7548" y="9057"/>
                    <a:pt x="7548" y="9057"/>
                    <a:pt x="7548" y="9057"/>
                  </a:cubicBezTo>
                  <a:cubicBezTo>
                    <a:pt x="1277" y="11055"/>
                    <a:pt x="1277" y="11055"/>
                    <a:pt x="1277" y="11055"/>
                  </a:cubicBezTo>
                  <a:cubicBezTo>
                    <a:pt x="1161" y="11098"/>
                    <a:pt x="1045" y="11140"/>
                    <a:pt x="1045" y="11225"/>
                  </a:cubicBezTo>
                  <a:cubicBezTo>
                    <a:pt x="1045" y="11353"/>
                    <a:pt x="1161" y="11395"/>
                    <a:pt x="1161" y="11523"/>
                  </a:cubicBezTo>
                  <a:cubicBezTo>
                    <a:pt x="1161" y="11820"/>
                    <a:pt x="0" y="11863"/>
                    <a:pt x="0" y="12161"/>
                  </a:cubicBezTo>
                  <a:cubicBezTo>
                    <a:pt x="0" y="12458"/>
                    <a:pt x="348" y="12628"/>
                    <a:pt x="465" y="12883"/>
                  </a:cubicBezTo>
                  <a:cubicBezTo>
                    <a:pt x="465" y="12883"/>
                    <a:pt x="465" y="12883"/>
                    <a:pt x="581" y="12926"/>
                  </a:cubicBezTo>
                  <a:cubicBezTo>
                    <a:pt x="1394" y="13096"/>
                    <a:pt x="1974" y="13096"/>
                    <a:pt x="2903" y="13266"/>
                  </a:cubicBezTo>
                  <a:cubicBezTo>
                    <a:pt x="3832" y="13394"/>
                    <a:pt x="4297" y="13606"/>
                    <a:pt x="4645" y="13989"/>
                  </a:cubicBezTo>
                  <a:cubicBezTo>
                    <a:pt x="4877" y="14244"/>
                    <a:pt x="4761" y="14414"/>
                    <a:pt x="5226" y="14627"/>
                  </a:cubicBezTo>
                  <a:cubicBezTo>
                    <a:pt x="5458" y="14797"/>
                    <a:pt x="5923" y="14839"/>
                    <a:pt x="6155" y="14967"/>
                  </a:cubicBezTo>
                  <a:cubicBezTo>
                    <a:pt x="6619" y="15180"/>
                    <a:pt x="6735" y="15350"/>
                    <a:pt x="6735" y="15605"/>
                  </a:cubicBezTo>
                  <a:cubicBezTo>
                    <a:pt x="6735" y="15775"/>
                    <a:pt x="6735" y="15902"/>
                    <a:pt x="6735" y="16072"/>
                  </a:cubicBezTo>
                  <a:cubicBezTo>
                    <a:pt x="8361" y="17816"/>
                    <a:pt x="8361" y="17816"/>
                    <a:pt x="8361" y="17816"/>
                  </a:cubicBezTo>
                  <a:cubicBezTo>
                    <a:pt x="7897" y="17816"/>
                    <a:pt x="7781" y="17816"/>
                    <a:pt x="7316" y="17816"/>
                  </a:cubicBezTo>
                  <a:cubicBezTo>
                    <a:pt x="6852" y="17816"/>
                    <a:pt x="6619" y="17688"/>
                    <a:pt x="6271" y="17688"/>
                  </a:cubicBezTo>
                  <a:cubicBezTo>
                    <a:pt x="5923" y="17688"/>
                    <a:pt x="5690" y="17688"/>
                    <a:pt x="5342" y="17688"/>
                  </a:cubicBezTo>
                  <a:cubicBezTo>
                    <a:pt x="4645" y="17688"/>
                    <a:pt x="4065" y="17773"/>
                    <a:pt x="3600" y="17986"/>
                  </a:cubicBezTo>
                  <a:cubicBezTo>
                    <a:pt x="3368" y="18113"/>
                    <a:pt x="3019" y="18198"/>
                    <a:pt x="3019" y="18326"/>
                  </a:cubicBezTo>
                  <a:cubicBezTo>
                    <a:pt x="3019" y="18539"/>
                    <a:pt x="3368" y="18624"/>
                    <a:pt x="3716" y="18751"/>
                  </a:cubicBezTo>
                  <a:cubicBezTo>
                    <a:pt x="4065" y="18879"/>
                    <a:pt x="4065" y="19006"/>
                    <a:pt x="4297" y="19134"/>
                  </a:cubicBezTo>
                  <a:cubicBezTo>
                    <a:pt x="4994" y="19474"/>
                    <a:pt x="5574" y="19602"/>
                    <a:pt x="6503" y="19772"/>
                  </a:cubicBezTo>
                  <a:cubicBezTo>
                    <a:pt x="7665" y="19984"/>
                    <a:pt x="8361" y="20324"/>
                    <a:pt x="8361" y="20792"/>
                  </a:cubicBezTo>
                  <a:cubicBezTo>
                    <a:pt x="8361" y="21090"/>
                    <a:pt x="8013" y="21302"/>
                    <a:pt x="7781" y="21600"/>
                  </a:cubicBezTo>
                  <a:cubicBezTo>
                    <a:pt x="8129" y="21600"/>
                    <a:pt x="8361" y="21600"/>
                    <a:pt x="8710" y="21600"/>
                  </a:cubicBezTo>
                  <a:cubicBezTo>
                    <a:pt x="9523" y="21600"/>
                    <a:pt x="9755" y="21302"/>
                    <a:pt x="10452" y="21090"/>
                  </a:cubicBezTo>
                  <a:cubicBezTo>
                    <a:pt x="10684" y="21175"/>
                    <a:pt x="10916" y="21217"/>
                    <a:pt x="11148" y="21260"/>
                  </a:cubicBezTo>
                  <a:cubicBezTo>
                    <a:pt x="11381" y="21345"/>
                    <a:pt x="11381" y="21515"/>
                    <a:pt x="11729" y="21515"/>
                  </a:cubicBezTo>
                  <a:cubicBezTo>
                    <a:pt x="12077" y="21515"/>
                    <a:pt x="12077" y="21345"/>
                    <a:pt x="12194" y="21217"/>
                  </a:cubicBezTo>
                  <a:cubicBezTo>
                    <a:pt x="12310" y="21090"/>
                    <a:pt x="12658" y="21090"/>
                    <a:pt x="12890" y="21047"/>
                  </a:cubicBezTo>
                  <a:cubicBezTo>
                    <a:pt x="13587" y="20962"/>
                    <a:pt x="13819" y="20835"/>
                    <a:pt x="14516" y="20750"/>
                  </a:cubicBezTo>
                  <a:cubicBezTo>
                    <a:pt x="15794" y="20580"/>
                    <a:pt x="16374" y="20494"/>
                    <a:pt x="17535" y="20282"/>
                  </a:cubicBezTo>
                  <a:cubicBezTo>
                    <a:pt x="18813" y="20027"/>
                    <a:pt x="19510" y="19899"/>
                    <a:pt x="20671" y="19602"/>
                  </a:cubicBezTo>
                  <a:cubicBezTo>
                    <a:pt x="21135" y="19474"/>
                    <a:pt x="21135" y="19261"/>
                    <a:pt x="21600" y="19176"/>
                  </a:cubicBezTo>
                  <a:cubicBezTo>
                    <a:pt x="21600" y="2169"/>
                    <a:pt x="21600" y="2169"/>
                    <a:pt x="21600" y="2169"/>
                  </a:cubicBezTo>
                  <a:cubicBezTo>
                    <a:pt x="9290" y="0"/>
                    <a:pt x="9290" y="0"/>
                    <a:pt x="9290" y="0"/>
                  </a:cubicBezTo>
                  <a:lnTo>
                    <a:pt x="6155" y="425"/>
                  </a:ln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7" name="Shape 347"/>
            <p:cNvSpPr/>
            <p:nvPr/>
          </p:nvSpPr>
          <p:spPr>
            <a:xfrm>
              <a:off x="2909327" y="3106909"/>
              <a:ext cx="222252" cy="138909"/>
            </a:xfrm>
            <a:custGeom>
              <a:avLst/>
              <a:gdLst/>
              <a:ahLst/>
              <a:cxnLst>
                <a:cxn ang="0">
                  <a:pos x="wd2" y="hd2"/>
                </a:cxn>
                <a:cxn ang="5400000">
                  <a:pos x="wd2" y="hd2"/>
                </a:cxn>
                <a:cxn ang="10800000">
                  <a:pos x="wd2" y="hd2"/>
                </a:cxn>
                <a:cxn ang="16200000">
                  <a:pos x="wd2" y="hd2"/>
                </a:cxn>
              </a:cxnLst>
              <a:rect l="0" t="0" r="r" b="b"/>
              <a:pathLst>
                <a:path w="21600" h="21600" extrusionOk="0">
                  <a:moveTo>
                    <a:pt x="14872" y="2842"/>
                  </a:moveTo>
                  <a:cubicBezTo>
                    <a:pt x="14164" y="2842"/>
                    <a:pt x="13810" y="2274"/>
                    <a:pt x="12748" y="2274"/>
                  </a:cubicBezTo>
                  <a:cubicBezTo>
                    <a:pt x="11331" y="2274"/>
                    <a:pt x="10269" y="2274"/>
                    <a:pt x="8852" y="2274"/>
                  </a:cubicBezTo>
                  <a:cubicBezTo>
                    <a:pt x="7082" y="2274"/>
                    <a:pt x="6728" y="1137"/>
                    <a:pt x="5311" y="0"/>
                  </a:cubicBezTo>
                  <a:cubicBezTo>
                    <a:pt x="5311" y="568"/>
                    <a:pt x="5311" y="568"/>
                    <a:pt x="4957" y="1137"/>
                  </a:cubicBezTo>
                  <a:cubicBezTo>
                    <a:pt x="4603" y="1705"/>
                    <a:pt x="4249" y="2274"/>
                    <a:pt x="3895" y="3411"/>
                  </a:cubicBezTo>
                  <a:cubicBezTo>
                    <a:pt x="4249" y="5684"/>
                    <a:pt x="4249" y="5684"/>
                    <a:pt x="4249" y="5684"/>
                  </a:cubicBezTo>
                  <a:cubicBezTo>
                    <a:pt x="4249" y="6253"/>
                    <a:pt x="3895" y="6821"/>
                    <a:pt x="3895" y="7389"/>
                  </a:cubicBezTo>
                  <a:cubicBezTo>
                    <a:pt x="3541" y="8526"/>
                    <a:pt x="3895" y="9095"/>
                    <a:pt x="3541" y="10232"/>
                  </a:cubicBezTo>
                  <a:cubicBezTo>
                    <a:pt x="3187" y="11368"/>
                    <a:pt x="2479" y="11937"/>
                    <a:pt x="1770" y="13074"/>
                  </a:cubicBezTo>
                  <a:cubicBezTo>
                    <a:pt x="354" y="14779"/>
                    <a:pt x="0" y="17053"/>
                    <a:pt x="0" y="19895"/>
                  </a:cubicBezTo>
                  <a:cubicBezTo>
                    <a:pt x="0" y="20463"/>
                    <a:pt x="354" y="20463"/>
                    <a:pt x="354" y="21032"/>
                  </a:cubicBezTo>
                  <a:cubicBezTo>
                    <a:pt x="2479" y="21032"/>
                    <a:pt x="2479" y="21032"/>
                    <a:pt x="2479" y="21032"/>
                  </a:cubicBezTo>
                  <a:cubicBezTo>
                    <a:pt x="2479" y="21600"/>
                    <a:pt x="2479" y="21600"/>
                    <a:pt x="2479" y="21600"/>
                  </a:cubicBezTo>
                  <a:cubicBezTo>
                    <a:pt x="21600" y="21600"/>
                    <a:pt x="21600" y="21600"/>
                    <a:pt x="21600" y="21600"/>
                  </a:cubicBezTo>
                  <a:cubicBezTo>
                    <a:pt x="21600" y="2842"/>
                    <a:pt x="21600" y="2842"/>
                    <a:pt x="21600" y="2842"/>
                  </a:cubicBezTo>
                  <a:cubicBezTo>
                    <a:pt x="18767" y="2842"/>
                    <a:pt x="17705" y="2842"/>
                    <a:pt x="14872" y="2842"/>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8" name="Shape 348"/>
            <p:cNvSpPr/>
            <p:nvPr/>
          </p:nvSpPr>
          <p:spPr>
            <a:xfrm>
              <a:off x="3506626" y="2358350"/>
              <a:ext cx="529391" cy="668303"/>
            </a:xfrm>
            <a:custGeom>
              <a:avLst/>
              <a:gdLst/>
              <a:ahLst/>
              <a:cxnLst>
                <a:cxn ang="0">
                  <a:pos x="wd2" y="hd2"/>
                </a:cxn>
                <a:cxn ang="5400000">
                  <a:pos x="wd2" y="hd2"/>
                </a:cxn>
                <a:cxn ang="10800000">
                  <a:pos x="wd2" y="hd2"/>
                </a:cxn>
                <a:cxn ang="16200000">
                  <a:pos x="wd2" y="hd2"/>
                </a:cxn>
              </a:cxnLst>
              <a:rect l="0" t="0" r="r" b="b"/>
              <a:pathLst>
                <a:path w="21600" h="21600" extrusionOk="0">
                  <a:moveTo>
                    <a:pt x="20408" y="1180"/>
                  </a:moveTo>
                  <a:cubicBezTo>
                    <a:pt x="18919" y="2007"/>
                    <a:pt x="18025" y="2361"/>
                    <a:pt x="16386" y="3069"/>
                  </a:cubicBezTo>
                  <a:cubicBezTo>
                    <a:pt x="14897" y="3659"/>
                    <a:pt x="14152" y="3895"/>
                    <a:pt x="12513" y="4367"/>
                  </a:cubicBezTo>
                  <a:cubicBezTo>
                    <a:pt x="11619" y="4603"/>
                    <a:pt x="11321" y="4957"/>
                    <a:pt x="10428" y="5193"/>
                  </a:cubicBezTo>
                  <a:cubicBezTo>
                    <a:pt x="10130" y="5311"/>
                    <a:pt x="9683" y="5311"/>
                    <a:pt x="9534" y="5666"/>
                  </a:cubicBezTo>
                  <a:cubicBezTo>
                    <a:pt x="9385" y="6020"/>
                    <a:pt x="9385" y="6492"/>
                    <a:pt x="8938" y="6492"/>
                  </a:cubicBezTo>
                  <a:cubicBezTo>
                    <a:pt x="8491" y="6492"/>
                    <a:pt x="8491" y="6020"/>
                    <a:pt x="8193" y="5784"/>
                  </a:cubicBezTo>
                  <a:cubicBezTo>
                    <a:pt x="7895" y="5666"/>
                    <a:pt x="7597" y="5548"/>
                    <a:pt x="7299" y="5311"/>
                  </a:cubicBezTo>
                  <a:cubicBezTo>
                    <a:pt x="6406" y="5902"/>
                    <a:pt x="6108" y="6728"/>
                    <a:pt x="5065" y="6728"/>
                  </a:cubicBezTo>
                  <a:cubicBezTo>
                    <a:pt x="4618" y="6728"/>
                    <a:pt x="4320" y="6728"/>
                    <a:pt x="3873" y="6728"/>
                  </a:cubicBezTo>
                  <a:cubicBezTo>
                    <a:pt x="3873" y="6728"/>
                    <a:pt x="3873" y="6728"/>
                    <a:pt x="3873" y="6728"/>
                  </a:cubicBezTo>
                  <a:cubicBezTo>
                    <a:pt x="3575" y="7318"/>
                    <a:pt x="3426" y="7672"/>
                    <a:pt x="2979" y="8144"/>
                  </a:cubicBezTo>
                  <a:cubicBezTo>
                    <a:pt x="2830" y="8498"/>
                    <a:pt x="2383" y="8616"/>
                    <a:pt x="2383" y="8852"/>
                  </a:cubicBezTo>
                  <a:cubicBezTo>
                    <a:pt x="2383" y="9207"/>
                    <a:pt x="2383" y="9443"/>
                    <a:pt x="2383" y="9797"/>
                  </a:cubicBezTo>
                  <a:cubicBezTo>
                    <a:pt x="2383" y="10151"/>
                    <a:pt x="1937" y="10151"/>
                    <a:pt x="1639" y="10505"/>
                  </a:cubicBezTo>
                  <a:cubicBezTo>
                    <a:pt x="1192" y="10977"/>
                    <a:pt x="1043" y="11449"/>
                    <a:pt x="745" y="12039"/>
                  </a:cubicBezTo>
                  <a:cubicBezTo>
                    <a:pt x="447" y="12630"/>
                    <a:pt x="0" y="12866"/>
                    <a:pt x="0" y="13456"/>
                  </a:cubicBezTo>
                  <a:cubicBezTo>
                    <a:pt x="0" y="14282"/>
                    <a:pt x="596" y="14754"/>
                    <a:pt x="1192" y="15580"/>
                  </a:cubicBezTo>
                  <a:cubicBezTo>
                    <a:pt x="1937" y="16643"/>
                    <a:pt x="2234" y="17351"/>
                    <a:pt x="2830" y="18531"/>
                  </a:cubicBezTo>
                  <a:cubicBezTo>
                    <a:pt x="3724" y="20420"/>
                    <a:pt x="5363" y="21482"/>
                    <a:pt x="7746" y="21600"/>
                  </a:cubicBezTo>
                  <a:cubicBezTo>
                    <a:pt x="7895" y="21600"/>
                    <a:pt x="7895" y="21600"/>
                    <a:pt x="8044" y="21600"/>
                  </a:cubicBezTo>
                  <a:cubicBezTo>
                    <a:pt x="8491" y="21600"/>
                    <a:pt x="8640" y="21246"/>
                    <a:pt x="8938" y="20892"/>
                  </a:cubicBezTo>
                  <a:cubicBezTo>
                    <a:pt x="9236" y="20420"/>
                    <a:pt x="9534" y="20184"/>
                    <a:pt x="10130" y="19830"/>
                  </a:cubicBezTo>
                  <a:cubicBezTo>
                    <a:pt x="11172" y="19357"/>
                    <a:pt x="11768" y="19121"/>
                    <a:pt x="12960" y="19121"/>
                  </a:cubicBezTo>
                  <a:cubicBezTo>
                    <a:pt x="13705" y="19121"/>
                    <a:pt x="14152" y="19121"/>
                    <a:pt x="14897" y="19121"/>
                  </a:cubicBezTo>
                  <a:cubicBezTo>
                    <a:pt x="15194" y="19121"/>
                    <a:pt x="15343" y="19121"/>
                    <a:pt x="15641" y="19121"/>
                  </a:cubicBezTo>
                  <a:cubicBezTo>
                    <a:pt x="16088" y="19121"/>
                    <a:pt x="16237" y="19357"/>
                    <a:pt x="16684" y="19475"/>
                  </a:cubicBezTo>
                  <a:cubicBezTo>
                    <a:pt x="17280" y="19593"/>
                    <a:pt x="17578" y="19357"/>
                    <a:pt x="18025" y="19593"/>
                  </a:cubicBezTo>
                  <a:cubicBezTo>
                    <a:pt x="18472" y="19239"/>
                    <a:pt x="18621" y="18885"/>
                    <a:pt x="18621" y="18413"/>
                  </a:cubicBezTo>
                  <a:cubicBezTo>
                    <a:pt x="18621" y="17705"/>
                    <a:pt x="18621" y="17351"/>
                    <a:pt x="18621" y="16761"/>
                  </a:cubicBezTo>
                  <a:cubicBezTo>
                    <a:pt x="18621" y="15816"/>
                    <a:pt x="19366" y="15344"/>
                    <a:pt x="20259" y="14754"/>
                  </a:cubicBezTo>
                  <a:cubicBezTo>
                    <a:pt x="21004" y="14282"/>
                    <a:pt x="20855" y="13692"/>
                    <a:pt x="21600" y="13338"/>
                  </a:cubicBezTo>
                  <a:cubicBezTo>
                    <a:pt x="21600" y="0"/>
                    <a:pt x="21600" y="0"/>
                    <a:pt x="21600" y="0"/>
                  </a:cubicBezTo>
                  <a:cubicBezTo>
                    <a:pt x="21004" y="236"/>
                    <a:pt x="21004" y="826"/>
                    <a:pt x="20408" y="118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49" name="Shape 349"/>
            <p:cNvSpPr/>
            <p:nvPr/>
          </p:nvSpPr>
          <p:spPr>
            <a:xfrm>
              <a:off x="2861481" y="3109996"/>
              <a:ext cx="634342" cy="692998"/>
            </a:xfrm>
            <a:custGeom>
              <a:avLst/>
              <a:gdLst/>
              <a:ahLst/>
              <a:cxnLst>
                <a:cxn ang="0">
                  <a:pos x="wd2" y="hd2"/>
                </a:cxn>
                <a:cxn ang="5400000">
                  <a:pos x="wd2" y="hd2"/>
                </a:cxn>
                <a:cxn ang="10800000">
                  <a:pos x="wd2" y="hd2"/>
                </a:cxn>
                <a:cxn ang="16200000">
                  <a:pos x="wd2" y="hd2"/>
                </a:cxn>
              </a:cxnLst>
              <a:rect l="0" t="0" r="r" b="b"/>
              <a:pathLst>
                <a:path w="21600" h="21600" extrusionOk="0">
                  <a:moveTo>
                    <a:pt x="11172" y="20349"/>
                  </a:moveTo>
                  <a:cubicBezTo>
                    <a:pt x="11297" y="20349"/>
                    <a:pt x="11297" y="20349"/>
                    <a:pt x="11421" y="20236"/>
                  </a:cubicBezTo>
                  <a:cubicBezTo>
                    <a:pt x="11421" y="17735"/>
                    <a:pt x="11421" y="17735"/>
                    <a:pt x="11421" y="17735"/>
                  </a:cubicBezTo>
                  <a:cubicBezTo>
                    <a:pt x="10924" y="17735"/>
                    <a:pt x="10428" y="17507"/>
                    <a:pt x="10428" y="17053"/>
                  </a:cubicBezTo>
                  <a:cubicBezTo>
                    <a:pt x="10428" y="16484"/>
                    <a:pt x="11048" y="16484"/>
                    <a:pt x="11669" y="16371"/>
                  </a:cubicBezTo>
                  <a:cubicBezTo>
                    <a:pt x="12414" y="16029"/>
                    <a:pt x="13034" y="15916"/>
                    <a:pt x="13903" y="15688"/>
                  </a:cubicBezTo>
                  <a:cubicBezTo>
                    <a:pt x="13779" y="15234"/>
                    <a:pt x="13531" y="15006"/>
                    <a:pt x="13531" y="14552"/>
                  </a:cubicBezTo>
                  <a:cubicBezTo>
                    <a:pt x="13531" y="14211"/>
                    <a:pt x="14028" y="14211"/>
                    <a:pt x="14276" y="14211"/>
                  </a:cubicBezTo>
                  <a:cubicBezTo>
                    <a:pt x="14897" y="14211"/>
                    <a:pt x="15145" y="14552"/>
                    <a:pt x="15517" y="14893"/>
                  </a:cubicBezTo>
                  <a:cubicBezTo>
                    <a:pt x="15766" y="15120"/>
                    <a:pt x="16014" y="15347"/>
                    <a:pt x="16014" y="15688"/>
                  </a:cubicBezTo>
                  <a:cubicBezTo>
                    <a:pt x="16138" y="15688"/>
                    <a:pt x="16138" y="15802"/>
                    <a:pt x="16262" y="15802"/>
                  </a:cubicBezTo>
                  <a:cubicBezTo>
                    <a:pt x="16510" y="15802"/>
                    <a:pt x="16634" y="15688"/>
                    <a:pt x="16883" y="15688"/>
                  </a:cubicBezTo>
                  <a:cubicBezTo>
                    <a:pt x="17255" y="15688"/>
                    <a:pt x="17503" y="15688"/>
                    <a:pt x="17752" y="15688"/>
                  </a:cubicBezTo>
                  <a:cubicBezTo>
                    <a:pt x="18000" y="15688"/>
                    <a:pt x="18124" y="15916"/>
                    <a:pt x="18248" y="15916"/>
                  </a:cubicBezTo>
                  <a:cubicBezTo>
                    <a:pt x="18621" y="15916"/>
                    <a:pt x="18621" y="15234"/>
                    <a:pt x="18993" y="15234"/>
                  </a:cubicBezTo>
                  <a:cubicBezTo>
                    <a:pt x="19614" y="15234"/>
                    <a:pt x="19738" y="16143"/>
                    <a:pt x="20483" y="16143"/>
                  </a:cubicBezTo>
                  <a:cubicBezTo>
                    <a:pt x="20855" y="16143"/>
                    <a:pt x="20731" y="15688"/>
                    <a:pt x="20855" y="15347"/>
                  </a:cubicBezTo>
                  <a:cubicBezTo>
                    <a:pt x="21103" y="15006"/>
                    <a:pt x="21476" y="14893"/>
                    <a:pt x="21476" y="14438"/>
                  </a:cubicBezTo>
                  <a:cubicBezTo>
                    <a:pt x="21476" y="14097"/>
                    <a:pt x="21228" y="13869"/>
                    <a:pt x="21228" y="13528"/>
                  </a:cubicBezTo>
                  <a:cubicBezTo>
                    <a:pt x="21228" y="13187"/>
                    <a:pt x="21600" y="13074"/>
                    <a:pt x="21600" y="12846"/>
                  </a:cubicBezTo>
                  <a:cubicBezTo>
                    <a:pt x="21600" y="11823"/>
                    <a:pt x="21600" y="11255"/>
                    <a:pt x="21352" y="10232"/>
                  </a:cubicBezTo>
                  <a:cubicBezTo>
                    <a:pt x="21352" y="9777"/>
                    <a:pt x="21228" y="9436"/>
                    <a:pt x="20855" y="9095"/>
                  </a:cubicBezTo>
                  <a:cubicBezTo>
                    <a:pt x="20359" y="8754"/>
                    <a:pt x="19366" y="8867"/>
                    <a:pt x="19366" y="8299"/>
                  </a:cubicBezTo>
                  <a:cubicBezTo>
                    <a:pt x="19366" y="7844"/>
                    <a:pt x="20110" y="7844"/>
                    <a:pt x="20110" y="7389"/>
                  </a:cubicBezTo>
                  <a:cubicBezTo>
                    <a:pt x="20110" y="6253"/>
                    <a:pt x="20110" y="6253"/>
                    <a:pt x="20110" y="6253"/>
                  </a:cubicBezTo>
                  <a:cubicBezTo>
                    <a:pt x="20110" y="5912"/>
                    <a:pt x="20359" y="5912"/>
                    <a:pt x="20607" y="5684"/>
                  </a:cubicBezTo>
                  <a:cubicBezTo>
                    <a:pt x="20855" y="5229"/>
                    <a:pt x="20855" y="5002"/>
                    <a:pt x="21103" y="4547"/>
                  </a:cubicBezTo>
                  <a:cubicBezTo>
                    <a:pt x="21228" y="4206"/>
                    <a:pt x="21476" y="3979"/>
                    <a:pt x="21476" y="3411"/>
                  </a:cubicBezTo>
                  <a:cubicBezTo>
                    <a:pt x="21476" y="2956"/>
                    <a:pt x="20855" y="2842"/>
                    <a:pt x="20359" y="2842"/>
                  </a:cubicBezTo>
                  <a:cubicBezTo>
                    <a:pt x="19862" y="2842"/>
                    <a:pt x="19614" y="2842"/>
                    <a:pt x="19241" y="3069"/>
                  </a:cubicBezTo>
                  <a:cubicBezTo>
                    <a:pt x="18869" y="3183"/>
                    <a:pt x="18745" y="3524"/>
                    <a:pt x="18372" y="3524"/>
                  </a:cubicBezTo>
                  <a:cubicBezTo>
                    <a:pt x="18000" y="3524"/>
                    <a:pt x="17876" y="3183"/>
                    <a:pt x="17503" y="3183"/>
                  </a:cubicBezTo>
                  <a:cubicBezTo>
                    <a:pt x="17131" y="3183"/>
                    <a:pt x="17255" y="3638"/>
                    <a:pt x="16883" y="3638"/>
                  </a:cubicBezTo>
                  <a:cubicBezTo>
                    <a:pt x="16634" y="3638"/>
                    <a:pt x="16510" y="3297"/>
                    <a:pt x="16386" y="2956"/>
                  </a:cubicBezTo>
                  <a:cubicBezTo>
                    <a:pt x="16386" y="2501"/>
                    <a:pt x="16262" y="2160"/>
                    <a:pt x="16262" y="1705"/>
                  </a:cubicBezTo>
                  <a:cubicBezTo>
                    <a:pt x="16262" y="1137"/>
                    <a:pt x="16634" y="909"/>
                    <a:pt x="16759" y="341"/>
                  </a:cubicBezTo>
                  <a:cubicBezTo>
                    <a:pt x="15641" y="341"/>
                    <a:pt x="15641" y="341"/>
                    <a:pt x="15641" y="341"/>
                  </a:cubicBezTo>
                  <a:cubicBezTo>
                    <a:pt x="15021" y="341"/>
                    <a:pt x="14772" y="0"/>
                    <a:pt x="14028" y="0"/>
                  </a:cubicBezTo>
                  <a:cubicBezTo>
                    <a:pt x="13283" y="0"/>
                    <a:pt x="13034" y="568"/>
                    <a:pt x="12290" y="568"/>
                  </a:cubicBezTo>
                  <a:cubicBezTo>
                    <a:pt x="11669" y="568"/>
                    <a:pt x="11297" y="341"/>
                    <a:pt x="10676" y="341"/>
                  </a:cubicBezTo>
                  <a:cubicBezTo>
                    <a:pt x="10055" y="341"/>
                    <a:pt x="9683" y="455"/>
                    <a:pt x="9186" y="455"/>
                  </a:cubicBezTo>
                  <a:cubicBezTo>
                    <a:pt x="9186" y="4206"/>
                    <a:pt x="9186" y="4206"/>
                    <a:pt x="9186" y="4206"/>
                  </a:cubicBezTo>
                  <a:cubicBezTo>
                    <a:pt x="2483" y="4206"/>
                    <a:pt x="2483" y="4206"/>
                    <a:pt x="2483" y="4206"/>
                  </a:cubicBezTo>
                  <a:cubicBezTo>
                    <a:pt x="2855" y="6139"/>
                    <a:pt x="2855" y="6139"/>
                    <a:pt x="2855" y="6139"/>
                  </a:cubicBezTo>
                  <a:cubicBezTo>
                    <a:pt x="2855" y="6139"/>
                    <a:pt x="2855" y="6253"/>
                    <a:pt x="2731" y="6253"/>
                  </a:cubicBezTo>
                  <a:cubicBezTo>
                    <a:pt x="2607" y="6253"/>
                    <a:pt x="2607" y="6139"/>
                    <a:pt x="2607" y="6139"/>
                  </a:cubicBezTo>
                  <a:cubicBezTo>
                    <a:pt x="2483" y="6025"/>
                    <a:pt x="2359" y="5912"/>
                    <a:pt x="2234" y="5684"/>
                  </a:cubicBezTo>
                  <a:cubicBezTo>
                    <a:pt x="1986" y="5798"/>
                    <a:pt x="1862" y="6025"/>
                    <a:pt x="1614" y="6025"/>
                  </a:cubicBezTo>
                  <a:cubicBezTo>
                    <a:pt x="1738" y="6139"/>
                    <a:pt x="1862" y="6139"/>
                    <a:pt x="1862" y="6253"/>
                  </a:cubicBezTo>
                  <a:cubicBezTo>
                    <a:pt x="2110" y="6480"/>
                    <a:pt x="2234" y="6821"/>
                    <a:pt x="2483" y="6821"/>
                  </a:cubicBezTo>
                  <a:cubicBezTo>
                    <a:pt x="3228" y="6935"/>
                    <a:pt x="3600" y="6935"/>
                    <a:pt x="4221" y="7048"/>
                  </a:cubicBezTo>
                  <a:cubicBezTo>
                    <a:pt x="3972" y="7389"/>
                    <a:pt x="3724" y="7503"/>
                    <a:pt x="3600" y="7844"/>
                  </a:cubicBezTo>
                  <a:cubicBezTo>
                    <a:pt x="3476" y="7844"/>
                    <a:pt x="3352" y="7617"/>
                    <a:pt x="3228" y="7617"/>
                  </a:cubicBezTo>
                  <a:cubicBezTo>
                    <a:pt x="2483" y="7617"/>
                    <a:pt x="2483" y="7617"/>
                    <a:pt x="2483" y="7617"/>
                  </a:cubicBezTo>
                  <a:cubicBezTo>
                    <a:pt x="2359" y="7617"/>
                    <a:pt x="2359" y="7389"/>
                    <a:pt x="2234" y="7276"/>
                  </a:cubicBezTo>
                  <a:cubicBezTo>
                    <a:pt x="2110" y="7162"/>
                    <a:pt x="1986" y="7048"/>
                    <a:pt x="1738" y="7048"/>
                  </a:cubicBezTo>
                  <a:cubicBezTo>
                    <a:pt x="1614" y="7048"/>
                    <a:pt x="1614" y="7048"/>
                    <a:pt x="1614" y="7048"/>
                  </a:cubicBezTo>
                  <a:cubicBezTo>
                    <a:pt x="1614" y="7389"/>
                    <a:pt x="1490" y="7617"/>
                    <a:pt x="1490" y="7958"/>
                  </a:cubicBezTo>
                  <a:cubicBezTo>
                    <a:pt x="1490" y="8299"/>
                    <a:pt x="1490" y="8526"/>
                    <a:pt x="1366" y="8867"/>
                  </a:cubicBezTo>
                  <a:cubicBezTo>
                    <a:pt x="1366" y="9095"/>
                    <a:pt x="1117" y="9208"/>
                    <a:pt x="1117" y="9436"/>
                  </a:cubicBezTo>
                  <a:cubicBezTo>
                    <a:pt x="1117" y="9549"/>
                    <a:pt x="1117" y="9663"/>
                    <a:pt x="1117" y="9777"/>
                  </a:cubicBezTo>
                  <a:cubicBezTo>
                    <a:pt x="1117" y="10232"/>
                    <a:pt x="745" y="10459"/>
                    <a:pt x="745" y="10800"/>
                  </a:cubicBezTo>
                  <a:cubicBezTo>
                    <a:pt x="745" y="11027"/>
                    <a:pt x="993" y="11027"/>
                    <a:pt x="1117" y="11141"/>
                  </a:cubicBezTo>
                  <a:cubicBezTo>
                    <a:pt x="1241" y="11368"/>
                    <a:pt x="1490" y="11482"/>
                    <a:pt x="1490" y="11709"/>
                  </a:cubicBezTo>
                  <a:cubicBezTo>
                    <a:pt x="1490" y="11823"/>
                    <a:pt x="1366" y="11937"/>
                    <a:pt x="1117" y="11937"/>
                  </a:cubicBezTo>
                  <a:cubicBezTo>
                    <a:pt x="869" y="11937"/>
                    <a:pt x="869" y="11709"/>
                    <a:pt x="745" y="11596"/>
                  </a:cubicBezTo>
                  <a:cubicBezTo>
                    <a:pt x="497" y="11368"/>
                    <a:pt x="372" y="11368"/>
                    <a:pt x="248" y="11255"/>
                  </a:cubicBezTo>
                  <a:cubicBezTo>
                    <a:pt x="124" y="11255"/>
                    <a:pt x="124" y="11255"/>
                    <a:pt x="124" y="11255"/>
                  </a:cubicBezTo>
                  <a:cubicBezTo>
                    <a:pt x="124" y="11255"/>
                    <a:pt x="0" y="11255"/>
                    <a:pt x="0" y="11368"/>
                  </a:cubicBezTo>
                  <a:cubicBezTo>
                    <a:pt x="0" y="11482"/>
                    <a:pt x="248" y="11596"/>
                    <a:pt x="248" y="11709"/>
                  </a:cubicBezTo>
                  <a:cubicBezTo>
                    <a:pt x="1862" y="13642"/>
                    <a:pt x="1862" y="13642"/>
                    <a:pt x="1862" y="13642"/>
                  </a:cubicBezTo>
                  <a:cubicBezTo>
                    <a:pt x="1862" y="13642"/>
                    <a:pt x="1862" y="13642"/>
                    <a:pt x="1738" y="13642"/>
                  </a:cubicBezTo>
                  <a:cubicBezTo>
                    <a:pt x="1117" y="13642"/>
                    <a:pt x="1117" y="12846"/>
                    <a:pt x="372" y="12733"/>
                  </a:cubicBezTo>
                  <a:cubicBezTo>
                    <a:pt x="372" y="12733"/>
                    <a:pt x="372" y="12733"/>
                    <a:pt x="372" y="12846"/>
                  </a:cubicBezTo>
                  <a:cubicBezTo>
                    <a:pt x="372" y="13187"/>
                    <a:pt x="497" y="13301"/>
                    <a:pt x="745" y="13528"/>
                  </a:cubicBezTo>
                  <a:cubicBezTo>
                    <a:pt x="1117" y="14211"/>
                    <a:pt x="1366" y="14552"/>
                    <a:pt x="1614" y="15120"/>
                  </a:cubicBezTo>
                  <a:cubicBezTo>
                    <a:pt x="1738" y="15347"/>
                    <a:pt x="1738" y="15347"/>
                    <a:pt x="1862" y="15575"/>
                  </a:cubicBezTo>
                  <a:cubicBezTo>
                    <a:pt x="2110" y="15916"/>
                    <a:pt x="2110" y="16143"/>
                    <a:pt x="2483" y="16371"/>
                  </a:cubicBezTo>
                  <a:cubicBezTo>
                    <a:pt x="2855" y="16598"/>
                    <a:pt x="3228" y="16712"/>
                    <a:pt x="3724" y="16712"/>
                  </a:cubicBezTo>
                  <a:cubicBezTo>
                    <a:pt x="3724" y="16825"/>
                    <a:pt x="3724" y="16825"/>
                    <a:pt x="3848" y="16825"/>
                  </a:cubicBezTo>
                  <a:cubicBezTo>
                    <a:pt x="3600" y="16939"/>
                    <a:pt x="3352" y="16939"/>
                    <a:pt x="3228" y="17053"/>
                  </a:cubicBezTo>
                  <a:cubicBezTo>
                    <a:pt x="3600" y="17507"/>
                    <a:pt x="3848" y="17621"/>
                    <a:pt x="4345" y="17848"/>
                  </a:cubicBezTo>
                  <a:cubicBezTo>
                    <a:pt x="4593" y="17848"/>
                    <a:pt x="4717" y="18076"/>
                    <a:pt x="4841" y="18189"/>
                  </a:cubicBezTo>
                  <a:cubicBezTo>
                    <a:pt x="5462" y="18417"/>
                    <a:pt x="5710" y="18531"/>
                    <a:pt x="6207" y="18872"/>
                  </a:cubicBezTo>
                  <a:cubicBezTo>
                    <a:pt x="6703" y="19213"/>
                    <a:pt x="7076" y="19440"/>
                    <a:pt x="7697" y="19667"/>
                  </a:cubicBezTo>
                  <a:cubicBezTo>
                    <a:pt x="7945" y="19781"/>
                    <a:pt x="8193" y="19781"/>
                    <a:pt x="8566" y="20008"/>
                  </a:cubicBezTo>
                  <a:cubicBezTo>
                    <a:pt x="8690" y="20122"/>
                    <a:pt x="9062" y="20122"/>
                    <a:pt x="9062" y="20349"/>
                  </a:cubicBezTo>
                  <a:cubicBezTo>
                    <a:pt x="9062" y="20463"/>
                    <a:pt x="9062" y="20463"/>
                    <a:pt x="9062" y="20577"/>
                  </a:cubicBezTo>
                  <a:cubicBezTo>
                    <a:pt x="8938" y="20577"/>
                    <a:pt x="8814" y="20577"/>
                    <a:pt x="8690" y="20577"/>
                  </a:cubicBezTo>
                  <a:cubicBezTo>
                    <a:pt x="8441" y="20577"/>
                    <a:pt x="8317" y="20349"/>
                    <a:pt x="7945" y="20236"/>
                  </a:cubicBezTo>
                  <a:cubicBezTo>
                    <a:pt x="7572" y="20122"/>
                    <a:pt x="7324" y="20122"/>
                    <a:pt x="6952" y="19895"/>
                  </a:cubicBezTo>
                  <a:cubicBezTo>
                    <a:pt x="6952" y="20008"/>
                    <a:pt x="6952" y="20008"/>
                    <a:pt x="6952" y="20008"/>
                  </a:cubicBezTo>
                  <a:cubicBezTo>
                    <a:pt x="7200" y="20236"/>
                    <a:pt x="7324" y="20463"/>
                    <a:pt x="7572" y="20691"/>
                  </a:cubicBezTo>
                  <a:cubicBezTo>
                    <a:pt x="8069" y="21145"/>
                    <a:pt x="8317" y="21373"/>
                    <a:pt x="8690" y="21600"/>
                  </a:cubicBezTo>
                  <a:cubicBezTo>
                    <a:pt x="10179" y="19781"/>
                    <a:pt x="10179" y="19781"/>
                    <a:pt x="10179" y="19781"/>
                  </a:cubicBezTo>
                  <a:cubicBezTo>
                    <a:pt x="10552" y="20008"/>
                    <a:pt x="10676" y="20349"/>
                    <a:pt x="11172" y="20349"/>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0" name="Shape 350"/>
            <p:cNvSpPr/>
            <p:nvPr/>
          </p:nvSpPr>
          <p:spPr>
            <a:xfrm>
              <a:off x="2829069" y="3420225"/>
              <a:ext cx="32414" cy="37042"/>
            </a:xfrm>
            <a:custGeom>
              <a:avLst/>
              <a:gdLst/>
              <a:ahLst/>
              <a:cxnLst>
                <a:cxn ang="0">
                  <a:pos x="wd2" y="hd2"/>
                </a:cxn>
                <a:cxn ang="5400000">
                  <a:pos x="wd2" y="hd2"/>
                </a:cxn>
                <a:cxn ang="10800000">
                  <a:pos x="wd2" y="hd2"/>
                </a:cxn>
                <a:cxn ang="16200000">
                  <a:pos x="wd2" y="hd2"/>
                </a:cxn>
              </a:cxnLst>
              <a:rect l="0" t="0" r="r" b="b"/>
              <a:pathLst>
                <a:path w="21600" h="21600" extrusionOk="0">
                  <a:moveTo>
                    <a:pt x="19200" y="10800"/>
                  </a:moveTo>
                  <a:cubicBezTo>
                    <a:pt x="14400" y="4320"/>
                    <a:pt x="12000" y="2160"/>
                    <a:pt x="4800" y="0"/>
                  </a:cubicBezTo>
                  <a:cubicBezTo>
                    <a:pt x="0" y="0"/>
                    <a:pt x="0" y="0"/>
                    <a:pt x="0" y="0"/>
                  </a:cubicBezTo>
                  <a:cubicBezTo>
                    <a:pt x="0" y="4320"/>
                    <a:pt x="0" y="4320"/>
                    <a:pt x="0" y="4320"/>
                  </a:cubicBezTo>
                  <a:cubicBezTo>
                    <a:pt x="0" y="6480"/>
                    <a:pt x="0" y="8640"/>
                    <a:pt x="2400" y="8640"/>
                  </a:cubicBezTo>
                  <a:cubicBezTo>
                    <a:pt x="4800" y="10800"/>
                    <a:pt x="7200" y="10800"/>
                    <a:pt x="9600" y="12960"/>
                  </a:cubicBezTo>
                  <a:cubicBezTo>
                    <a:pt x="12000" y="17280"/>
                    <a:pt x="14400" y="21600"/>
                    <a:pt x="19200" y="21600"/>
                  </a:cubicBezTo>
                  <a:cubicBezTo>
                    <a:pt x="21600" y="21600"/>
                    <a:pt x="21600" y="21600"/>
                    <a:pt x="21600" y="21600"/>
                  </a:cubicBezTo>
                  <a:cubicBezTo>
                    <a:pt x="21600" y="19440"/>
                    <a:pt x="21600" y="17280"/>
                    <a:pt x="21600" y="17280"/>
                  </a:cubicBezTo>
                  <a:cubicBezTo>
                    <a:pt x="21600" y="12960"/>
                    <a:pt x="19200" y="12960"/>
                    <a:pt x="19200" y="108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1" name="Shape 351"/>
            <p:cNvSpPr/>
            <p:nvPr/>
          </p:nvSpPr>
          <p:spPr>
            <a:xfrm>
              <a:off x="2591384" y="3321446"/>
              <a:ext cx="21609" cy="32413"/>
            </a:xfrm>
            <a:custGeom>
              <a:avLst/>
              <a:gdLst/>
              <a:ahLst/>
              <a:cxnLst>
                <a:cxn ang="0">
                  <a:pos x="wd2" y="hd2"/>
                </a:cxn>
                <a:cxn ang="5400000">
                  <a:pos x="wd2" y="hd2"/>
                </a:cxn>
                <a:cxn ang="10800000">
                  <a:pos x="wd2" y="hd2"/>
                </a:cxn>
                <a:cxn ang="16200000">
                  <a:pos x="wd2" y="hd2"/>
                </a:cxn>
              </a:cxnLst>
              <a:rect l="0" t="0" r="r" b="b"/>
              <a:pathLst>
                <a:path w="21600" h="21600" extrusionOk="0">
                  <a:moveTo>
                    <a:pt x="14400" y="0"/>
                  </a:moveTo>
                  <a:cubicBezTo>
                    <a:pt x="7200" y="0"/>
                    <a:pt x="0" y="4800"/>
                    <a:pt x="0" y="9600"/>
                  </a:cubicBezTo>
                  <a:cubicBezTo>
                    <a:pt x="0" y="14400"/>
                    <a:pt x="3600" y="21600"/>
                    <a:pt x="10800" y="21600"/>
                  </a:cubicBezTo>
                  <a:cubicBezTo>
                    <a:pt x="21600" y="21600"/>
                    <a:pt x="21600" y="14400"/>
                    <a:pt x="21600" y="9600"/>
                  </a:cubicBezTo>
                  <a:cubicBezTo>
                    <a:pt x="21600" y="7200"/>
                    <a:pt x="18000" y="4800"/>
                    <a:pt x="18000" y="2400"/>
                  </a:cubicBezTo>
                  <a:cubicBezTo>
                    <a:pt x="14400" y="2400"/>
                    <a:pt x="14400" y="0"/>
                    <a:pt x="14400" y="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2" name="Shape 352"/>
            <p:cNvSpPr/>
            <p:nvPr/>
          </p:nvSpPr>
          <p:spPr>
            <a:xfrm>
              <a:off x="3116144" y="2949481"/>
              <a:ext cx="839615" cy="973901"/>
            </a:xfrm>
            <a:custGeom>
              <a:avLst/>
              <a:gdLst/>
              <a:ahLst/>
              <a:cxnLst>
                <a:cxn ang="0">
                  <a:pos x="wd2" y="hd2"/>
                </a:cxn>
                <a:cxn ang="5400000">
                  <a:pos x="wd2" y="hd2"/>
                </a:cxn>
                <a:cxn ang="10800000">
                  <a:pos x="wd2" y="hd2"/>
                </a:cxn>
                <a:cxn ang="16200000">
                  <a:pos x="wd2" y="hd2"/>
                </a:cxn>
              </a:cxnLst>
              <a:rect l="0" t="0" r="r" b="b"/>
              <a:pathLst>
                <a:path w="21600" h="21600" extrusionOk="0">
                  <a:moveTo>
                    <a:pt x="2911" y="21034"/>
                  </a:moveTo>
                  <a:cubicBezTo>
                    <a:pt x="3193" y="20710"/>
                    <a:pt x="3475" y="20629"/>
                    <a:pt x="3850" y="20467"/>
                  </a:cubicBezTo>
                  <a:cubicBezTo>
                    <a:pt x="4226" y="20306"/>
                    <a:pt x="4414" y="20144"/>
                    <a:pt x="4790" y="20144"/>
                  </a:cubicBezTo>
                  <a:cubicBezTo>
                    <a:pt x="4790" y="20144"/>
                    <a:pt x="4790" y="20144"/>
                    <a:pt x="4883" y="20144"/>
                  </a:cubicBezTo>
                  <a:cubicBezTo>
                    <a:pt x="4977" y="20225"/>
                    <a:pt x="4977" y="20306"/>
                    <a:pt x="5165" y="20387"/>
                  </a:cubicBezTo>
                  <a:cubicBezTo>
                    <a:pt x="5635" y="20467"/>
                    <a:pt x="5823" y="20548"/>
                    <a:pt x="6292" y="20548"/>
                  </a:cubicBezTo>
                  <a:cubicBezTo>
                    <a:pt x="6950" y="20548"/>
                    <a:pt x="7325" y="20387"/>
                    <a:pt x="7889" y="20144"/>
                  </a:cubicBezTo>
                  <a:cubicBezTo>
                    <a:pt x="8170" y="19982"/>
                    <a:pt x="8358" y="19820"/>
                    <a:pt x="8734" y="19820"/>
                  </a:cubicBezTo>
                  <a:cubicBezTo>
                    <a:pt x="9485" y="19820"/>
                    <a:pt x="9297" y="21115"/>
                    <a:pt x="10049" y="21115"/>
                  </a:cubicBezTo>
                  <a:cubicBezTo>
                    <a:pt x="10330" y="21115"/>
                    <a:pt x="10518" y="21196"/>
                    <a:pt x="10800" y="21115"/>
                  </a:cubicBezTo>
                  <a:cubicBezTo>
                    <a:pt x="11270" y="20791"/>
                    <a:pt x="11270" y="20387"/>
                    <a:pt x="11645" y="20063"/>
                  </a:cubicBezTo>
                  <a:cubicBezTo>
                    <a:pt x="12021" y="19739"/>
                    <a:pt x="12303" y="19497"/>
                    <a:pt x="12772" y="19335"/>
                  </a:cubicBezTo>
                  <a:cubicBezTo>
                    <a:pt x="13054" y="19254"/>
                    <a:pt x="13336" y="19254"/>
                    <a:pt x="13617" y="19092"/>
                  </a:cubicBezTo>
                  <a:cubicBezTo>
                    <a:pt x="14181" y="18607"/>
                    <a:pt x="13993" y="18040"/>
                    <a:pt x="13993" y="17393"/>
                  </a:cubicBezTo>
                  <a:cubicBezTo>
                    <a:pt x="14087" y="16746"/>
                    <a:pt x="14181" y="16422"/>
                    <a:pt x="14275" y="15775"/>
                  </a:cubicBezTo>
                  <a:cubicBezTo>
                    <a:pt x="14369" y="15209"/>
                    <a:pt x="14463" y="14804"/>
                    <a:pt x="14838" y="14319"/>
                  </a:cubicBezTo>
                  <a:cubicBezTo>
                    <a:pt x="14932" y="14076"/>
                    <a:pt x="14932" y="13915"/>
                    <a:pt x="15026" y="13753"/>
                  </a:cubicBezTo>
                  <a:cubicBezTo>
                    <a:pt x="15214" y="13591"/>
                    <a:pt x="15496" y="13591"/>
                    <a:pt x="15590" y="13348"/>
                  </a:cubicBezTo>
                  <a:cubicBezTo>
                    <a:pt x="15871" y="13025"/>
                    <a:pt x="15965" y="12620"/>
                    <a:pt x="16341" y="12378"/>
                  </a:cubicBezTo>
                  <a:cubicBezTo>
                    <a:pt x="16904" y="12054"/>
                    <a:pt x="17374" y="12054"/>
                    <a:pt x="17937" y="11730"/>
                  </a:cubicBezTo>
                  <a:cubicBezTo>
                    <a:pt x="18783" y="11407"/>
                    <a:pt x="19064" y="10840"/>
                    <a:pt x="19628" y="10193"/>
                  </a:cubicBezTo>
                  <a:cubicBezTo>
                    <a:pt x="19252" y="10031"/>
                    <a:pt x="19064" y="9708"/>
                    <a:pt x="19064" y="9303"/>
                  </a:cubicBezTo>
                  <a:cubicBezTo>
                    <a:pt x="19064" y="8575"/>
                    <a:pt x="19722" y="8252"/>
                    <a:pt x="19722" y="7604"/>
                  </a:cubicBezTo>
                  <a:cubicBezTo>
                    <a:pt x="19722" y="7119"/>
                    <a:pt x="19440" y="6957"/>
                    <a:pt x="19440" y="6472"/>
                  </a:cubicBezTo>
                  <a:cubicBezTo>
                    <a:pt x="19440" y="5744"/>
                    <a:pt x="20285" y="5420"/>
                    <a:pt x="20285" y="4611"/>
                  </a:cubicBezTo>
                  <a:cubicBezTo>
                    <a:pt x="20285" y="4207"/>
                    <a:pt x="20285" y="3964"/>
                    <a:pt x="20285" y="3560"/>
                  </a:cubicBezTo>
                  <a:cubicBezTo>
                    <a:pt x="20567" y="3074"/>
                    <a:pt x="20379" y="2751"/>
                    <a:pt x="20661" y="2265"/>
                  </a:cubicBezTo>
                  <a:cubicBezTo>
                    <a:pt x="20943" y="1861"/>
                    <a:pt x="21037" y="1699"/>
                    <a:pt x="21318" y="1375"/>
                  </a:cubicBezTo>
                  <a:cubicBezTo>
                    <a:pt x="21412" y="1294"/>
                    <a:pt x="21600" y="1213"/>
                    <a:pt x="21600" y="1052"/>
                  </a:cubicBezTo>
                  <a:cubicBezTo>
                    <a:pt x="21600" y="890"/>
                    <a:pt x="21412" y="809"/>
                    <a:pt x="21412" y="647"/>
                  </a:cubicBezTo>
                  <a:cubicBezTo>
                    <a:pt x="21412" y="566"/>
                    <a:pt x="21412" y="485"/>
                    <a:pt x="21412" y="404"/>
                  </a:cubicBezTo>
                  <a:cubicBezTo>
                    <a:pt x="21130" y="243"/>
                    <a:pt x="20943" y="324"/>
                    <a:pt x="20567" y="243"/>
                  </a:cubicBezTo>
                  <a:cubicBezTo>
                    <a:pt x="20285" y="162"/>
                    <a:pt x="20191" y="0"/>
                    <a:pt x="19910" y="0"/>
                  </a:cubicBezTo>
                  <a:cubicBezTo>
                    <a:pt x="19722" y="0"/>
                    <a:pt x="19628" y="0"/>
                    <a:pt x="19440" y="0"/>
                  </a:cubicBezTo>
                  <a:cubicBezTo>
                    <a:pt x="18970" y="0"/>
                    <a:pt x="18689" y="0"/>
                    <a:pt x="18219" y="0"/>
                  </a:cubicBezTo>
                  <a:cubicBezTo>
                    <a:pt x="17468" y="0"/>
                    <a:pt x="17092" y="162"/>
                    <a:pt x="16435" y="485"/>
                  </a:cubicBezTo>
                  <a:cubicBezTo>
                    <a:pt x="16059" y="728"/>
                    <a:pt x="15871" y="890"/>
                    <a:pt x="15683" y="1213"/>
                  </a:cubicBezTo>
                  <a:cubicBezTo>
                    <a:pt x="15496" y="1456"/>
                    <a:pt x="15402" y="1699"/>
                    <a:pt x="15120" y="1699"/>
                  </a:cubicBezTo>
                  <a:cubicBezTo>
                    <a:pt x="15026" y="1699"/>
                    <a:pt x="15026" y="1780"/>
                    <a:pt x="14932" y="1780"/>
                  </a:cubicBezTo>
                  <a:cubicBezTo>
                    <a:pt x="14932" y="2103"/>
                    <a:pt x="14463" y="2265"/>
                    <a:pt x="14463" y="2589"/>
                  </a:cubicBezTo>
                  <a:cubicBezTo>
                    <a:pt x="14463" y="2831"/>
                    <a:pt x="14650" y="2912"/>
                    <a:pt x="14650" y="3155"/>
                  </a:cubicBezTo>
                  <a:cubicBezTo>
                    <a:pt x="14650" y="3560"/>
                    <a:pt x="14463" y="3802"/>
                    <a:pt x="14463" y="4126"/>
                  </a:cubicBezTo>
                  <a:cubicBezTo>
                    <a:pt x="14369" y="4449"/>
                    <a:pt x="14557" y="4692"/>
                    <a:pt x="14369" y="5016"/>
                  </a:cubicBezTo>
                  <a:cubicBezTo>
                    <a:pt x="13805" y="4692"/>
                    <a:pt x="13430" y="4692"/>
                    <a:pt x="12866" y="4369"/>
                  </a:cubicBezTo>
                  <a:cubicBezTo>
                    <a:pt x="11739" y="3883"/>
                    <a:pt x="10894" y="3640"/>
                    <a:pt x="9579" y="3640"/>
                  </a:cubicBezTo>
                  <a:cubicBezTo>
                    <a:pt x="8452" y="3640"/>
                    <a:pt x="7701" y="3883"/>
                    <a:pt x="6574" y="3883"/>
                  </a:cubicBezTo>
                  <a:cubicBezTo>
                    <a:pt x="6480" y="3883"/>
                    <a:pt x="6386" y="3883"/>
                    <a:pt x="6292" y="3802"/>
                  </a:cubicBezTo>
                  <a:cubicBezTo>
                    <a:pt x="6104" y="4207"/>
                    <a:pt x="5729" y="4369"/>
                    <a:pt x="5729" y="4773"/>
                  </a:cubicBezTo>
                  <a:cubicBezTo>
                    <a:pt x="5729" y="5097"/>
                    <a:pt x="5823" y="5339"/>
                    <a:pt x="5823" y="5663"/>
                  </a:cubicBezTo>
                  <a:cubicBezTo>
                    <a:pt x="5917" y="5906"/>
                    <a:pt x="6010" y="6148"/>
                    <a:pt x="6198" y="6148"/>
                  </a:cubicBezTo>
                  <a:cubicBezTo>
                    <a:pt x="6480" y="6148"/>
                    <a:pt x="6386" y="5825"/>
                    <a:pt x="6668" y="5825"/>
                  </a:cubicBezTo>
                  <a:cubicBezTo>
                    <a:pt x="6950" y="5825"/>
                    <a:pt x="7043" y="6067"/>
                    <a:pt x="7325" y="6067"/>
                  </a:cubicBezTo>
                  <a:cubicBezTo>
                    <a:pt x="7607" y="6067"/>
                    <a:pt x="7701" y="5825"/>
                    <a:pt x="7983" y="5744"/>
                  </a:cubicBezTo>
                  <a:cubicBezTo>
                    <a:pt x="8264" y="5582"/>
                    <a:pt x="8452" y="5582"/>
                    <a:pt x="8828" y="5582"/>
                  </a:cubicBezTo>
                  <a:cubicBezTo>
                    <a:pt x="9203" y="5582"/>
                    <a:pt x="9673" y="5663"/>
                    <a:pt x="9673" y="5987"/>
                  </a:cubicBezTo>
                  <a:cubicBezTo>
                    <a:pt x="9673" y="6391"/>
                    <a:pt x="9485" y="6553"/>
                    <a:pt x="9391" y="6796"/>
                  </a:cubicBezTo>
                  <a:cubicBezTo>
                    <a:pt x="9203" y="7119"/>
                    <a:pt x="9203" y="7281"/>
                    <a:pt x="9016" y="7604"/>
                  </a:cubicBezTo>
                  <a:cubicBezTo>
                    <a:pt x="8828" y="7766"/>
                    <a:pt x="8640" y="7766"/>
                    <a:pt x="8640" y="8009"/>
                  </a:cubicBezTo>
                  <a:cubicBezTo>
                    <a:pt x="8640" y="8818"/>
                    <a:pt x="8640" y="8818"/>
                    <a:pt x="8640" y="8818"/>
                  </a:cubicBezTo>
                  <a:cubicBezTo>
                    <a:pt x="8640" y="9142"/>
                    <a:pt x="8077" y="9142"/>
                    <a:pt x="8077" y="9465"/>
                  </a:cubicBezTo>
                  <a:cubicBezTo>
                    <a:pt x="8077" y="9870"/>
                    <a:pt x="8828" y="9789"/>
                    <a:pt x="9203" y="10031"/>
                  </a:cubicBezTo>
                  <a:cubicBezTo>
                    <a:pt x="9485" y="10274"/>
                    <a:pt x="9579" y="10517"/>
                    <a:pt x="9579" y="10840"/>
                  </a:cubicBezTo>
                  <a:cubicBezTo>
                    <a:pt x="9767" y="11569"/>
                    <a:pt x="9767" y="11973"/>
                    <a:pt x="9767" y="12701"/>
                  </a:cubicBezTo>
                  <a:cubicBezTo>
                    <a:pt x="9767" y="12863"/>
                    <a:pt x="9485" y="12944"/>
                    <a:pt x="9485" y="13187"/>
                  </a:cubicBezTo>
                  <a:cubicBezTo>
                    <a:pt x="9485" y="13429"/>
                    <a:pt x="9673" y="13591"/>
                    <a:pt x="9673" y="13834"/>
                  </a:cubicBezTo>
                  <a:cubicBezTo>
                    <a:pt x="9673" y="14157"/>
                    <a:pt x="9391" y="14238"/>
                    <a:pt x="9203" y="14481"/>
                  </a:cubicBezTo>
                  <a:cubicBezTo>
                    <a:pt x="9110" y="14724"/>
                    <a:pt x="9203" y="15047"/>
                    <a:pt x="8922" y="15047"/>
                  </a:cubicBezTo>
                  <a:cubicBezTo>
                    <a:pt x="8358" y="15047"/>
                    <a:pt x="8264" y="14400"/>
                    <a:pt x="7795" y="14400"/>
                  </a:cubicBezTo>
                  <a:cubicBezTo>
                    <a:pt x="7513" y="14400"/>
                    <a:pt x="7513" y="14885"/>
                    <a:pt x="7231" y="14885"/>
                  </a:cubicBezTo>
                  <a:cubicBezTo>
                    <a:pt x="7137" y="14885"/>
                    <a:pt x="7043" y="14724"/>
                    <a:pt x="6856" y="14724"/>
                  </a:cubicBezTo>
                  <a:cubicBezTo>
                    <a:pt x="6668" y="14724"/>
                    <a:pt x="6480" y="14724"/>
                    <a:pt x="6198" y="14724"/>
                  </a:cubicBezTo>
                  <a:cubicBezTo>
                    <a:pt x="6010" y="14724"/>
                    <a:pt x="5917" y="14804"/>
                    <a:pt x="5729" y="14804"/>
                  </a:cubicBezTo>
                  <a:cubicBezTo>
                    <a:pt x="5635" y="14804"/>
                    <a:pt x="5635" y="14724"/>
                    <a:pt x="5541" y="14724"/>
                  </a:cubicBezTo>
                  <a:cubicBezTo>
                    <a:pt x="5541" y="14481"/>
                    <a:pt x="5353" y="14319"/>
                    <a:pt x="5165" y="14157"/>
                  </a:cubicBezTo>
                  <a:cubicBezTo>
                    <a:pt x="4883" y="13915"/>
                    <a:pt x="4696" y="13672"/>
                    <a:pt x="4226" y="13672"/>
                  </a:cubicBezTo>
                  <a:cubicBezTo>
                    <a:pt x="4038" y="13672"/>
                    <a:pt x="3663" y="13672"/>
                    <a:pt x="3663" y="13915"/>
                  </a:cubicBezTo>
                  <a:cubicBezTo>
                    <a:pt x="3663" y="14238"/>
                    <a:pt x="3850" y="14400"/>
                    <a:pt x="3944" y="14724"/>
                  </a:cubicBezTo>
                  <a:cubicBezTo>
                    <a:pt x="3287" y="14885"/>
                    <a:pt x="2817" y="14966"/>
                    <a:pt x="2254" y="15209"/>
                  </a:cubicBezTo>
                  <a:cubicBezTo>
                    <a:pt x="1784" y="15290"/>
                    <a:pt x="1315" y="15290"/>
                    <a:pt x="1315" y="15694"/>
                  </a:cubicBezTo>
                  <a:cubicBezTo>
                    <a:pt x="1315" y="16018"/>
                    <a:pt x="1690" y="16180"/>
                    <a:pt x="2066" y="16180"/>
                  </a:cubicBezTo>
                  <a:cubicBezTo>
                    <a:pt x="2066" y="17960"/>
                    <a:pt x="2066" y="17960"/>
                    <a:pt x="2066" y="17960"/>
                  </a:cubicBezTo>
                  <a:cubicBezTo>
                    <a:pt x="1972" y="18040"/>
                    <a:pt x="1972" y="18040"/>
                    <a:pt x="1878" y="18040"/>
                  </a:cubicBezTo>
                  <a:cubicBezTo>
                    <a:pt x="1503" y="18040"/>
                    <a:pt x="1409" y="17798"/>
                    <a:pt x="1127" y="17636"/>
                  </a:cubicBezTo>
                  <a:cubicBezTo>
                    <a:pt x="0" y="18930"/>
                    <a:pt x="0" y="18930"/>
                    <a:pt x="0" y="18930"/>
                  </a:cubicBezTo>
                  <a:cubicBezTo>
                    <a:pt x="0" y="18930"/>
                    <a:pt x="0" y="18930"/>
                    <a:pt x="0" y="18930"/>
                  </a:cubicBezTo>
                  <a:cubicBezTo>
                    <a:pt x="188" y="19011"/>
                    <a:pt x="282" y="19092"/>
                    <a:pt x="470" y="19254"/>
                  </a:cubicBezTo>
                  <a:cubicBezTo>
                    <a:pt x="563" y="19335"/>
                    <a:pt x="657" y="19335"/>
                    <a:pt x="751" y="19416"/>
                  </a:cubicBezTo>
                  <a:cubicBezTo>
                    <a:pt x="939" y="19739"/>
                    <a:pt x="1033" y="19901"/>
                    <a:pt x="1315" y="20225"/>
                  </a:cubicBezTo>
                  <a:cubicBezTo>
                    <a:pt x="1690" y="20629"/>
                    <a:pt x="1972" y="20791"/>
                    <a:pt x="2254" y="21357"/>
                  </a:cubicBezTo>
                  <a:cubicBezTo>
                    <a:pt x="2348" y="21438"/>
                    <a:pt x="2442" y="21519"/>
                    <a:pt x="2442" y="21600"/>
                  </a:cubicBezTo>
                  <a:cubicBezTo>
                    <a:pt x="2536" y="21600"/>
                    <a:pt x="2536" y="21519"/>
                    <a:pt x="2630" y="21519"/>
                  </a:cubicBezTo>
                  <a:cubicBezTo>
                    <a:pt x="2723" y="21357"/>
                    <a:pt x="2723" y="21276"/>
                    <a:pt x="2817" y="21196"/>
                  </a:cubicBezTo>
                  <a:cubicBezTo>
                    <a:pt x="2911" y="21115"/>
                    <a:pt x="2911" y="21115"/>
                    <a:pt x="2911" y="21034"/>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3" name="Shape 353"/>
            <p:cNvSpPr/>
            <p:nvPr/>
          </p:nvSpPr>
          <p:spPr>
            <a:xfrm>
              <a:off x="3236529" y="2770443"/>
              <a:ext cx="799488" cy="1257891"/>
            </a:xfrm>
            <a:custGeom>
              <a:avLst/>
              <a:gdLst/>
              <a:ahLst/>
              <a:cxnLst>
                <a:cxn ang="0">
                  <a:pos x="wd2" y="hd2"/>
                </a:cxn>
                <a:cxn ang="5400000">
                  <a:pos x="wd2" y="hd2"/>
                </a:cxn>
                <a:cxn ang="10800000">
                  <a:pos x="wd2" y="hd2"/>
                </a:cxn>
                <a:cxn ang="16200000">
                  <a:pos x="wd2" y="hd2"/>
                </a:cxn>
              </a:cxnLst>
              <a:rect l="0" t="0" r="r" b="b"/>
              <a:pathLst>
                <a:path w="21600" h="21600" extrusionOk="0">
                  <a:moveTo>
                    <a:pt x="13315" y="21600"/>
                  </a:moveTo>
                  <a:cubicBezTo>
                    <a:pt x="21600" y="21600"/>
                    <a:pt x="21600" y="21600"/>
                    <a:pt x="21600" y="21600"/>
                  </a:cubicBezTo>
                  <a:cubicBezTo>
                    <a:pt x="21600" y="0"/>
                    <a:pt x="21600" y="0"/>
                    <a:pt x="21600" y="0"/>
                  </a:cubicBezTo>
                  <a:cubicBezTo>
                    <a:pt x="21107" y="188"/>
                    <a:pt x="21205" y="501"/>
                    <a:pt x="20712" y="751"/>
                  </a:cubicBezTo>
                  <a:cubicBezTo>
                    <a:pt x="20121" y="1064"/>
                    <a:pt x="19627" y="1315"/>
                    <a:pt x="19627" y="1816"/>
                  </a:cubicBezTo>
                  <a:cubicBezTo>
                    <a:pt x="19627" y="2129"/>
                    <a:pt x="19627" y="2317"/>
                    <a:pt x="19627" y="2692"/>
                  </a:cubicBezTo>
                  <a:cubicBezTo>
                    <a:pt x="19627" y="2943"/>
                    <a:pt x="19529" y="3130"/>
                    <a:pt x="19233" y="3318"/>
                  </a:cubicBezTo>
                  <a:cubicBezTo>
                    <a:pt x="19233" y="3318"/>
                    <a:pt x="19233" y="3318"/>
                    <a:pt x="19233" y="3381"/>
                  </a:cubicBezTo>
                  <a:cubicBezTo>
                    <a:pt x="19233" y="3443"/>
                    <a:pt x="19233" y="3506"/>
                    <a:pt x="19233" y="3569"/>
                  </a:cubicBezTo>
                  <a:cubicBezTo>
                    <a:pt x="19233" y="3694"/>
                    <a:pt x="19430" y="3757"/>
                    <a:pt x="19430" y="3882"/>
                  </a:cubicBezTo>
                  <a:cubicBezTo>
                    <a:pt x="19430" y="4007"/>
                    <a:pt x="19233" y="4070"/>
                    <a:pt x="19134" y="4132"/>
                  </a:cubicBezTo>
                  <a:cubicBezTo>
                    <a:pt x="18838" y="4383"/>
                    <a:pt x="18740" y="4508"/>
                    <a:pt x="18444" y="4821"/>
                  </a:cubicBezTo>
                  <a:cubicBezTo>
                    <a:pt x="18148" y="5197"/>
                    <a:pt x="18345" y="5447"/>
                    <a:pt x="18049" y="5823"/>
                  </a:cubicBezTo>
                  <a:cubicBezTo>
                    <a:pt x="18049" y="6136"/>
                    <a:pt x="18049" y="6323"/>
                    <a:pt x="18049" y="6637"/>
                  </a:cubicBezTo>
                  <a:cubicBezTo>
                    <a:pt x="18049" y="7263"/>
                    <a:pt x="17162" y="7513"/>
                    <a:pt x="17162" y="8077"/>
                  </a:cubicBezTo>
                  <a:cubicBezTo>
                    <a:pt x="17162" y="8452"/>
                    <a:pt x="17458" y="8577"/>
                    <a:pt x="17458" y="8953"/>
                  </a:cubicBezTo>
                  <a:cubicBezTo>
                    <a:pt x="17458" y="9454"/>
                    <a:pt x="16767" y="9704"/>
                    <a:pt x="16767" y="10268"/>
                  </a:cubicBezTo>
                  <a:cubicBezTo>
                    <a:pt x="16767" y="10581"/>
                    <a:pt x="16964" y="10831"/>
                    <a:pt x="17359" y="10957"/>
                  </a:cubicBezTo>
                  <a:cubicBezTo>
                    <a:pt x="16767" y="11457"/>
                    <a:pt x="16471" y="11896"/>
                    <a:pt x="15584" y="12146"/>
                  </a:cubicBezTo>
                  <a:cubicBezTo>
                    <a:pt x="14992" y="12397"/>
                    <a:pt x="14499" y="12397"/>
                    <a:pt x="13907" y="12647"/>
                  </a:cubicBezTo>
                  <a:cubicBezTo>
                    <a:pt x="13512" y="12835"/>
                    <a:pt x="13414" y="13148"/>
                    <a:pt x="13118" y="13398"/>
                  </a:cubicBezTo>
                  <a:cubicBezTo>
                    <a:pt x="13019" y="13586"/>
                    <a:pt x="12723" y="13586"/>
                    <a:pt x="12526" y="13711"/>
                  </a:cubicBezTo>
                  <a:cubicBezTo>
                    <a:pt x="12427" y="13837"/>
                    <a:pt x="12427" y="13962"/>
                    <a:pt x="12329" y="14150"/>
                  </a:cubicBezTo>
                  <a:cubicBezTo>
                    <a:pt x="11934" y="14525"/>
                    <a:pt x="11836" y="14838"/>
                    <a:pt x="11737" y="15277"/>
                  </a:cubicBezTo>
                  <a:cubicBezTo>
                    <a:pt x="11638" y="15777"/>
                    <a:pt x="11540" y="16028"/>
                    <a:pt x="11441" y="16529"/>
                  </a:cubicBezTo>
                  <a:cubicBezTo>
                    <a:pt x="11441" y="17030"/>
                    <a:pt x="11638" y="17468"/>
                    <a:pt x="11047" y="17843"/>
                  </a:cubicBezTo>
                  <a:cubicBezTo>
                    <a:pt x="10751" y="17969"/>
                    <a:pt x="10455" y="17969"/>
                    <a:pt x="10159" y="18031"/>
                  </a:cubicBezTo>
                  <a:cubicBezTo>
                    <a:pt x="9666" y="18157"/>
                    <a:pt x="9370" y="18344"/>
                    <a:pt x="8975" y="18595"/>
                  </a:cubicBezTo>
                  <a:cubicBezTo>
                    <a:pt x="8581" y="18845"/>
                    <a:pt x="8581" y="19158"/>
                    <a:pt x="8088" y="19409"/>
                  </a:cubicBezTo>
                  <a:cubicBezTo>
                    <a:pt x="7792" y="19471"/>
                    <a:pt x="7595" y="19409"/>
                    <a:pt x="7299" y="19409"/>
                  </a:cubicBezTo>
                  <a:cubicBezTo>
                    <a:pt x="6510" y="19409"/>
                    <a:pt x="6707" y="18407"/>
                    <a:pt x="5918" y="18407"/>
                  </a:cubicBezTo>
                  <a:cubicBezTo>
                    <a:pt x="5523" y="18407"/>
                    <a:pt x="5326" y="18532"/>
                    <a:pt x="5030" y="18657"/>
                  </a:cubicBezTo>
                  <a:cubicBezTo>
                    <a:pt x="4438" y="18845"/>
                    <a:pt x="4044" y="18970"/>
                    <a:pt x="3353" y="18970"/>
                  </a:cubicBezTo>
                  <a:cubicBezTo>
                    <a:pt x="2860" y="18970"/>
                    <a:pt x="2663" y="18908"/>
                    <a:pt x="2170" y="18845"/>
                  </a:cubicBezTo>
                  <a:cubicBezTo>
                    <a:pt x="2071" y="18908"/>
                    <a:pt x="2071" y="18908"/>
                    <a:pt x="2071" y="18908"/>
                  </a:cubicBezTo>
                  <a:cubicBezTo>
                    <a:pt x="2071" y="18908"/>
                    <a:pt x="2071" y="18908"/>
                    <a:pt x="2071" y="18970"/>
                  </a:cubicBezTo>
                  <a:cubicBezTo>
                    <a:pt x="1775" y="19221"/>
                    <a:pt x="1677" y="19471"/>
                    <a:pt x="1184" y="19722"/>
                  </a:cubicBezTo>
                  <a:cubicBezTo>
                    <a:pt x="1184" y="19784"/>
                    <a:pt x="986" y="19784"/>
                    <a:pt x="888" y="19847"/>
                  </a:cubicBezTo>
                  <a:cubicBezTo>
                    <a:pt x="592" y="20160"/>
                    <a:pt x="888" y="20473"/>
                    <a:pt x="789" y="20849"/>
                  </a:cubicBezTo>
                  <a:cubicBezTo>
                    <a:pt x="690" y="20911"/>
                    <a:pt x="592" y="20911"/>
                    <a:pt x="493" y="20974"/>
                  </a:cubicBezTo>
                  <a:cubicBezTo>
                    <a:pt x="296" y="21099"/>
                    <a:pt x="197" y="21162"/>
                    <a:pt x="0" y="21224"/>
                  </a:cubicBezTo>
                  <a:cubicBezTo>
                    <a:pt x="0" y="21224"/>
                    <a:pt x="0" y="21224"/>
                    <a:pt x="0" y="21224"/>
                  </a:cubicBezTo>
                  <a:cubicBezTo>
                    <a:pt x="0" y="21224"/>
                    <a:pt x="0" y="21224"/>
                    <a:pt x="0" y="21224"/>
                  </a:cubicBezTo>
                  <a:cubicBezTo>
                    <a:pt x="0" y="21350"/>
                    <a:pt x="0" y="21475"/>
                    <a:pt x="197" y="21600"/>
                  </a:cubicBezTo>
                  <a:cubicBezTo>
                    <a:pt x="3353" y="21600"/>
                    <a:pt x="3353" y="21600"/>
                    <a:pt x="3353" y="21600"/>
                  </a:cubicBezTo>
                  <a:lnTo>
                    <a:pt x="13315" y="21600"/>
                  </a:ln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4" name="Shape 354"/>
            <p:cNvSpPr/>
            <p:nvPr/>
          </p:nvSpPr>
          <p:spPr>
            <a:xfrm>
              <a:off x="3207204" y="3857013"/>
              <a:ext cx="106497" cy="149713"/>
            </a:xfrm>
            <a:custGeom>
              <a:avLst/>
              <a:gdLst/>
              <a:ahLst/>
              <a:cxnLst>
                <a:cxn ang="0">
                  <a:pos x="wd2" y="hd2"/>
                </a:cxn>
                <a:cxn ang="5400000">
                  <a:pos x="wd2" y="hd2"/>
                </a:cxn>
                <a:cxn ang="10800000">
                  <a:pos x="wd2" y="hd2"/>
                </a:cxn>
                <a:cxn ang="16200000">
                  <a:pos x="wd2" y="hd2"/>
                </a:cxn>
              </a:cxnLst>
              <a:rect l="0" t="0" r="r" b="b"/>
              <a:pathLst>
                <a:path w="21600" h="21600" extrusionOk="0">
                  <a:moveTo>
                    <a:pt x="9683" y="19493"/>
                  </a:moveTo>
                  <a:cubicBezTo>
                    <a:pt x="10428" y="18966"/>
                    <a:pt x="11172" y="18966"/>
                    <a:pt x="11917" y="18439"/>
                  </a:cubicBezTo>
                  <a:cubicBezTo>
                    <a:pt x="12662" y="15278"/>
                    <a:pt x="10428" y="12644"/>
                    <a:pt x="12662" y="10010"/>
                  </a:cubicBezTo>
                  <a:cubicBezTo>
                    <a:pt x="13407" y="9483"/>
                    <a:pt x="14897" y="9483"/>
                    <a:pt x="14897" y="8956"/>
                  </a:cubicBezTo>
                  <a:cubicBezTo>
                    <a:pt x="18621" y="6849"/>
                    <a:pt x="19366" y="4741"/>
                    <a:pt x="21600" y="2634"/>
                  </a:cubicBezTo>
                  <a:cubicBezTo>
                    <a:pt x="21600" y="2107"/>
                    <a:pt x="21600" y="2107"/>
                    <a:pt x="21600" y="2107"/>
                  </a:cubicBezTo>
                  <a:cubicBezTo>
                    <a:pt x="20855" y="1580"/>
                    <a:pt x="20855" y="527"/>
                    <a:pt x="20110" y="0"/>
                  </a:cubicBezTo>
                  <a:cubicBezTo>
                    <a:pt x="19366" y="0"/>
                    <a:pt x="19366" y="0"/>
                    <a:pt x="19366" y="0"/>
                  </a:cubicBezTo>
                  <a:cubicBezTo>
                    <a:pt x="16386" y="0"/>
                    <a:pt x="14897" y="1054"/>
                    <a:pt x="11917" y="2107"/>
                  </a:cubicBezTo>
                  <a:cubicBezTo>
                    <a:pt x="8938" y="3161"/>
                    <a:pt x="6703" y="3688"/>
                    <a:pt x="4469" y="5795"/>
                  </a:cubicBezTo>
                  <a:cubicBezTo>
                    <a:pt x="4469" y="6322"/>
                    <a:pt x="4469" y="6322"/>
                    <a:pt x="3724" y="6849"/>
                  </a:cubicBezTo>
                  <a:cubicBezTo>
                    <a:pt x="2979" y="7376"/>
                    <a:pt x="2979" y="7902"/>
                    <a:pt x="2234" y="8956"/>
                  </a:cubicBezTo>
                  <a:cubicBezTo>
                    <a:pt x="1490" y="8956"/>
                    <a:pt x="745" y="9483"/>
                    <a:pt x="0" y="10010"/>
                  </a:cubicBezTo>
                  <a:cubicBezTo>
                    <a:pt x="745" y="11063"/>
                    <a:pt x="0" y="11063"/>
                    <a:pt x="745" y="12117"/>
                  </a:cubicBezTo>
                  <a:cubicBezTo>
                    <a:pt x="1490" y="13171"/>
                    <a:pt x="2979" y="13698"/>
                    <a:pt x="3724" y="14751"/>
                  </a:cubicBezTo>
                  <a:cubicBezTo>
                    <a:pt x="3724" y="15805"/>
                    <a:pt x="3724" y="16859"/>
                    <a:pt x="4469" y="17912"/>
                  </a:cubicBezTo>
                  <a:cubicBezTo>
                    <a:pt x="4469" y="18439"/>
                    <a:pt x="4469" y="18966"/>
                    <a:pt x="5214" y="19493"/>
                  </a:cubicBezTo>
                  <a:cubicBezTo>
                    <a:pt x="5214" y="20546"/>
                    <a:pt x="5214" y="21073"/>
                    <a:pt x="5959" y="21600"/>
                  </a:cubicBezTo>
                  <a:cubicBezTo>
                    <a:pt x="5959" y="21600"/>
                    <a:pt x="5959" y="21600"/>
                    <a:pt x="5959" y="21600"/>
                  </a:cubicBezTo>
                  <a:cubicBezTo>
                    <a:pt x="7448" y="21073"/>
                    <a:pt x="8193" y="20546"/>
                    <a:pt x="9683" y="19493"/>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5" name="Shape 355"/>
            <p:cNvSpPr/>
            <p:nvPr/>
          </p:nvSpPr>
          <p:spPr>
            <a:xfrm>
              <a:off x="58649" y="1724002"/>
              <a:ext cx="302509" cy="92607"/>
            </a:xfrm>
            <a:custGeom>
              <a:avLst/>
              <a:gdLst/>
              <a:ahLst/>
              <a:cxnLst>
                <a:cxn ang="0">
                  <a:pos x="wd2" y="hd2"/>
                </a:cxn>
                <a:cxn ang="5400000">
                  <a:pos x="wd2" y="hd2"/>
                </a:cxn>
                <a:cxn ang="10800000">
                  <a:pos x="wd2" y="hd2"/>
                </a:cxn>
                <a:cxn ang="16200000">
                  <a:pos x="wd2" y="hd2"/>
                </a:cxn>
              </a:cxnLst>
              <a:rect l="0" t="0" r="r" b="b"/>
              <a:pathLst>
                <a:path w="21600" h="21600" extrusionOk="0">
                  <a:moveTo>
                    <a:pt x="8588" y="17280"/>
                  </a:moveTo>
                  <a:cubicBezTo>
                    <a:pt x="9108" y="17280"/>
                    <a:pt x="9629" y="18144"/>
                    <a:pt x="10149" y="18144"/>
                  </a:cubicBezTo>
                  <a:cubicBezTo>
                    <a:pt x="11190" y="18144"/>
                    <a:pt x="12492" y="17280"/>
                    <a:pt x="12752" y="12960"/>
                  </a:cubicBezTo>
                  <a:cubicBezTo>
                    <a:pt x="15614" y="15552"/>
                    <a:pt x="16916" y="20736"/>
                    <a:pt x="19778" y="20736"/>
                  </a:cubicBezTo>
                  <a:cubicBezTo>
                    <a:pt x="20559" y="20736"/>
                    <a:pt x="21600" y="20736"/>
                    <a:pt x="21600" y="19008"/>
                  </a:cubicBezTo>
                  <a:cubicBezTo>
                    <a:pt x="21600" y="14688"/>
                    <a:pt x="21600" y="11232"/>
                    <a:pt x="20559" y="9504"/>
                  </a:cubicBezTo>
                  <a:cubicBezTo>
                    <a:pt x="19518" y="8640"/>
                    <a:pt x="18998" y="9504"/>
                    <a:pt x="17957" y="8640"/>
                  </a:cubicBezTo>
                  <a:cubicBezTo>
                    <a:pt x="15875" y="7776"/>
                    <a:pt x="15354" y="0"/>
                    <a:pt x="13272" y="0"/>
                  </a:cubicBezTo>
                  <a:cubicBezTo>
                    <a:pt x="10930" y="0"/>
                    <a:pt x="9889" y="7776"/>
                    <a:pt x="7547" y="7776"/>
                  </a:cubicBezTo>
                  <a:cubicBezTo>
                    <a:pt x="6246" y="7776"/>
                    <a:pt x="5725" y="6912"/>
                    <a:pt x="4424" y="6912"/>
                  </a:cubicBezTo>
                  <a:cubicBezTo>
                    <a:pt x="3643" y="6912"/>
                    <a:pt x="2863" y="6912"/>
                    <a:pt x="2082" y="6912"/>
                  </a:cubicBezTo>
                  <a:cubicBezTo>
                    <a:pt x="2082" y="6912"/>
                    <a:pt x="1822" y="7776"/>
                    <a:pt x="1822" y="8640"/>
                  </a:cubicBezTo>
                  <a:cubicBezTo>
                    <a:pt x="1561" y="10368"/>
                    <a:pt x="1561" y="12096"/>
                    <a:pt x="1301" y="13824"/>
                  </a:cubicBezTo>
                  <a:cubicBezTo>
                    <a:pt x="2082" y="14688"/>
                    <a:pt x="2602" y="15552"/>
                    <a:pt x="3383" y="15552"/>
                  </a:cubicBezTo>
                  <a:cubicBezTo>
                    <a:pt x="2602" y="16416"/>
                    <a:pt x="2082" y="17280"/>
                    <a:pt x="1301" y="17280"/>
                  </a:cubicBezTo>
                  <a:cubicBezTo>
                    <a:pt x="781" y="18144"/>
                    <a:pt x="260" y="18144"/>
                    <a:pt x="0" y="19872"/>
                  </a:cubicBezTo>
                  <a:cubicBezTo>
                    <a:pt x="0" y="20736"/>
                    <a:pt x="0" y="20736"/>
                    <a:pt x="0" y="20736"/>
                  </a:cubicBezTo>
                  <a:cubicBezTo>
                    <a:pt x="1561" y="21600"/>
                    <a:pt x="2602" y="21600"/>
                    <a:pt x="4164" y="21600"/>
                  </a:cubicBezTo>
                  <a:cubicBezTo>
                    <a:pt x="5465" y="21600"/>
                    <a:pt x="5986" y="21600"/>
                    <a:pt x="7027" y="19872"/>
                  </a:cubicBezTo>
                  <a:cubicBezTo>
                    <a:pt x="7807" y="19008"/>
                    <a:pt x="8067" y="17280"/>
                    <a:pt x="8588" y="1728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6" name="Shape 356"/>
            <p:cNvSpPr/>
            <p:nvPr/>
          </p:nvSpPr>
          <p:spPr>
            <a:xfrm>
              <a:off x="2818265" y="1822781"/>
              <a:ext cx="878201" cy="1353583"/>
            </a:xfrm>
            <a:custGeom>
              <a:avLst/>
              <a:gdLst/>
              <a:ahLst/>
              <a:cxnLst>
                <a:cxn ang="0">
                  <a:pos x="wd2" y="hd2"/>
                </a:cxn>
                <a:cxn ang="5400000">
                  <a:pos x="wd2" y="hd2"/>
                </a:cxn>
                <a:cxn ang="10800000">
                  <a:pos x="wd2" y="hd2"/>
                </a:cxn>
                <a:cxn ang="16200000">
                  <a:pos x="wd2" y="hd2"/>
                </a:cxn>
              </a:cxnLst>
              <a:rect l="0" t="0" r="r" b="b"/>
              <a:pathLst>
                <a:path w="21600" h="21600" extrusionOk="0">
                  <a:moveTo>
                    <a:pt x="6005" y="20785"/>
                  </a:moveTo>
                  <a:cubicBezTo>
                    <a:pt x="6722" y="20785"/>
                    <a:pt x="6991" y="20785"/>
                    <a:pt x="7708" y="20785"/>
                  </a:cubicBezTo>
                  <a:cubicBezTo>
                    <a:pt x="8066" y="20785"/>
                    <a:pt x="8335" y="20727"/>
                    <a:pt x="8783" y="20727"/>
                  </a:cubicBezTo>
                  <a:cubicBezTo>
                    <a:pt x="9232" y="20727"/>
                    <a:pt x="9500" y="20843"/>
                    <a:pt x="9949" y="20843"/>
                  </a:cubicBezTo>
                  <a:cubicBezTo>
                    <a:pt x="10486" y="20843"/>
                    <a:pt x="10666" y="20552"/>
                    <a:pt x="11203" y="20552"/>
                  </a:cubicBezTo>
                  <a:cubicBezTo>
                    <a:pt x="11741" y="20552"/>
                    <a:pt x="11920" y="20727"/>
                    <a:pt x="12368" y="20727"/>
                  </a:cubicBezTo>
                  <a:cubicBezTo>
                    <a:pt x="13175" y="20727"/>
                    <a:pt x="13175" y="20727"/>
                    <a:pt x="13175" y="20727"/>
                  </a:cubicBezTo>
                  <a:cubicBezTo>
                    <a:pt x="13354" y="20727"/>
                    <a:pt x="13354" y="20727"/>
                    <a:pt x="13354" y="20727"/>
                  </a:cubicBezTo>
                  <a:cubicBezTo>
                    <a:pt x="13444" y="20785"/>
                    <a:pt x="13534" y="20785"/>
                    <a:pt x="13623" y="20785"/>
                  </a:cubicBezTo>
                  <a:cubicBezTo>
                    <a:pt x="14699" y="20785"/>
                    <a:pt x="15416" y="20610"/>
                    <a:pt x="16491" y="20610"/>
                  </a:cubicBezTo>
                  <a:cubicBezTo>
                    <a:pt x="17746" y="20610"/>
                    <a:pt x="18553" y="20785"/>
                    <a:pt x="19628" y="21134"/>
                  </a:cubicBezTo>
                  <a:cubicBezTo>
                    <a:pt x="20166" y="21367"/>
                    <a:pt x="20524" y="21367"/>
                    <a:pt x="21062" y="21600"/>
                  </a:cubicBezTo>
                  <a:cubicBezTo>
                    <a:pt x="21241" y="21367"/>
                    <a:pt x="21062" y="21192"/>
                    <a:pt x="21152" y="20960"/>
                  </a:cubicBezTo>
                  <a:cubicBezTo>
                    <a:pt x="21152" y="20727"/>
                    <a:pt x="21331" y="20552"/>
                    <a:pt x="21331" y="20261"/>
                  </a:cubicBezTo>
                  <a:cubicBezTo>
                    <a:pt x="21331" y="20086"/>
                    <a:pt x="21152" y="20028"/>
                    <a:pt x="21152" y="19853"/>
                  </a:cubicBezTo>
                  <a:cubicBezTo>
                    <a:pt x="21152" y="19620"/>
                    <a:pt x="21600" y="19504"/>
                    <a:pt x="21600" y="19271"/>
                  </a:cubicBezTo>
                  <a:cubicBezTo>
                    <a:pt x="21600" y="19213"/>
                    <a:pt x="21600" y="19213"/>
                    <a:pt x="21600" y="19213"/>
                  </a:cubicBezTo>
                  <a:cubicBezTo>
                    <a:pt x="20166" y="19155"/>
                    <a:pt x="19180" y="18631"/>
                    <a:pt x="18642" y="17699"/>
                  </a:cubicBezTo>
                  <a:cubicBezTo>
                    <a:pt x="18284" y="17117"/>
                    <a:pt x="18105" y="16768"/>
                    <a:pt x="17656" y="16244"/>
                  </a:cubicBezTo>
                  <a:cubicBezTo>
                    <a:pt x="17298" y="15836"/>
                    <a:pt x="16939" y="15603"/>
                    <a:pt x="16939" y="15196"/>
                  </a:cubicBezTo>
                  <a:cubicBezTo>
                    <a:pt x="16939" y="14905"/>
                    <a:pt x="17208" y="14788"/>
                    <a:pt x="17388" y="14497"/>
                  </a:cubicBezTo>
                  <a:cubicBezTo>
                    <a:pt x="17567" y="14206"/>
                    <a:pt x="17656" y="13973"/>
                    <a:pt x="17925" y="13740"/>
                  </a:cubicBezTo>
                  <a:cubicBezTo>
                    <a:pt x="18105" y="13565"/>
                    <a:pt x="18373" y="13565"/>
                    <a:pt x="18373" y="13391"/>
                  </a:cubicBezTo>
                  <a:cubicBezTo>
                    <a:pt x="18373" y="13216"/>
                    <a:pt x="18373" y="13100"/>
                    <a:pt x="18373" y="12925"/>
                  </a:cubicBezTo>
                  <a:cubicBezTo>
                    <a:pt x="18373" y="12809"/>
                    <a:pt x="18642" y="12750"/>
                    <a:pt x="18732" y="12576"/>
                  </a:cubicBezTo>
                  <a:cubicBezTo>
                    <a:pt x="19001" y="12343"/>
                    <a:pt x="19090" y="12168"/>
                    <a:pt x="19270" y="11877"/>
                  </a:cubicBezTo>
                  <a:cubicBezTo>
                    <a:pt x="19359" y="11470"/>
                    <a:pt x="19718" y="11178"/>
                    <a:pt x="19718" y="10771"/>
                  </a:cubicBezTo>
                  <a:cubicBezTo>
                    <a:pt x="19718" y="10130"/>
                    <a:pt x="19180" y="9665"/>
                    <a:pt x="18284" y="9374"/>
                  </a:cubicBezTo>
                  <a:cubicBezTo>
                    <a:pt x="17567" y="9141"/>
                    <a:pt x="17119" y="8966"/>
                    <a:pt x="16581" y="8500"/>
                  </a:cubicBezTo>
                  <a:cubicBezTo>
                    <a:pt x="16402" y="8326"/>
                    <a:pt x="16402" y="8151"/>
                    <a:pt x="16133" y="7976"/>
                  </a:cubicBezTo>
                  <a:cubicBezTo>
                    <a:pt x="15864" y="7802"/>
                    <a:pt x="15595" y="7685"/>
                    <a:pt x="15595" y="7394"/>
                  </a:cubicBezTo>
                  <a:cubicBezTo>
                    <a:pt x="15595" y="7219"/>
                    <a:pt x="15864" y="7103"/>
                    <a:pt x="16043" y="6928"/>
                  </a:cubicBezTo>
                  <a:cubicBezTo>
                    <a:pt x="16402" y="6637"/>
                    <a:pt x="16850" y="6521"/>
                    <a:pt x="17388" y="6521"/>
                  </a:cubicBezTo>
                  <a:cubicBezTo>
                    <a:pt x="17656" y="6521"/>
                    <a:pt x="17836" y="6521"/>
                    <a:pt x="18105" y="6521"/>
                  </a:cubicBezTo>
                  <a:cubicBezTo>
                    <a:pt x="18373" y="6521"/>
                    <a:pt x="18553" y="6695"/>
                    <a:pt x="18911" y="6695"/>
                  </a:cubicBezTo>
                  <a:cubicBezTo>
                    <a:pt x="19270" y="6695"/>
                    <a:pt x="19359" y="6695"/>
                    <a:pt x="19718" y="6695"/>
                  </a:cubicBezTo>
                  <a:cubicBezTo>
                    <a:pt x="18463" y="4308"/>
                    <a:pt x="18463" y="4308"/>
                    <a:pt x="18463" y="4308"/>
                  </a:cubicBezTo>
                  <a:cubicBezTo>
                    <a:pt x="18463" y="4075"/>
                    <a:pt x="18463" y="3901"/>
                    <a:pt x="18463" y="3668"/>
                  </a:cubicBezTo>
                  <a:cubicBezTo>
                    <a:pt x="18463" y="3319"/>
                    <a:pt x="18373" y="3086"/>
                    <a:pt x="18015" y="2795"/>
                  </a:cubicBezTo>
                  <a:cubicBezTo>
                    <a:pt x="17836" y="2620"/>
                    <a:pt x="17477" y="2562"/>
                    <a:pt x="17298" y="2329"/>
                  </a:cubicBezTo>
                  <a:cubicBezTo>
                    <a:pt x="16939" y="2038"/>
                    <a:pt x="17029" y="1805"/>
                    <a:pt x="16850" y="1456"/>
                  </a:cubicBezTo>
                  <a:cubicBezTo>
                    <a:pt x="16581" y="932"/>
                    <a:pt x="16222" y="640"/>
                    <a:pt x="15505" y="466"/>
                  </a:cubicBezTo>
                  <a:cubicBezTo>
                    <a:pt x="14788" y="233"/>
                    <a:pt x="14340" y="233"/>
                    <a:pt x="13713" y="0"/>
                  </a:cubicBezTo>
                  <a:cubicBezTo>
                    <a:pt x="13623" y="58"/>
                    <a:pt x="13623" y="116"/>
                    <a:pt x="13623" y="233"/>
                  </a:cubicBezTo>
                  <a:cubicBezTo>
                    <a:pt x="13623" y="873"/>
                    <a:pt x="13713" y="1456"/>
                    <a:pt x="14609" y="1805"/>
                  </a:cubicBezTo>
                  <a:cubicBezTo>
                    <a:pt x="15237" y="2096"/>
                    <a:pt x="15685" y="2154"/>
                    <a:pt x="16222" y="2562"/>
                  </a:cubicBezTo>
                  <a:cubicBezTo>
                    <a:pt x="16491" y="2678"/>
                    <a:pt x="16760" y="2736"/>
                    <a:pt x="16760" y="2969"/>
                  </a:cubicBezTo>
                  <a:cubicBezTo>
                    <a:pt x="16760" y="3144"/>
                    <a:pt x="16671" y="3260"/>
                    <a:pt x="16581" y="3435"/>
                  </a:cubicBezTo>
                  <a:cubicBezTo>
                    <a:pt x="16402" y="3610"/>
                    <a:pt x="16491" y="3784"/>
                    <a:pt x="16312" y="3959"/>
                  </a:cubicBezTo>
                  <a:cubicBezTo>
                    <a:pt x="16222" y="4075"/>
                    <a:pt x="16043" y="4075"/>
                    <a:pt x="15864" y="4134"/>
                  </a:cubicBezTo>
                  <a:cubicBezTo>
                    <a:pt x="15326" y="4308"/>
                    <a:pt x="15237" y="4541"/>
                    <a:pt x="14788" y="4891"/>
                  </a:cubicBezTo>
                  <a:cubicBezTo>
                    <a:pt x="14520" y="5123"/>
                    <a:pt x="14340" y="5240"/>
                    <a:pt x="14340" y="5531"/>
                  </a:cubicBezTo>
                  <a:cubicBezTo>
                    <a:pt x="14340" y="5822"/>
                    <a:pt x="14251" y="5939"/>
                    <a:pt x="14071" y="6171"/>
                  </a:cubicBezTo>
                  <a:cubicBezTo>
                    <a:pt x="13892" y="6346"/>
                    <a:pt x="14071" y="6579"/>
                    <a:pt x="13802" y="6695"/>
                  </a:cubicBezTo>
                  <a:cubicBezTo>
                    <a:pt x="13444" y="6870"/>
                    <a:pt x="13265" y="6812"/>
                    <a:pt x="12996" y="6987"/>
                  </a:cubicBezTo>
                  <a:cubicBezTo>
                    <a:pt x="12458" y="7278"/>
                    <a:pt x="12279" y="7511"/>
                    <a:pt x="12010" y="7918"/>
                  </a:cubicBezTo>
                  <a:cubicBezTo>
                    <a:pt x="11831" y="8209"/>
                    <a:pt x="11831" y="8384"/>
                    <a:pt x="11562" y="8675"/>
                  </a:cubicBezTo>
                  <a:cubicBezTo>
                    <a:pt x="11203" y="9141"/>
                    <a:pt x="10755" y="9315"/>
                    <a:pt x="10307" y="9781"/>
                  </a:cubicBezTo>
                  <a:cubicBezTo>
                    <a:pt x="10128" y="10014"/>
                    <a:pt x="10128" y="10247"/>
                    <a:pt x="10038" y="10538"/>
                  </a:cubicBezTo>
                  <a:cubicBezTo>
                    <a:pt x="9949" y="10829"/>
                    <a:pt x="9769" y="10946"/>
                    <a:pt x="9590" y="11178"/>
                  </a:cubicBezTo>
                  <a:cubicBezTo>
                    <a:pt x="9321" y="11586"/>
                    <a:pt x="9232" y="11819"/>
                    <a:pt x="8963" y="12168"/>
                  </a:cubicBezTo>
                  <a:cubicBezTo>
                    <a:pt x="8515" y="12576"/>
                    <a:pt x="8425" y="12925"/>
                    <a:pt x="7798" y="13100"/>
                  </a:cubicBezTo>
                  <a:cubicBezTo>
                    <a:pt x="7529" y="12750"/>
                    <a:pt x="7439" y="12459"/>
                    <a:pt x="6991" y="12226"/>
                  </a:cubicBezTo>
                  <a:cubicBezTo>
                    <a:pt x="6812" y="12168"/>
                    <a:pt x="6722" y="12052"/>
                    <a:pt x="6543" y="12052"/>
                  </a:cubicBezTo>
                  <a:cubicBezTo>
                    <a:pt x="6274" y="12052"/>
                    <a:pt x="6005" y="12168"/>
                    <a:pt x="5736" y="12168"/>
                  </a:cubicBezTo>
                  <a:cubicBezTo>
                    <a:pt x="5378" y="12168"/>
                    <a:pt x="5198" y="12052"/>
                    <a:pt x="4840" y="12052"/>
                  </a:cubicBezTo>
                  <a:cubicBezTo>
                    <a:pt x="4302" y="12052"/>
                    <a:pt x="4033" y="12226"/>
                    <a:pt x="3675" y="12401"/>
                  </a:cubicBezTo>
                  <a:cubicBezTo>
                    <a:pt x="3227" y="12750"/>
                    <a:pt x="2868" y="12867"/>
                    <a:pt x="2420" y="13100"/>
                  </a:cubicBezTo>
                  <a:cubicBezTo>
                    <a:pt x="1882" y="13333"/>
                    <a:pt x="1703" y="13507"/>
                    <a:pt x="1255" y="13798"/>
                  </a:cubicBezTo>
                  <a:cubicBezTo>
                    <a:pt x="807" y="14031"/>
                    <a:pt x="359" y="14206"/>
                    <a:pt x="359" y="14613"/>
                  </a:cubicBezTo>
                  <a:cubicBezTo>
                    <a:pt x="359" y="14846"/>
                    <a:pt x="538" y="14963"/>
                    <a:pt x="538" y="15137"/>
                  </a:cubicBezTo>
                  <a:cubicBezTo>
                    <a:pt x="538" y="15487"/>
                    <a:pt x="0" y="15661"/>
                    <a:pt x="0" y="16011"/>
                  </a:cubicBezTo>
                  <a:cubicBezTo>
                    <a:pt x="0" y="16011"/>
                    <a:pt x="0" y="16011"/>
                    <a:pt x="0" y="16011"/>
                  </a:cubicBezTo>
                  <a:cubicBezTo>
                    <a:pt x="179" y="16069"/>
                    <a:pt x="269" y="16244"/>
                    <a:pt x="269" y="16360"/>
                  </a:cubicBezTo>
                  <a:cubicBezTo>
                    <a:pt x="269" y="16418"/>
                    <a:pt x="359" y="16477"/>
                    <a:pt x="448" y="16477"/>
                  </a:cubicBezTo>
                  <a:cubicBezTo>
                    <a:pt x="538" y="16477"/>
                    <a:pt x="627" y="16418"/>
                    <a:pt x="717" y="16360"/>
                  </a:cubicBezTo>
                  <a:cubicBezTo>
                    <a:pt x="807" y="16302"/>
                    <a:pt x="896" y="16302"/>
                    <a:pt x="1076" y="16302"/>
                  </a:cubicBezTo>
                  <a:cubicBezTo>
                    <a:pt x="1165" y="16302"/>
                    <a:pt x="1255" y="16360"/>
                    <a:pt x="1255" y="16418"/>
                  </a:cubicBezTo>
                  <a:cubicBezTo>
                    <a:pt x="1255" y="16477"/>
                    <a:pt x="1076" y="16477"/>
                    <a:pt x="1076" y="16535"/>
                  </a:cubicBezTo>
                  <a:cubicBezTo>
                    <a:pt x="1076" y="16709"/>
                    <a:pt x="1344" y="16768"/>
                    <a:pt x="1434" y="16942"/>
                  </a:cubicBezTo>
                  <a:cubicBezTo>
                    <a:pt x="1613" y="17059"/>
                    <a:pt x="1703" y="17292"/>
                    <a:pt x="1972" y="17292"/>
                  </a:cubicBezTo>
                  <a:cubicBezTo>
                    <a:pt x="2689" y="17292"/>
                    <a:pt x="2689" y="17292"/>
                    <a:pt x="2689" y="17292"/>
                  </a:cubicBezTo>
                  <a:cubicBezTo>
                    <a:pt x="2868" y="17292"/>
                    <a:pt x="3047" y="17292"/>
                    <a:pt x="3137" y="17408"/>
                  </a:cubicBezTo>
                  <a:cubicBezTo>
                    <a:pt x="2958" y="17466"/>
                    <a:pt x="2868" y="17466"/>
                    <a:pt x="2868" y="17583"/>
                  </a:cubicBezTo>
                  <a:cubicBezTo>
                    <a:pt x="2868" y="17699"/>
                    <a:pt x="2868" y="17699"/>
                    <a:pt x="2958" y="17816"/>
                  </a:cubicBezTo>
                  <a:cubicBezTo>
                    <a:pt x="2958" y="17874"/>
                    <a:pt x="2958" y="17932"/>
                    <a:pt x="3047" y="17990"/>
                  </a:cubicBezTo>
                  <a:cubicBezTo>
                    <a:pt x="3227" y="18049"/>
                    <a:pt x="3406" y="18049"/>
                    <a:pt x="3495" y="18165"/>
                  </a:cubicBezTo>
                  <a:cubicBezTo>
                    <a:pt x="3675" y="18456"/>
                    <a:pt x="3675" y="18631"/>
                    <a:pt x="3764" y="18922"/>
                  </a:cubicBezTo>
                  <a:cubicBezTo>
                    <a:pt x="3675" y="19038"/>
                    <a:pt x="3675" y="19038"/>
                    <a:pt x="3675" y="19038"/>
                  </a:cubicBezTo>
                  <a:cubicBezTo>
                    <a:pt x="3675" y="19096"/>
                    <a:pt x="3764" y="19155"/>
                    <a:pt x="3764" y="19271"/>
                  </a:cubicBezTo>
                  <a:cubicBezTo>
                    <a:pt x="3764" y="19388"/>
                    <a:pt x="3585" y="19446"/>
                    <a:pt x="3585" y="19504"/>
                  </a:cubicBezTo>
                  <a:cubicBezTo>
                    <a:pt x="3585" y="19679"/>
                    <a:pt x="3854" y="19737"/>
                    <a:pt x="3854" y="19912"/>
                  </a:cubicBezTo>
                  <a:cubicBezTo>
                    <a:pt x="3854" y="20028"/>
                    <a:pt x="3675" y="20028"/>
                    <a:pt x="3585" y="20144"/>
                  </a:cubicBezTo>
                  <a:cubicBezTo>
                    <a:pt x="3495" y="20261"/>
                    <a:pt x="3585" y="20377"/>
                    <a:pt x="3585" y="20494"/>
                  </a:cubicBezTo>
                  <a:cubicBezTo>
                    <a:pt x="3944" y="20610"/>
                    <a:pt x="4033" y="20727"/>
                    <a:pt x="4481" y="20727"/>
                  </a:cubicBezTo>
                  <a:cubicBezTo>
                    <a:pt x="4840" y="20727"/>
                    <a:pt x="5109" y="20727"/>
                    <a:pt x="5467" y="20727"/>
                  </a:cubicBezTo>
                  <a:cubicBezTo>
                    <a:pt x="5736" y="20727"/>
                    <a:pt x="5826" y="20785"/>
                    <a:pt x="6005" y="20785"/>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sp>
          <p:nvSpPr>
            <p:cNvPr id="357" name="Shape 357"/>
            <p:cNvSpPr/>
            <p:nvPr/>
          </p:nvSpPr>
          <p:spPr>
            <a:xfrm>
              <a:off x="2810549" y="2924786"/>
              <a:ext cx="58650" cy="54021"/>
            </a:xfrm>
            <a:custGeom>
              <a:avLst/>
              <a:gdLst/>
              <a:ahLst/>
              <a:cxnLst>
                <a:cxn ang="0">
                  <a:pos x="wd2" y="hd2"/>
                </a:cxn>
                <a:cxn ang="5400000">
                  <a:pos x="wd2" y="hd2"/>
                </a:cxn>
                <a:cxn ang="10800000">
                  <a:pos x="wd2" y="hd2"/>
                </a:cxn>
                <a:cxn ang="16200000">
                  <a:pos x="wd2" y="hd2"/>
                </a:cxn>
              </a:cxnLst>
              <a:rect l="0" t="0" r="r" b="b"/>
              <a:pathLst>
                <a:path w="21600" h="21600" extrusionOk="0">
                  <a:moveTo>
                    <a:pt x="12150" y="21600"/>
                  </a:moveTo>
                  <a:cubicBezTo>
                    <a:pt x="14850" y="21600"/>
                    <a:pt x="14850" y="20160"/>
                    <a:pt x="16200" y="17280"/>
                  </a:cubicBezTo>
                  <a:cubicBezTo>
                    <a:pt x="18900" y="14400"/>
                    <a:pt x="21600" y="11520"/>
                    <a:pt x="21600" y="7200"/>
                  </a:cubicBezTo>
                  <a:cubicBezTo>
                    <a:pt x="21600" y="4320"/>
                    <a:pt x="20250" y="1440"/>
                    <a:pt x="18900" y="0"/>
                  </a:cubicBezTo>
                  <a:cubicBezTo>
                    <a:pt x="17550" y="0"/>
                    <a:pt x="17550" y="0"/>
                    <a:pt x="16200" y="0"/>
                  </a:cubicBezTo>
                  <a:cubicBezTo>
                    <a:pt x="12150" y="0"/>
                    <a:pt x="10800" y="5760"/>
                    <a:pt x="8100" y="8640"/>
                  </a:cubicBezTo>
                  <a:cubicBezTo>
                    <a:pt x="4050" y="11520"/>
                    <a:pt x="0" y="12960"/>
                    <a:pt x="0" y="18720"/>
                  </a:cubicBezTo>
                  <a:cubicBezTo>
                    <a:pt x="0" y="20160"/>
                    <a:pt x="1350" y="21600"/>
                    <a:pt x="4050" y="21600"/>
                  </a:cubicBezTo>
                  <a:cubicBezTo>
                    <a:pt x="8100" y="21600"/>
                    <a:pt x="8100" y="21600"/>
                    <a:pt x="8100" y="21600"/>
                  </a:cubicBezTo>
                  <a:cubicBezTo>
                    <a:pt x="9450" y="21600"/>
                    <a:pt x="10800" y="21600"/>
                    <a:pt x="12150" y="21600"/>
                  </a:cubicBezTo>
                  <a:close/>
                </a:path>
              </a:pathLst>
            </a:custGeom>
            <a:solidFill>
              <a:srgbClr val="B2D2DE"/>
            </a:solidFill>
            <a:ln w="9525" cap="flat">
              <a:solidFill>
                <a:srgbClr val="FFFFFF"/>
              </a:solidFill>
              <a:prstDash val="solid"/>
              <a:miter lim="800000"/>
            </a:ln>
            <a:effectLst/>
          </p:spPr>
          <p:txBody>
            <a:bodyPr wrap="square" lIns="0" tIns="0" rIns="0" bIns="0" numCol="1" anchor="t">
              <a:noAutofit/>
            </a:bodyPr>
            <a:lstStyle/>
            <a:p>
              <a:pPr lvl="0" defTabSz="914400"/>
              <a:endParaRPr/>
            </a:p>
          </p:txBody>
        </p:sp>
      </p:grpSp>
      <p:sp>
        <p:nvSpPr>
          <p:cNvPr id="359" name="Shape 359"/>
          <p:cNvSpPr/>
          <p:nvPr/>
        </p:nvSpPr>
        <p:spPr>
          <a:xfrm>
            <a:off x="4069031" y="4318348"/>
            <a:ext cx="2119490"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Ouagadougou (</a:t>
            </a:r>
            <a:r>
              <a:rPr sz="800" i="1">
                <a:latin typeface="Arial"/>
                <a:ea typeface="Arial"/>
                <a:cs typeface="Arial"/>
                <a:sym typeface="Arial"/>
              </a:rPr>
              <a:t>Burkina Faso)</a:t>
            </a:r>
          </a:p>
        </p:txBody>
      </p:sp>
      <p:sp>
        <p:nvSpPr>
          <p:cNvPr id="360" name="Shape 360"/>
          <p:cNvSpPr/>
          <p:nvPr/>
        </p:nvSpPr>
        <p:spPr>
          <a:xfrm>
            <a:off x="2847256" y="3933233"/>
            <a:ext cx="928990"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Bamako </a:t>
            </a:r>
            <a:r>
              <a:rPr sz="800" i="1">
                <a:latin typeface="Arial"/>
                <a:ea typeface="Arial"/>
                <a:cs typeface="Arial"/>
                <a:sym typeface="Arial"/>
              </a:rPr>
              <a:t>(Mali)</a:t>
            </a:r>
          </a:p>
        </p:txBody>
      </p:sp>
      <p:sp>
        <p:nvSpPr>
          <p:cNvPr id="361" name="Shape 361"/>
          <p:cNvSpPr/>
          <p:nvPr/>
        </p:nvSpPr>
        <p:spPr>
          <a:xfrm>
            <a:off x="1389401" y="3893155"/>
            <a:ext cx="118297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Dakar </a:t>
            </a:r>
            <a:r>
              <a:rPr sz="800" i="1">
                <a:latin typeface="Arial"/>
                <a:ea typeface="Arial"/>
                <a:cs typeface="Arial"/>
                <a:sym typeface="Arial"/>
              </a:rPr>
              <a:t>(Sénégal)</a:t>
            </a:r>
          </a:p>
        </p:txBody>
      </p:sp>
      <p:sp>
        <p:nvSpPr>
          <p:cNvPr id="362" name="Shape 362"/>
          <p:cNvSpPr/>
          <p:nvPr/>
        </p:nvSpPr>
        <p:spPr>
          <a:xfrm>
            <a:off x="4410493" y="4031877"/>
            <a:ext cx="118297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Niamey </a:t>
            </a:r>
            <a:r>
              <a:rPr sz="800" i="1">
                <a:latin typeface="Arial"/>
                <a:ea typeface="Arial"/>
                <a:cs typeface="Arial"/>
                <a:sym typeface="Arial"/>
              </a:rPr>
              <a:t>(Niger)</a:t>
            </a:r>
          </a:p>
        </p:txBody>
      </p:sp>
      <p:sp>
        <p:nvSpPr>
          <p:cNvPr id="363" name="Shape 363"/>
          <p:cNvSpPr/>
          <p:nvPr/>
        </p:nvSpPr>
        <p:spPr>
          <a:xfrm>
            <a:off x="3235380" y="5332957"/>
            <a:ext cx="897332" cy="21417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Abidjan</a:t>
            </a:r>
          </a:p>
          <a:p>
            <a:pPr lvl="0">
              <a:lnSpc>
                <a:spcPct val="90000"/>
              </a:lnSpc>
            </a:pPr>
            <a:r>
              <a:rPr sz="800" i="1">
                <a:latin typeface="Arial"/>
                <a:ea typeface="Arial"/>
                <a:cs typeface="Arial"/>
                <a:sym typeface="Arial"/>
              </a:rPr>
              <a:t>(Ivory Coast)</a:t>
            </a:r>
          </a:p>
        </p:txBody>
      </p:sp>
      <p:sp>
        <p:nvSpPr>
          <p:cNvPr id="364" name="Shape 364"/>
          <p:cNvSpPr/>
          <p:nvPr/>
        </p:nvSpPr>
        <p:spPr>
          <a:xfrm>
            <a:off x="4234231" y="4919531"/>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365" name="Shape 365"/>
          <p:cNvSpPr/>
          <p:nvPr/>
        </p:nvSpPr>
        <p:spPr>
          <a:xfrm>
            <a:off x="4214762" y="4571884"/>
            <a:ext cx="565564" cy="21418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Cotonou</a:t>
            </a:r>
          </a:p>
          <a:p>
            <a:pPr lvl="0">
              <a:lnSpc>
                <a:spcPct val="90000"/>
              </a:lnSpc>
            </a:pPr>
            <a:r>
              <a:rPr sz="800" i="1">
                <a:latin typeface="Arial"/>
                <a:ea typeface="Arial"/>
                <a:cs typeface="Arial"/>
                <a:sym typeface="Arial"/>
              </a:rPr>
              <a:t>(Benin)</a:t>
            </a:r>
          </a:p>
        </p:txBody>
      </p:sp>
      <p:sp>
        <p:nvSpPr>
          <p:cNvPr id="366" name="Shape 366"/>
          <p:cNvSpPr/>
          <p:nvPr/>
        </p:nvSpPr>
        <p:spPr>
          <a:xfrm>
            <a:off x="5009572" y="5748349"/>
            <a:ext cx="135821" cy="13582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367" name="Shape 367"/>
          <p:cNvSpPr/>
          <p:nvPr/>
        </p:nvSpPr>
        <p:spPr>
          <a:xfrm>
            <a:off x="4786145" y="5926001"/>
            <a:ext cx="690067" cy="21417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Libreville</a:t>
            </a:r>
          </a:p>
          <a:p>
            <a:pPr lvl="0">
              <a:lnSpc>
                <a:spcPct val="90000"/>
              </a:lnSpc>
            </a:pPr>
            <a:r>
              <a:rPr sz="800" i="1">
                <a:latin typeface="Arial"/>
                <a:ea typeface="Arial"/>
                <a:cs typeface="Arial"/>
                <a:sym typeface="Arial"/>
              </a:rPr>
              <a:t>(Gabon)</a:t>
            </a:r>
          </a:p>
        </p:txBody>
      </p:sp>
      <p:sp>
        <p:nvSpPr>
          <p:cNvPr id="368" name="Shape 368"/>
          <p:cNvSpPr/>
          <p:nvPr/>
        </p:nvSpPr>
        <p:spPr>
          <a:xfrm>
            <a:off x="2415101" y="4486928"/>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369" name="Shape 369"/>
          <p:cNvSpPr/>
          <p:nvPr/>
        </p:nvSpPr>
        <p:spPr>
          <a:xfrm>
            <a:off x="1586181" y="4793072"/>
            <a:ext cx="118297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Conakry </a:t>
            </a:r>
            <a:r>
              <a:rPr sz="800" i="1">
                <a:latin typeface="Arial"/>
                <a:ea typeface="Arial"/>
                <a:cs typeface="Arial"/>
                <a:sym typeface="Arial"/>
              </a:rPr>
              <a:t>(Guinea)</a:t>
            </a:r>
          </a:p>
        </p:txBody>
      </p:sp>
      <p:sp>
        <p:nvSpPr>
          <p:cNvPr id="370" name="Shape 370"/>
          <p:cNvSpPr/>
          <p:nvPr/>
        </p:nvSpPr>
        <p:spPr>
          <a:xfrm>
            <a:off x="1561291" y="3717271"/>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371" name="Shape 371"/>
          <p:cNvSpPr/>
          <p:nvPr/>
        </p:nvSpPr>
        <p:spPr>
          <a:xfrm>
            <a:off x="1027486" y="3528633"/>
            <a:ext cx="742838" cy="23020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Praia</a:t>
            </a:r>
          </a:p>
          <a:p>
            <a:pPr lvl="0">
              <a:lnSpc>
                <a:spcPct val="90000"/>
              </a:lnSpc>
            </a:pPr>
            <a:r>
              <a:rPr sz="800">
                <a:latin typeface="Arial"/>
                <a:ea typeface="Arial"/>
                <a:cs typeface="Arial"/>
                <a:sym typeface="Arial"/>
              </a:rPr>
              <a:t>(</a:t>
            </a:r>
            <a:r>
              <a:rPr sz="800" i="1"/>
              <a:t>Cape Verde</a:t>
            </a:r>
            <a:r>
              <a:rPr sz="800">
                <a:latin typeface="Arial"/>
                <a:ea typeface="Arial"/>
                <a:cs typeface="Arial"/>
                <a:sym typeface="Arial"/>
              </a:rPr>
              <a:t>)</a:t>
            </a:r>
          </a:p>
        </p:txBody>
      </p:sp>
      <p:sp>
        <p:nvSpPr>
          <p:cNvPr id="372" name="Shape 372"/>
          <p:cNvSpPr/>
          <p:nvPr/>
        </p:nvSpPr>
        <p:spPr>
          <a:xfrm>
            <a:off x="1150570" y="4116880"/>
            <a:ext cx="1038560"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Banjul </a:t>
            </a:r>
            <a:r>
              <a:rPr sz="800" i="1">
                <a:latin typeface="Arial"/>
                <a:ea typeface="Arial"/>
                <a:cs typeface="Arial"/>
                <a:sym typeface="Arial"/>
              </a:rPr>
              <a:t>(The Gambia)</a:t>
            </a:r>
          </a:p>
        </p:txBody>
      </p:sp>
      <p:sp>
        <p:nvSpPr>
          <p:cNvPr id="373" name="Shape 373"/>
          <p:cNvSpPr/>
          <p:nvPr/>
        </p:nvSpPr>
        <p:spPr>
          <a:xfrm>
            <a:off x="2279280" y="4369215"/>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374" name="Shape 374"/>
          <p:cNvSpPr/>
          <p:nvPr/>
        </p:nvSpPr>
        <p:spPr>
          <a:xfrm>
            <a:off x="1241864" y="4439608"/>
            <a:ext cx="1040054" cy="21417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gn="r">
              <a:lnSpc>
                <a:spcPct val="90000"/>
              </a:lnSpc>
            </a:pPr>
            <a:r>
              <a:rPr sz="800">
                <a:latin typeface="Arial"/>
                <a:ea typeface="Arial"/>
                <a:cs typeface="Arial"/>
                <a:sym typeface="Arial"/>
              </a:rPr>
              <a:t>Bissau</a:t>
            </a:r>
            <a:br>
              <a:rPr sz="800">
                <a:latin typeface="Arial"/>
                <a:ea typeface="Arial"/>
                <a:cs typeface="Arial"/>
                <a:sym typeface="Arial"/>
              </a:rPr>
            </a:br>
            <a:r>
              <a:rPr sz="800" i="1">
                <a:latin typeface="Arial"/>
                <a:ea typeface="Arial"/>
                <a:cs typeface="Arial"/>
                <a:sym typeface="Arial"/>
              </a:rPr>
              <a:t>(Guinea-Bissau)</a:t>
            </a:r>
          </a:p>
        </p:txBody>
      </p:sp>
      <p:sp>
        <p:nvSpPr>
          <p:cNvPr id="375" name="Shape 375"/>
          <p:cNvSpPr/>
          <p:nvPr/>
        </p:nvSpPr>
        <p:spPr>
          <a:xfrm>
            <a:off x="5243253" y="5191826"/>
            <a:ext cx="762735" cy="21418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Douala </a:t>
            </a:r>
            <a:r>
              <a:rPr sz="800" i="1">
                <a:latin typeface="Arial"/>
                <a:ea typeface="Arial"/>
                <a:cs typeface="Arial"/>
                <a:sym typeface="Arial"/>
              </a:rPr>
              <a:t>(Cameroon)</a:t>
            </a:r>
          </a:p>
        </p:txBody>
      </p:sp>
      <p:sp>
        <p:nvSpPr>
          <p:cNvPr id="376" name="Shape 376"/>
          <p:cNvSpPr/>
          <p:nvPr/>
        </p:nvSpPr>
        <p:spPr>
          <a:xfrm>
            <a:off x="2238261" y="4347912"/>
            <a:ext cx="73975" cy="739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377" name="Shape 377"/>
          <p:cNvSpPr/>
          <p:nvPr/>
        </p:nvSpPr>
        <p:spPr>
          <a:xfrm>
            <a:off x="1133787" y="4384899"/>
            <a:ext cx="1122344" cy="1"/>
          </a:xfrm>
          <a:prstGeom prst="line">
            <a:avLst/>
          </a:prstGeom>
          <a:ln>
            <a:solidFill/>
          </a:ln>
        </p:spPr>
        <p:txBody>
          <a:bodyPr lIns="0" tIns="0" rIns="0" bIns="0"/>
          <a:lstStyle/>
          <a:p>
            <a:pPr lvl="0">
              <a:defRPr sz="1200">
                <a:latin typeface="+mj-lt"/>
                <a:ea typeface="+mj-ea"/>
                <a:cs typeface="+mj-cs"/>
                <a:sym typeface="Helvetica"/>
              </a:defRPr>
            </a:pPr>
            <a:endParaRPr/>
          </a:p>
        </p:txBody>
      </p:sp>
      <p:sp>
        <p:nvSpPr>
          <p:cNvPr id="378" name="Shape 378"/>
          <p:cNvSpPr/>
          <p:nvPr/>
        </p:nvSpPr>
        <p:spPr>
          <a:xfrm>
            <a:off x="281142" y="4014053"/>
            <a:ext cx="690110" cy="21417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gn="r">
              <a:lnSpc>
                <a:spcPct val="90000"/>
              </a:lnSpc>
            </a:pPr>
            <a:r>
              <a:rPr sz="800">
                <a:latin typeface="Arial"/>
                <a:ea typeface="Arial"/>
                <a:cs typeface="Arial"/>
                <a:sym typeface="Arial"/>
              </a:rPr>
              <a:t>Ziguinchor </a:t>
            </a:r>
            <a:r>
              <a:rPr sz="800" i="1">
                <a:latin typeface="Arial"/>
                <a:ea typeface="Arial"/>
                <a:cs typeface="Arial"/>
                <a:sym typeface="Arial"/>
              </a:rPr>
              <a:t>(Sénégal)</a:t>
            </a:r>
          </a:p>
        </p:txBody>
      </p:sp>
      <p:sp>
        <p:nvSpPr>
          <p:cNvPr id="379" name="Shape 379"/>
          <p:cNvSpPr/>
          <p:nvPr/>
        </p:nvSpPr>
        <p:spPr>
          <a:xfrm>
            <a:off x="281142" y="4347719"/>
            <a:ext cx="836826" cy="21417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gn="r">
              <a:lnSpc>
                <a:spcPct val="90000"/>
              </a:lnSpc>
            </a:pPr>
            <a:r>
              <a:rPr sz="800">
                <a:latin typeface="Arial"/>
                <a:ea typeface="Arial"/>
                <a:cs typeface="Arial"/>
                <a:sym typeface="Arial"/>
              </a:rPr>
              <a:t>Cap Skirring</a:t>
            </a:r>
          </a:p>
          <a:p>
            <a:pPr lvl="0" algn="r">
              <a:lnSpc>
                <a:spcPct val="90000"/>
              </a:lnSpc>
            </a:pPr>
            <a:r>
              <a:rPr sz="800" i="1">
                <a:latin typeface="Arial"/>
                <a:ea typeface="Arial"/>
                <a:cs typeface="Arial"/>
                <a:sym typeface="Arial"/>
              </a:rPr>
              <a:t>(Sénégal)</a:t>
            </a:r>
          </a:p>
        </p:txBody>
      </p:sp>
      <p:sp>
        <p:nvSpPr>
          <p:cNvPr id="380" name="Shape 380"/>
          <p:cNvSpPr/>
          <p:nvPr/>
        </p:nvSpPr>
        <p:spPr>
          <a:xfrm>
            <a:off x="2273840" y="3525063"/>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381" name="Shape 381"/>
          <p:cNvSpPr/>
          <p:nvPr/>
        </p:nvSpPr>
        <p:spPr>
          <a:xfrm>
            <a:off x="2452236" y="3438121"/>
            <a:ext cx="118297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0000"/>
              </a:lnSpc>
            </a:pPr>
            <a:r>
              <a:rPr sz="800">
                <a:latin typeface="Arial"/>
                <a:ea typeface="Arial"/>
                <a:cs typeface="Arial"/>
                <a:sym typeface="Arial"/>
              </a:rPr>
              <a:t>Nouakchott </a:t>
            </a:r>
            <a:r>
              <a:rPr sz="800" i="1">
                <a:latin typeface="Arial"/>
                <a:ea typeface="Arial"/>
                <a:cs typeface="Arial"/>
                <a:sym typeface="Arial"/>
              </a:rPr>
              <a:t>(Mauritania)</a:t>
            </a:r>
          </a:p>
        </p:txBody>
      </p:sp>
      <p:cxnSp>
        <p:nvCxnSpPr>
          <p:cNvPr id="382" name="Connector 382"/>
          <p:cNvCxnSpPr>
            <a:stCxn id="364" idx="0"/>
            <a:endCxn id="366" idx="0"/>
          </p:cNvCxnSpPr>
          <p:nvPr/>
        </p:nvCxnSpPr>
        <p:spPr>
          <a:xfrm>
            <a:off x="4302142" y="4987442"/>
            <a:ext cx="775341" cy="828818"/>
          </a:xfrm>
          <a:prstGeom prst="straightConnector1">
            <a:avLst/>
          </a:prstGeom>
          <a:ln w="57150">
            <a:solidFill>
              <a:srgbClr val="FF960C"/>
            </a:solidFill>
          </a:ln>
        </p:spPr>
      </p:cxnSp>
      <p:sp>
        <p:nvSpPr>
          <p:cNvPr id="383" name="Shape 383"/>
          <p:cNvSpPr/>
          <p:nvPr/>
        </p:nvSpPr>
        <p:spPr>
          <a:xfrm>
            <a:off x="6194338" y="2342403"/>
            <a:ext cx="272706" cy="4140001"/>
          </a:xfrm>
          <a:prstGeom prst="rect">
            <a:avLst/>
          </a:prstGeom>
          <a:solidFill>
            <a:srgbClr val="FFFFFF"/>
          </a:solidFill>
          <a:ln w="12700">
            <a:miter lim="400000"/>
          </a:ln>
        </p:spPr>
        <p:txBody>
          <a:bodyPr lIns="0" tIns="0" rIns="0" bIns="0"/>
          <a:lstStyle/>
          <a:p>
            <a:pPr lvl="0" algn="ctr" defTabSz="914400">
              <a:defRPr sz="700"/>
            </a:pPr>
            <a:endParaRPr/>
          </a:p>
        </p:txBody>
      </p:sp>
      <p:cxnSp>
        <p:nvCxnSpPr>
          <p:cNvPr id="384" name="Connector 384"/>
          <p:cNvCxnSpPr>
            <a:stCxn id="364" idx="0"/>
            <a:endCxn id="389" idx="0"/>
          </p:cNvCxnSpPr>
          <p:nvPr/>
        </p:nvCxnSpPr>
        <p:spPr>
          <a:xfrm>
            <a:off x="4302142" y="4987442"/>
            <a:ext cx="808885" cy="345278"/>
          </a:xfrm>
          <a:prstGeom prst="straightConnector1">
            <a:avLst/>
          </a:prstGeom>
          <a:ln w="19050">
            <a:solidFill>
              <a:srgbClr val="FF960C"/>
            </a:solidFill>
            <a:prstDash val="lgDash"/>
          </a:ln>
        </p:spPr>
      </p:cxnSp>
      <p:cxnSp>
        <p:nvCxnSpPr>
          <p:cNvPr id="385" name="Connector 385"/>
          <p:cNvCxnSpPr>
            <a:stCxn id="402" idx="0"/>
            <a:endCxn id="364" idx="0"/>
          </p:cNvCxnSpPr>
          <p:nvPr/>
        </p:nvCxnSpPr>
        <p:spPr>
          <a:xfrm flipV="1">
            <a:off x="3464457" y="4987442"/>
            <a:ext cx="837686" cy="111126"/>
          </a:xfrm>
          <a:prstGeom prst="straightConnector1">
            <a:avLst/>
          </a:prstGeom>
          <a:ln w="57150">
            <a:solidFill>
              <a:srgbClr val="FF960C"/>
            </a:solidFill>
          </a:ln>
        </p:spPr>
      </p:cxnSp>
      <p:cxnSp>
        <p:nvCxnSpPr>
          <p:cNvPr id="386" name="Connector 386"/>
          <p:cNvCxnSpPr>
            <a:stCxn id="399" idx="0"/>
            <a:endCxn id="364" idx="0"/>
          </p:cNvCxnSpPr>
          <p:nvPr/>
        </p:nvCxnSpPr>
        <p:spPr>
          <a:xfrm>
            <a:off x="3082796" y="4209495"/>
            <a:ext cx="1219347" cy="777948"/>
          </a:xfrm>
          <a:prstGeom prst="straightConnector1">
            <a:avLst/>
          </a:prstGeom>
          <a:ln>
            <a:solidFill>
              <a:srgbClr val="FF960C"/>
            </a:solidFill>
            <a:prstDash val="dash"/>
          </a:ln>
        </p:spPr>
      </p:cxnSp>
      <p:cxnSp>
        <p:nvCxnSpPr>
          <p:cNvPr id="387" name="Connector 387"/>
          <p:cNvCxnSpPr>
            <a:stCxn id="399" idx="0"/>
            <a:endCxn id="400" idx="0"/>
          </p:cNvCxnSpPr>
          <p:nvPr/>
        </p:nvCxnSpPr>
        <p:spPr>
          <a:xfrm>
            <a:off x="3082796" y="4209495"/>
            <a:ext cx="642662" cy="172204"/>
          </a:xfrm>
          <a:prstGeom prst="straightConnector1">
            <a:avLst/>
          </a:prstGeom>
          <a:ln w="12700">
            <a:solidFill>
              <a:srgbClr val="808080"/>
            </a:solidFill>
          </a:ln>
        </p:spPr>
      </p:cxnSp>
      <p:cxnSp>
        <p:nvCxnSpPr>
          <p:cNvPr id="388" name="Connector 388"/>
          <p:cNvCxnSpPr>
            <a:stCxn id="400" idx="0"/>
            <a:endCxn id="401" idx="0"/>
          </p:cNvCxnSpPr>
          <p:nvPr/>
        </p:nvCxnSpPr>
        <p:spPr>
          <a:xfrm flipV="1">
            <a:off x="3725457" y="4157809"/>
            <a:ext cx="545717" cy="223890"/>
          </a:xfrm>
          <a:prstGeom prst="straightConnector1">
            <a:avLst/>
          </a:prstGeom>
          <a:ln w="12700">
            <a:solidFill>
              <a:srgbClr val="808080"/>
            </a:solidFill>
          </a:ln>
        </p:spPr>
      </p:cxnSp>
      <p:sp>
        <p:nvSpPr>
          <p:cNvPr id="389" name="Shape 389"/>
          <p:cNvSpPr/>
          <p:nvPr/>
        </p:nvSpPr>
        <p:spPr>
          <a:xfrm>
            <a:off x="5043115" y="5264808"/>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cxnSp>
        <p:nvCxnSpPr>
          <p:cNvPr id="390" name="Connector 390"/>
          <p:cNvCxnSpPr>
            <a:stCxn id="410" idx="0"/>
            <a:endCxn id="399" idx="0"/>
          </p:cNvCxnSpPr>
          <p:nvPr/>
        </p:nvCxnSpPr>
        <p:spPr>
          <a:xfrm>
            <a:off x="2290086" y="3961066"/>
            <a:ext cx="792711" cy="248430"/>
          </a:xfrm>
          <a:prstGeom prst="straightConnector1">
            <a:avLst/>
          </a:prstGeom>
          <a:ln w="28575">
            <a:solidFill>
              <a:srgbClr val="808080"/>
            </a:solidFill>
            <a:prstDash val="sysDot"/>
          </a:ln>
        </p:spPr>
      </p:cxnSp>
      <p:sp>
        <p:nvSpPr>
          <p:cNvPr id="391" name="Shape 391"/>
          <p:cNvSpPr/>
          <p:nvPr/>
        </p:nvSpPr>
        <p:spPr>
          <a:xfrm rot="16200000">
            <a:off x="2213849" y="3785141"/>
            <a:ext cx="252161" cy="364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400" y="0"/>
                  <a:pt x="10800" y="5399"/>
                  <a:pt x="10800" y="10803"/>
                </a:cubicBezTo>
                <a:cubicBezTo>
                  <a:pt x="10800" y="16201"/>
                  <a:pt x="16200" y="21600"/>
                  <a:pt x="21600" y="21600"/>
                </a:cubicBezTo>
              </a:path>
            </a:pathLst>
          </a:custGeom>
          <a:ln w="19050">
            <a:solidFill>
              <a:srgbClr val="FF0000"/>
            </a:solidFill>
            <a:prstDash val="lgDash"/>
          </a:ln>
        </p:spPr>
        <p:txBody>
          <a:bodyPr lIns="0" tIns="0" rIns="0" bIns="0" anchor="ctr"/>
          <a:lstStyle/>
          <a:p>
            <a:pPr lvl="0"/>
            <a:endParaRPr/>
          </a:p>
        </p:txBody>
      </p:sp>
      <p:cxnSp>
        <p:nvCxnSpPr>
          <p:cNvPr id="392" name="Connector 392"/>
          <p:cNvCxnSpPr>
            <a:stCxn id="370" idx="0"/>
            <a:endCxn id="410" idx="0"/>
          </p:cNvCxnSpPr>
          <p:nvPr/>
        </p:nvCxnSpPr>
        <p:spPr>
          <a:xfrm>
            <a:off x="1629202" y="3785182"/>
            <a:ext cx="660885" cy="175885"/>
          </a:xfrm>
          <a:prstGeom prst="straightConnector1">
            <a:avLst/>
          </a:prstGeom>
          <a:ln w="19050">
            <a:solidFill>
              <a:srgbClr val="FF0000"/>
            </a:solidFill>
          </a:ln>
        </p:spPr>
      </p:cxnSp>
      <p:cxnSp>
        <p:nvCxnSpPr>
          <p:cNvPr id="393" name="Connector 393"/>
          <p:cNvCxnSpPr>
            <a:stCxn id="410" idx="0"/>
            <a:endCxn id="409" idx="0"/>
          </p:cNvCxnSpPr>
          <p:nvPr/>
        </p:nvCxnSpPr>
        <p:spPr>
          <a:xfrm flipH="1">
            <a:off x="2224024" y="3961066"/>
            <a:ext cx="66063" cy="234607"/>
          </a:xfrm>
          <a:prstGeom prst="straightConnector1">
            <a:avLst/>
          </a:prstGeom>
          <a:ln>
            <a:solidFill>
              <a:srgbClr val="FF0000"/>
            </a:solidFill>
          </a:ln>
        </p:spPr>
      </p:cxnSp>
      <p:cxnSp>
        <p:nvCxnSpPr>
          <p:cNvPr id="394" name="Connector 394"/>
          <p:cNvCxnSpPr>
            <a:stCxn id="410" idx="0"/>
            <a:endCxn id="402" idx="0"/>
          </p:cNvCxnSpPr>
          <p:nvPr/>
        </p:nvCxnSpPr>
        <p:spPr>
          <a:xfrm>
            <a:off x="2290086" y="3961066"/>
            <a:ext cx="1174372" cy="1137502"/>
          </a:xfrm>
          <a:prstGeom prst="straightConnector1">
            <a:avLst/>
          </a:prstGeom>
          <a:ln w="57150">
            <a:solidFill>
              <a:srgbClr val="FF960C"/>
            </a:solidFill>
          </a:ln>
        </p:spPr>
      </p:cxnSp>
      <p:sp>
        <p:nvSpPr>
          <p:cNvPr id="395" name="Shape 395"/>
          <p:cNvSpPr/>
          <p:nvPr/>
        </p:nvSpPr>
        <p:spPr>
          <a:xfrm flipH="1">
            <a:off x="2293635" y="4028976"/>
            <a:ext cx="5146" cy="262604"/>
          </a:xfrm>
          <a:prstGeom prst="line">
            <a:avLst/>
          </a:prstGeom>
          <a:ln w="57150">
            <a:solidFill>
              <a:srgbClr val="FF0000"/>
            </a:solidFill>
          </a:ln>
        </p:spPr>
        <p:txBody>
          <a:bodyPr lIns="0" tIns="0" rIns="0" bIns="0"/>
          <a:lstStyle/>
          <a:p>
            <a:pPr lvl="0">
              <a:defRPr sz="1200">
                <a:latin typeface="+mj-lt"/>
                <a:ea typeface="+mj-ea"/>
                <a:cs typeface="+mj-cs"/>
                <a:sym typeface="Helvetica"/>
              </a:defRPr>
            </a:pPr>
            <a:endParaRPr/>
          </a:p>
        </p:txBody>
      </p:sp>
      <p:sp>
        <p:nvSpPr>
          <p:cNvPr id="396" name="Shape 396"/>
          <p:cNvSpPr/>
          <p:nvPr/>
        </p:nvSpPr>
        <p:spPr>
          <a:xfrm>
            <a:off x="2306390" y="4028976"/>
            <a:ext cx="1" cy="332106"/>
          </a:xfrm>
          <a:prstGeom prst="line">
            <a:avLst/>
          </a:prstGeom>
          <a:ln>
            <a:solidFill>
              <a:srgbClr val="FF0000"/>
            </a:solidFill>
          </a:ln>
        </p:spPr>
        <p:txBody>
          <a:bodyPr lIns="0" tIns="0" rIns="0" bIns="0"/>
          <a:lstStyle/>
          <a:p>
            <a:pPr lvl="0">
              <a:defRPr sz="1200">
                <a:latin typeface="+mj-lt"/>
                <a:ea typeface="+mj-ea"/>
                <a:cs typeface="+mj-cs"/>
                <a:sym typeface="Helvetica"/>
              </a:defRPr>
            </a:pPr>
            <a:endParaRPr/>
          </a:p>
        </p:txBody>
      </p:sp>
      <p:sp>
        <p:nvSpPr>
          <p:cNvPr id="397" name="Shape 397"/>
          <p:cNvSpPr/>
          <p:nvPr/>
        </p:nvSpPr>
        <p:spPr>
          <a:xfrm>
            <a:off x="2335732" y="4028976"/>
            <a:ext cx="11460" cy="340240"/>
          </a:xfrm>
          <a:prstGeom prst="line">
            <a:avLst/>
          </a:prstGeom>
          <a:ln w="19050">
            <a:solidFill>
              <a:srgbClr val="FF0000"/>
            </a:solidFill>
            <a:prstDash val="lgDash"/>
          </a:ln>
        </p:spPr>
        <p:txBody>
          <a:bodyPr lIns="0" tIns="0" rIns="0" bIns="0"/>
          <a:lstStyle/>
          <a:p>
            <a:pPr lvl="0">
              <a:defRPr sz="1200">
                <a:latin typeface="+mj-lt"/>
                <a:ea typeface="+mj-ea"/>
                <a:cs typeface="+mj-cs"/>
                <a:sym typeface="Helvetica"/>
              </a:defRPr>
            </a:pPr>
            <a:endParaRPr/>
          </a:p>
        </p:txBody>
      </p:sp>
      <p:sp>
        <p:nvSpPr>
          <p:cNvPr id="398" name="Shape 398"/>
          <p:cNvSpPr/>
          <p:nvPr/>
        </p:nvSpPr>
        <p:spPr>
          <a:xfrm>
            <a:off x="2345514" y="4028976"/>
            <a:ext cx="137499" cy="457953"/>
          </a:xfrm>
          <a:prstGeom prst="line">
            <a:avLst/>
          </a:prstGeom>
          <a:ln w="57150">
            <a:solidFill>
              <a:srgbClr val="256885"/>
            </a:solidFill>
          </a:ln>
        </p:spPr>
        <p:txBody>
          <a:bodyPr lIns="0" tIns="0" rIns="0" bIns="0"/>
          <a:lstStyle/>
          <a:p>
            <a:pPr lvl="0">
              <a:defRPr sz="1200">
                <a:latin typeface="+mj-lt"/>
                <a:ea typeface="+mj-ea"/>
                <a:cs typeface="+mj-cs"/>
                <a:sym typeface="Helvetica"/>
              </a:defRPr>
            </a:pPr>
            <a:endParaRPr/>
          </a:p>
        </p:txBody>
      </p:sp>
      <p:sp>
        <p:nvSpPr>
          <p:cNvPr id="399" name="Shape 399"/>
          <p:cNvSpPr/>
          <p:nvPr/>
        </p:nvSpPr>
        <p:spPr>
          <a:xfrm>
            <a:off x="3014885" y="4141584"/>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00" name="Shape 400"/>
          <p:cNvSpPr/>
          <p:nvPr/>
        </p:nvSpPr>
        <p:spPr>
          <a:xfrm>
            <a:off x="3657546" y="4313787"/>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01" name="Shape 401"/>
          <p:cNvSpPr/>
          <p:nvPr/>
        </p:nvSpPr>
        <p:spPr>
          <a:xfrm>
            <a:off x="4203262" y="4089898"/>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02" name="Shape 402"/>
          <p:cNvSpPr/>
          <p:nvPr/>
        </p:nvSpPr>
        <p:spPr>
          <a:xfrm>
            <a:off x="3396546" y="5030656"/>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cxnSp>
        <p:nvCxnSpPr>
          <p:cNvPr id="403" name="Connector 403"/>
          <p:cNvCxnSpPr>
            <a:stCxn id="410" idx="0"/>
            <a:endCxn id="364" idx="0"/>
          </p:cNvCxnSpPr>
          <p:nvPr/>
        </p:nvCxnSpPr>
        <p:spPr>
          <a:xfrm>
            <a:off x="2290086" y="3961066"/>
            <a:ext cx="2012057" cy="1026377"/>
          </a:xfrm>
          <a:prstGeom prst="straightConnector1">
            <a:avLst/>
          </a:prstGeom>
          <a:ln>
            <a:solidFill>
              <a:srgbClr val="FF960C"/>
            </a:solidFill>
            <a:prstDash val="dash"/>
          </a:ln>
        </p:spPr>
      </p:cxnSp>
      <p:sp>
        <p:nvSpPr>
          <p:cNvPr id="404" name="Shape 404"/>
          <p:cNvSpPr/>
          <p:nvPr/>
        </p:nvSpPr>
        <p:spPr>
          <a:xfrm flipV="1">
            <a:off x="2400781" y="4622748"/>
            <a:ext cx="82231" cy="186261"/>
          </a:xfrm>
          <a:prstGeom prst="line">
            <a:avLst/>
          </a:prstGeom>
          <a:ln>
            <a:solidFill/>
          </a:ln>
        </p:spPr>
        <p:txBody>
          <a:bodyPr lIns="0" tIns="0" rIns="0" bIns="0"/>
          <a:lstStyle/>
          <a:p>
            <a:pPr lvl="0">
              <a:defRPr sz="1200">
                <a:latin typeface="+mj-lt"/>
                <a:ea typeface="+mj-ea"/>
                <a:cs typeface="+mj-cs"/>
                <a:sym typeface="Helvetica"/>
              </a:defRPr>
            </a:pPr>
            <a:endParaRPr/>
          </a:p>
        </p:txBody>
      </p:sp>
      <p:sp>
        <p:nvSpPr>
          <p:cNvPr id="405" name="Shape 405"/>
          <p:cNvSpPr/>
          <p:nvPr/>
        </p:nvSpPr>
        <p:spPr>
          <a:xfrm>
            <a:off x="961476" y="4296426"/>
            <a:ext cx="1238390" cy="1"/>
          </a:xfrm>
          <a:prstGeom prst="line">
            <a:avLst/>
          </a:prstGeom>
          <a:ln>
            <a:solidFill/>
          </a:ln>
        </p:spPr>
        <p:txBody>
          <a:bodyPr lIns="0" tIns="0" rIns="0" bIns="0"/>
          <a:lstStyle/>
          <a:p>
            <a:pPr lvl="0">
              <a:defRPr sz="1200">
                <a:latin typeface="+mj-lt"/>
                <a:ea typeface="+mj-ea"/>
                <a:cs typeface="+mj-cs"/>
                <a:sym typeface="Helvetica"/>
              </a:defRPr>
            </a:pPr>
            <a:endParaRPr/>
          </a:p>
        </p:txBody>
      </p:sp>
      <p:sp>
        <p:nvSpPr>
          <p:cNvPr id="406" name="Shape 406"/>
          <p:cNvSpPr/>
          <p:nvPr/>
        </p:nvSpPr>
        <p:spPr>
          <a:xfrm>
            <a:off x="2199865" y="4259440"/>
            <a:ext cx="73975" cy="739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07" name="Shape 407"/>
          <p:cNvSpPr/>
          <p:nvPr/>
        </p:nvSpPr>
        <p:spPr>
          <a:xfrm flipH="1">
            <a:off x="2219734" y="4009085"/>
            <a:ext cx="22332" cy="273800"/>
          </a:xfrm>
          <a:prstGeom prst="line">
            <a:avLst/>
          </a:prstGeom>
          <a:ln w="28575">
            <a:solidFill>
              <a:srgbClr val="FF0000"/>
            </a:solidFill>
            <a:prstDash val="sysDash"/>
          </a:ln>
        </p:spPr>
        <p:txBody>
          <a:bodyPr lIns="0" tIns="0" rIns="0" bIns="0"/>
          <a:lstStyle/>
          <a:p>
            <a:pPr lvl="0">
              <a:defRPr sz="1200">
                <a:latin typeface="+mj-lt"/>
                <a:ea typeface="+mj-ea"/>
                <a:cs typeface="+mj-cs"/>
                <a:sym typeface="Helvetica"/>
              </a:defRPr>
            </a:pPr>
            <a:endParaRPr/>
          </a:p>
        </p:txBody>
      </p:sp>
      <p:sp>
        <p:nvSpPr>
          <p:cNvPr id="408" name="Shape 408"/>
          <p:cNvSpPr/>
          <p:nvPr/>
        </p:nvSpPr>
        <p:spPr>
          <a:xfrm>
            <a:off x="2138680" y="3949624"/>
            <a:ext cx="96938" cy="250396"/>
          </a:xfrm>
          <a:custGeom>
            <a:avLst/>
            <a:gdLst/>
            <a:ahLst/>
            <a:cxnLst>
              <a:cxn ang="0">
                <a:pos x="wd2" y="hd2"/>
              </a:cxn>
              <a:cxn ang="5400000">
                <a:pos x="wd2" y="hd2"/>
              </a:cxn>
              <a:cxn ang="10800000">
                <a:pos x="wd2" y="hd2"/>
              </a:cxn>
              <a:cxn ang="16200000">
                <a:pos x="wd2" y="hd2"/>
              </a:cxn>
            </a:cxnLst>
            <a:rect l="0" t="0" r="r" b="b"/>
            <a:pathLst>
              <a:path w="14866" h="21600" extrusionOk="0">
                <a:moveTo>
                  <a:pt x="14866" y="0"/>
                </a:moveTo>
                <a:cubicBezTo>
                  <a:pt x="4066" y="4275"/>
                  <a:pt x="-6734" y="8550"/>
                  <a:pt x="5266" y="21600"/>
                </a:cubicBezTo>
              </a:path>
            </a:pathLst>
          </a:custGeom>
          <a:ln w="28575">
            <a:solidFill>
              <a:srgbClr val="FF0000"/>
            </a:solidFill>
            <a:prstDash val="sysDash"/>
          </a:ln>
        </p:spPr>
        <p:txBody>
          <a:bodyPr lIns="0" tIns="0" rIns="0" bIns="0" anchor="ctr"/>
          <a:lstStyle/>
          <a:p>
            <a:pPr lvl="0" algn="ctr" defTabSz="914400">
              <a:defRPr>
                <a:latin typeface="Arial"/>
                <a:ea typeface="Arial"/>
                <a:cs typeface="Arial"/>
                <a:sym typeface="Arial"/>
              </a:defRPr>
            </a:pPr>
            <a:endParaRPr/>
          </a:p>
        </p:txBody>
      </p:sp>
      <p:sp>
        <p:nvSpPr>
          <p:cNvPr id="409" name="Shape 409"/>
          <p:cNvSpPr/>
          <p:nvPr/>
        </p:nvSpPr>
        <p:spPr>
          <a:xfrm>
            <a:off x="2156113" y="4127761"/>
            <a:ext cx="135823" cy="13582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10" name="Shape 410"/>
          <p:cNvSpPr/>
          <p:nvPr/>
        </p:nvSpPr>
        <p:spPr>
          <a:xfrm>
            <a:off x="2222175" y="3893155"/>
            <a:ext cx="135823" cy="13582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256885"/>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11" name="Shape 411"/>
          <p:cNvSpPr/>
          <p:nvPr/>
        </p:nvSpPr>
        <p:spPr>
          <a:xfrm>
            <a:off x="6752535" y="4000815"/>
            <a:ext cx="252001" cy="1"/>
          </a:xfrm>
          <a:prstGeom prst="line">
            <a:avLst/>
          </a:prstGeom>
          <a:ln w="28575">
            <a:solidFill>
              <a:srgbClr val="808080"/>
            </a:solidFill>
          </a:ln>
        </p:spPr>
        <p:txBody>
          <a:bodyPr lIns="0" tIns="0" rIns="0" bIns="0"/>
          <a:lstStyle/>
          <a:p>
            <a:pPr lvl="0">
              <a:defRPr sz="1200">
                <a:latin typeface="+mj-lt"/>
                <a:ea typeface="+mj-ea"/>
                <a:cs typeface="+mj-cs"/>
                <a:sym typeface="Helvetica"/>
              </a:defRPr>
            </a:pPr>
            <a:endParaRPr/>
          </a:p>
        </p:txBody>
      </p:sp>
      <p:sp>
        <p:nvSpPr>
          <p:cNvPr id="412" name="Shape 412"/>
          <p:cNvSpPr/>
          <p:nvPr/>
        </p:nvSpPr>
        <p:spPr>
          <a:xfrm>
            <a:off x="7110752" y="3916210"/>
            <a:ext cx="1806576" cy="1478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100">
                <a:solidFill>
                  <a:srgbClr val="808080"/>
                </a:solidFill>
                <a:latin typeface="Arial"/>
                <a:ea typeface="Arial"/>
                <a:cs typeface="Arial"/>
                <a:sym typeface="Arial"/>
              </a:defRPr>
            </a:lvl1pPr>
          </a:lstStyle>
          <a:p>
            <a:pPr lvl="0">
              <a:defRPr sz="1800">
                <a:solidFill>
                  <a:srgbClr val="000000"/>
                </a:solidFill>
              </a:defRPr>
            </a:pPr>
            <a:r>
              <a:rPr sz="1100">
                <a:solidFill>
                  <a:srgbClr val="808080"/>
                </a:solidFill>
              </a:rPr>
              <a:t>Bamako axis (A320)</a:t>
            </a:r>
          </a:p>
        </p:txBody>
      </p:sp>
      <p:grpSp>
        <p:nvGrpSpPr>
          <p:cNvPr id="3" name="Group 415"/>
          <p:cNvGrpSpPr/>
          <p:nvPr/>
        </p:nvGrpSpPr>
        <p:grpSpPr>
          <a:xfrm>
            <a:off x="6415427" y="2897764"/>
            <a:ext cx="216001" cy="216001"/>
            <a:chOff x="0" y="0"/>
            <a:chExt cx="215999" cy="215999"/>
          </a:xfrm>
        </p:grpSpPr>
        <p:sp>
          <p:nvSpPr>
            <p:cNvPr id="413" name="Shape 413"/>
            <p:cNvSpPr/>
            <p:nvPr/>
          </p:nvSpPr>
          <p:spPr>
            <a:xfrm>
              <a:off x="0" y="0"/>
              <a:ext cx="216000" cy="216000"/>
            </a:xfrm>
            <a:prstGeom prst="rect">
              <a:avLst/>
            </a:prstGeom>
            <a:solidFill>
              <a:srgbClr val="256885"/>
            </a:solidFill>
            <a:ln w="12700" cap="flat">
              <a:noFill/>
              <a:miter lim="400000"/>
            </a:ln>
            <a:effectLst/>
          </p:spPr>
          <p:txBody>
            <a:bodyPr wrap="square" lIns="0" tIns="0" rIns="0" bIns="0" numCol="1" anchor="ctr">
              <a:noAutofit/>
            </a:bodyPr>
            <a:lstStyle/>
            <a:p>
              <a:pPr lvl="0" algn="ctr" defTabSz="914400">
                <a:lnSpc>
                  <a:spcPct val="93000"/>
                </a:lnSpc>
              </a:pPr>
              <a:endParaRPr/>
            </a:p>
          </p:txBody>
        </p:sp>
        <p:sp>
          <p:nvSpPr>
            <p:cNvPr id="414" name="Shape 414"/>
            <p:cNvSpPr/>
            <p:nvPr/>
          </p:nvSpPr>
          <p:spPr>
            <a:xfrm>
              <a:off x="44499" y="34085"/>
              <a:ext cx="127001"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defTabSz="914400">
                <a:lnSpc>
                  <a:spcPct val="93000"/>
                </a:lnSpc>
                <a:defRPr sz="1100">
                  <a:solidFill>
                    <a:srgbClr val="FFFFFF"/>
                  </a:solidFill>
                  <a:latin typeface="Arial"/>
                  <a:ea typeface="Arial"/>
                  <a:cs typeface="Arial"/>
                  <a:sym typeface="Arial"/>
                </a:defRPr>
              </a:lvl1pPr>
            </a:lstStyle>
            <a:p>
              <a:pPr lvl="0">
                <a:defRPr sz="1800">
                  <a:solidFill>
                    <a:srgbClr val="000000"/>
                  </a:solidFill>
                </a:defRPr>
              </a:pPr>
              <a:r>
                <a:rPr sz="1100">
                  <a:solidFill>
                    <a:srgbClr val="FFFFFF"/>
                  </a:solidFill>
                </a:rPr>
                <a:t>A</a:t>
              </a:r>
            </a:p>
          </p:txBody>
        </p:sp>
      </p:grpSp>
      <p:grpSp>
        <p:nvGrpSpPr>
          <p:cNvPr id="4" name="Group 418"/>
          <p:cNvGrpSpPr/>
          <p:nvPr/>
        </p:nvGrpSpPr>
        <p:grpSpPr>
          <a:xfrm>
            <a:off x="6415427" y="3659153"/>
            <a:ext cx="216001" cy="216001"/>
            <a:chOff x="0" y="0"/>
            <a:chExt cx="215999" cy="215999"/>
          </a:xfrm>
        </p:grpSpPr>
        <p:sp>
          <p:nvSpPr>
            <p:cNvPr id="416" name="Shape 416"/>
            <p:cNvSpPr/>
            <p:nvPr/>
          </p:nvSpPr>
          <p:spPr>
            <a:xfrm>
              <a:off x="0" y="0"/>
              <a:ext cx="216000" cy="216000"/>
            </a:xfrm>
            <a:prstGeom prst="rect">
              <a:avLst/>
            </a:prstGeom>
            <a:solidFill>
              <a:srgbClr val="256885"/>
            </a:solidFill>
            <a:ln w="12700" cap="flat">
              <a:noFill/>
              <a:miter lim="400000"/>
            </a:ln>
            <a:effectLst/>
          </p:spPr>
          <p:txBody>
            <a:bodyPr wrap="square" lIns="0" tIns="0" rIns="0" bIns="0" numCol="1" anchor="ctr">
              <a:noAutofit/>
            </a:bodyPr>
            <a:lstStyle/>
            <a:p>
              <a:pPr lvl="0" algn="ctr" defTabSz="914400">
                <a:lnSpc>
                  <a:spcPct val="93000"/>
                </a:lnSpc>
              </a:pPr>
              <a:endParaRPr/>
            </a:p>
          </p:txBody>
        </p:sp>
        <p:sp>
          <p:nvSpPr>
            <p:cNvPr id="417" name="Shape 417"/>
            <p:cNvSpPr/>
            <p:nvPr/>
          </p:nvSpPr>
          <p:spPr>
            <a:xfrm>
              <a:off x="44499" y="34085"/>
              <a:ext cx="127001"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defTabSz="914400">
                <a:lnSpc>
                  <a:spcPct val="93000"/>
                </a:lnSpc>
                <a:defRPr sz="1100">
                  <a:solidFill>
                    <a:srgbClr val="FFFFFF"/>
                  </a:solidFill>
                  <a:latin typeface="Arial"/>
                  <a:ea typeface="Arial"/>
                  <a:cs typeface="Arial"/>
                  <a:sym typeface="Arial"/>
                </a:defRPr>
              </a:lvl1pPr>
            </a:lstStyle>
            <a:p>
              <a:pPr lvl="0">
                <a:defRPr sz="1800">
                  <a:solidFill>
                    <a:srgbClr val="000000"/>
                  </a:solidFill>
                </a:defRPr>
              </a:pPr>
              <a:r>
                <a:rPr sz="1100">
                  <a:solidFill>
                    <a:srgbClr val="FFFFFF"/>
                  </a:solidFill>
                </a:rPr>
                <a:t>B</a:t>
              </a:r>
            </a:p>
          </p:txBody>
        </p:sp>
      </p:grpSp>
      <p:grpSp>
        <p:nvGrpSpPr>
          <p:cNvPr id="5" name="Group 421"/>
          <p:cNvGrpSpPr/>
          <p:nvPr/>
        </p:nvGrpSpPr>
        <p:grpSpPr>
          <a:xfrm>
            <a:off x="6415427" y="3908919"/>
            <a:ext cx="216001" cy="216001"/>
            <a:chOff x="0" y="0"/>
            <a:chExt cx="215999" cy="215999"/>
          </a:xfrm>
        </p:grpSpPr>
        <p:sp>
          <p:nvSpPr>
            <p:cNvPr id="419" name="Shape 419"/>
            <p:cNvSpPr/>
            <p:nvPr/>
          </p:nvSpPr>
          <p:spPr>
            <a:xfrm>
              <a:off x="0" y="0"/>
              <a:ext cx="216000" cy="216000"/>
            </a:xfrm>
            <a:prstGeom prst="rect">
              <a:avLst/>
            </a:prstGeom>
            <a:solidFill>
              <a:srgbClr val="256885"/>
            </a:solidFill>
            <a:ln w="12700" cap="flat">
              <a:noFill/>
              <a:miter lim="400000"/>
            </a:ln>
            <a:effectLst/>
          </p:spPr>
          <p:txBody>
            <a:bodyPr wrap="square" lIns="0" tIns="0" rIns="0" bIns="0" numCol="1" anchor="ctr">
              <a:noAutofit/>
            </a:bodyPr>
            <a:lstStyle/>
            <a:p>
              <a:pPr lvl="0" algn="ctr" defTabSz="914400">
                <a:lnSpc>
                  <a:spcPct val="93000"/>
                </a:lnSpc>
              </a:pPr>
              <a:endParaRPr/>
            </a:p>
          </p:txBody>
        </p:sp>
        <p:sp>
          <p:nvSpPr>
            <p:cNvPr id="420" name="Shape 420"/>
            <p:cNvSpPr/>
            <p:nvPr/>
          </p:nvSpPr>
          <p:spPr>
            <a:xfrm>
              <a:off x="44499" y="34085"/>
              <a:ext cx="127001"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defTabSz="914400">
                <a:lnSpc>
                  <a:spcPct val="93000"/>
                </a:lnSpc>
                <a:defRPr sz="1100">
                  <a:solidFill>
                    <a:srgbClr val="FFFFFF"/>
                  </a:solidFill>
                  <a:latin typeface="Arial"/>
                  <a:ea typeface="Arial"/>
                  <a:cs typeface="Arial"/>
                  <a:sym typeface="Arial"/>
                </a:defRPr>
              </a:lvl1pPr>
            </a:lstStyle>
            <a:p>
              <a:pPr lvl="0">
                <a:defRPr sz="1800">
                  <a:solidFill>
                    <a:srgbClr val="000000"/>
                  </a:solidFill>
                </a:defRPr>
              </a:pPr>
              <a:r>
                <a:rPr sz="1100">
                  <a:solidFill>
                    <a:srgbClr val="FFFFFF"/>
                  </a:solidFill>
                </a:rPr>
                <a:t>C</a:t>
              </a:r>
            </a:p>
          </p:txBody>
        </p:sp>
      </p:grpSp>
      <p:grpSp>
        <p:nvGrpSpPr>
          <p:cNvPr id="6" name="Group 424"/>
          <p:cNvGrpSpPr/>
          <p:nvPr/>
        </p:nvGrpSpPr>
        <p:grpSpPr>
          <a:xfrm>
            <a:off x="6415427" y="4158686"/>
            <a:ext cx="216001" cy="216001"/>
            <a:chOff x="0" y="0"/>
            <a:chExt cx="215999" cy="215999"/>
          </a:xfrm>
        </p:grpSpPr>
        <p:sp>
          <p:nvSpPr>
            <p:cNvPr id="422" name="Shape 422"/>
            <p:cNvSpPr/>
            <p:nvPr/>
          </p:nvSpPr>
          <p:spPr>
            <a:xfrm>
              <a:off x="0" y="0"/>
              <a:ext cx="216000" cy="216000"/>
            </a:xfrm>
            <a:prstGeom prst="rect">
              <a:avLst/>
            </a:prstGeom>
            <a:solidFill>
              <a:srgbClr val="256885"/>
            </a:solidFill>
            <a:ln w="12700" cap="flat">
              <a:noFill/>
              <a:miter lim="400000"/>
            </a:ln>
            <a:effectLst/>
          </p:spPr>
          <p:txBody>
            <a:bodyPr wrap="square" lIns="0" tIns="0" rIns="0" bIns="0" numCol="1" anchor="ctr">
              <a:noAutofit/>
            </a:bodyPr>
            <a:lstStyle/>
            <a:p>
              <a:pPr lvl="0" algn="ctr" defTabSz="914400">
                <a:lnSpc>
                  <a:spcPct val="93000"/>
                </a:lnSpc>
              </a:pPr>
              <a:endParaRPr/>
            </a:p>
          </p:txBody>
        </p:sp>
        <p:sp>
          <p:nvSpPr>
            <p:cNvPr id="423" name="Shape 423"/>
            <p:cNvSpPr/>
            <p:nvPr/>
          </p:nvSpPr>
          <p:spPr>
            <a:xfrm>
              <a:off x="44499" y="34085"/>
              <a:ext cx="127001" cy="14783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defTabSz="914400">
                <a:lnSpc>
                  <a:spcPct val="93000"/>
                </a:lnSpc>
                <a:defRPr sz="1100">
                  <a:solidFill>
                    <a:srgbClr val="FFFFFF"/>
                  </a:solidFill>
                  <a:latin typeface="Arial"/>
                  <a:ea typeface="Arial"/>
                  <a:cs typeface="Arial"/>
                  <a:sym typeface="Arial"/>
                </a:defRPr>
              </a:lvl1pPr>
            </a:lstStyle>
            <a:p>
              <a:pPr lvl="0">
                <a:defRPr sz="1800">
                  <a:solidFill>
                    <a:srgbClr val="000000"/>
                  </a:solidFill>
                </a:defRPr>
              </a:pPr>
              <a:r>
                <a:rPr sz="1100">
                  <a:solidFill>
                    <a:srgbClr val="FFFFFF"/>
                  </a:solidFill>
                </a:rPr>
                <a:t>D</a:t>
              </a:r>
            </a:p>
          </p:txBody>
        </p:sp>
      </p:grpSp>
      <p:sp>
        <p:nvSpPr>
          <p:cNvPr id="425" name="Shape 425"/>
          <p:cNvSpPr/>
          <p:nvPr/>
        </p:nvSpPr>
        <p:spPr>
          <a:xfrm>
            <a:off x="6415426" y="2679849"/>
            <a:ext cx="2616019" cy="1"/>
          </a:xfrm>
          <a:prstGeom prst="line">
            <a:avLst/>
          </a:prstGeom>
          <a:ln w="19050">
            <a:solidFill>
              <a:srgbClr val="256885"/>
            </a:solidFill>
          </a:ln>
        </p:spPr>
        <p:txBody>
          <a:bodyPr lIns="0" tIns="0" rIns="0" bIns="0"/>
          <a:lstStyle/>
          <a:p>
            <a:pPr lvl="0">
              <a:defRPr sz="1200">
                <a:latin typeface="+mj-lt"/>
                <a:ea typeface="+mj-ea"/>
                <a:cs typeface="+mj-cs"/>
                <a:sym typeface="Helvetica"/>
              </a:defRPr>
            </a:pPr>
            <a:endParaRPr/>
          </a:p>
        </p:txBody>
      </p:sp>
      <p:sp>
        <p:nvSpPr>
          <p:cNvPr id="426" name="Shape 426"/>
          <p:cNvSpPr/>
          <p:nvPr/>
        </p:nvSpPr>
        <p:spPr>
          <a:xfrm>
            <a:off x="6415426" y="2419581"/>
            <a:ext cx="1980002" cy="25922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a:solidFill>
                  <a:srgbClr val="256885"/>
                </a:solidFill>
                <a:latin typeface="Arial"/>
                <a:ea typeface="Arial"/>
                <a:cs typeface="Arial"/>
                <a:sym typeface="Arial"/>
              </a:defRPr>
            </a:lvl1pPr>
          </a:lstStyle>
          <a:p>
            <a:pPr lvl="0">
              <a:defRPr>
                <a:solidFill>
                  <a:srgbClr val="000000"/>
                </a:solidFill>
              </a:defRPr>
            </a:pPr>
            <a:r>
              <a:rPr>
                <a:solidFill>
                  <a:srgbClr val="256885"/>
                </a:solidFill>
              </a:rPr>
              <a:t>Local</a:t>
            </a:r>
          </a:p>
        </p:txBody>
      </p:sp>
      <p:sp>
        <p:nvSpPr>
          <p:cNvPr id="427" name="Shape 427"/>
          <p:cNvSpPr/>
          <p:nvPr/>
        </p:nvSpPr>
        <p:spPr>
          <a:xfrm>
            <a:off x="6415426" y="3341789"/>
            <a:ext cx="1980002" cy="25922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a:solidFill>
                  <a:srgbClr val="256885"/>
                </a:solidFill>
                <a:latin typeface="Arial"/>
                <a:ea typeface="Arial"/>
                <a:cs typeface="Arial"/>
                <a:sym typeface="Arial"/>
              </a:defRPr>
            </a:lvl1pPr>
          </a:lstStyle>
          <a:p>
            <a:pPr lvl="0">
              <a:defRPr>
                <a:solidFill>
                  <a:srgbClr val="000000"/>
                </a:solidFill>
              </a:defRPr>
            </a:pPr>
            <a:r>
              <a:rPr>
                <a:solidFill>
                  <a:srgbClr val="256885"/>
                </a:solidFill>
              </a:rPr>
              <a:t>Regional</a:t>
            </a:r>
          </a:p>
        </p:txBody>
      </p:sp>
      <p:sp>
        <p:nvSpPr>
          <p:cNvPr id="428" name="Shape 428"/>
          <p:cNvSpPr/>
          <p:nvPr/>
        </p:nvSpPr>
        <p:spPr>
          <a:xfrm>
            <a:off x="6415426" y="4754596"/>
            <a:ext cx="1980002" cy="259223"/>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a:solidFill>
                  <a:srgbClr val="256885"/>
                </a:solidFill>
                <a:latin typeface="Arial"/>
                <a:ea typeface="Arial"/>
                <a:cs typeface="Arial"/>
                <a:sym typeface="Arial"/>
              </a:defRPr>
            </a:lvl1pPr>
          </a:lstStyle>
          <a:p>
            <a:pPr lvl="0">
              <a:defRPr>
                <a:solidFill>
                  <a:srgbClr val="000000"/>
                </a:solidFill>
              </a:defRPr>
            </a:pPr>
            <a:r>
              <a:rPr>
                <a:solidFill>
                  <a:srgbClr val="256885"/>
                </a:solidFill>
              </a:rPr>
              <a:t>Long haul</a:t>
            </a:r>
          </a:p>
        </p:txBody>
      </p:sp>
      <p:sp>
        <p:nvSpPr>
          <p:cNvPr id="429" name="Shape 429"/>
          <p:cNvSpPr/>
          <p:nvPr/>
        </p:nvSpPr>
        <p:spPr>
          <a:xfrm>
            <a:off x="6415426" y="5057399"/>
            <a:ext cx="1980002" cy="1478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No flights operated currently</a:t>
            </a:r>
          </a:p>
        </p:txBody>
      </p:sp>
      <p:sp>
        <p:nvSpPr>
          <p:cNvPr id="430" name="Shape 430"/>
          <p:cNvSpPr/>
          <p:nvPr/>
        </p:nvSpPr>
        <p:spPr>
          <a:xfrm>
            <a:off x="6752535" y="4260158"/>
            <a:ext cx="252001" cy="1"/>
          </a:xfrm>
          <a:prstGeom prst="line">
            <a:avLst/>
          </a:prstGeom>
          <a:ln w="28575">
            <a:solidFill>
              <a:srgbClr val="256885"/>
            </a:solidFill>
          </a:ln>
        </p:spPr>
        <p:txBody>
          <a:bodyPr lIns="0" tIns="0" rIns="0" bIns="0"/>
          <a:lstStyle/>
          <a:p>
            <a:pPr lvl="0">
              <a:defRPr sz="1200">
                <a:latin typeface="+mj-lt"/>
                <a:ea typeface="+mj-ea"/>
                <a:cs typeface="+mj-cs"/>
                <a:sym typeface="Helvetica"/>
              </a:defRPr>
            </a:pPr>
            <a:endParaRPr/>
          </a:p>
        </p:txBody>
      </p:sp>
      <p:sp>
        <p:nvSpPr>
          <p:cNvPr id="431" name="Shape 431"/>
          <p:cNvSpPr/>
          <p:nvPr/>
        </p:nvSpPr>
        <p:spPr>
          <a:xfrm>
            <a:off x="7110752" y="4177139"/>
            <a:ext cx="1806576" cy="1478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100">
                <a:solidFill>
                  <a:srgbClr val="256885"/>
                </a:solidFill>
                <a:latin typeface="Arial"/>
                <a:ea typeface="Arial"/>
                <a:cs typeface="Arial"/>
                <a:sym typeface="Arial"/>
              </a:defRPr>
            </a:lvl1pPr>
          </a:lstStyle>
          <a:p>
            <a:pPr lvl="0">
              <a:defRPr sz="1800">
                <a:solidFill>
                  <a:srgbClr val="000000"/>
                </a:solidFill>
              </a:defRPr>
            </a:pPr>
            <a:r>
              <a:rPr sz="1100">
                <a:solidFill>
                  <a:srgbClr val="256885"/>
                </a:solidFill>
              </a:rPr>
              <a:t>Conakry axis (CRJ&amp; A320)</a:t>
            </a:r>
          </a:p>
        </p:txBody>
      </p:sp>
      <p:sp>
        <p:nvSpPr>
          <p:cNvPr id="432" name="Shape 432"/>
          <p:cNvSpPr/>
          <p:nvPr/>
        </p:nvSpPr>
        <p:spPr>
          <a:xfrm>
            <a:off x="488851" y="1928817"/>
            <a:ext cx="8529034" cy="2469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700">
                <a:latin typeface="Arial"/>
                <a:ea typeface="Arial"/>
                <a:cs typeface="Arial"/>
                <a:sym typeface="Arial"/>
              </a:defRPr>
            </a:lvl1pPr>
          </a:lstStyle>
          <a:p>
            <a:pPr lvl="0">
              <a:defRPr sz="1800"/>
            </a:pPr>
            <a:r>
              <a:rPr sz="1700"/>
              <a:t>Senegal Airlines network by axis [2014]</a:t>
            </a:r>
          </a:p>
        </p:txBody>
      </p:sp>
      <p:sp>
        <p:nvSpPr>
          <p:cNvPr id="433" name="Shape 433"/>
          <p:cNvSpPr/>
          <p:nvPr/>
        </p:nvSpPr>
        <p:spPr>
          <a:xfrm>
            <a:off x="6415426" y="3581548"/>
            <a:ext cx="2616019" cy="1"/>
          </a:xfrm>
          <a:prstGeom prst="line">
            <a:avLst/>
          </a:prstGeom>
          <a:ln w="19050">
            <a:solidFill>
              <a:srgbClr val="256885"/>
            </a:solidFill>
          </a:ln>
        </p:spPr>
        <p:txBody>
          <a:bodyPr lIns="0" tIns="0" rIns="0" bIns="0"/>
          <a:lstStyle/>
          <a:p>
            <a:pPr lvl="0">
              <a:defRPr sz="1200">
                <a:latin typeface="+mj-lt"/>
                <a:ea typeface="+mj-ea"/>
                <a:cs typeface="+mj-cs"/>
                <a:sym typeface="Helvetica"/>
              </a:defRPr>
            </a:pPr>
            <a:endParaRPr/>
          </a:p>
        </p:txBody>
      </p:sp>
      <p:sp>
        <p:nvSpPr>
          <p:cNvPr id="434" name="Shape 434"/>
          <p:cNvSpPr/>
          <p:nvPr/>
        </p:nvSpPr>
        <p:spPr>
          <a:xfrm>
            <a:off x="6415426" y="4991248"/>
            <a:ext cx="2616019" cy="1"/>
          </a:xfrm>
          <a:prstGeom prst="line">
            <a:avLst/>
          </a:prstGeom>
          <a:ln w="19050">
            <a:solidFill>
              <a:srgbClr val="256885"/>
            </a:solidFill>
          </a:ln>
        </p:spPr>
        <p:txBody>
          <a:bodyPr lIns="0" tIns="0" rIns="0" bIns="0"/>
          <a:lstStyle/>
          <a:p>
            <a:pPr lvl="0">
              <a:defRPr sz="1200">
                <a:latin typeface="+mj-lt"/>
                <a:ea typeface="+mj-ea"/>
                <a:cs typeface="+mj-cs"/>
                <a:sym typeface="Helvetica"/>
              </a:defRPr>
            </a:pPr>
            <a:endParaRPr/>
          </a:p>
        </p:txBody>
      </p:sp>
      <p:sp>
        <p:nvSpPr>
          <p:cNvPr id="435" name="Shape 435"/>
          <p:cNvSpPr/>
          <p:nvPr/>
        </p:nvSpPr>
        <p:spPr>
          <a:xfrm>
            <a:off x="899592" y="-1"/>
            <a:ext cx="7797552" cy="76470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a:defRPr sz="2800" b="1">
                <a:solidFill>
                  <a:srgbClr val="C00000"/>
                </a:solidFill>
                <a:latin typeface="Cambria"/>
                <a:ea typeface="Cambria"/>
                <a:cs typeface="Cambria"/>
                <a:sym typeface="Cambria"/>
              </a:defRPr>
            </a:lvl1pPr>
          </a:lstStyle>
          <a:p>
            <a:pPr lvl="0">
              <a:defRPr sz="1800" b="0">
                <a:solidFill>
                  <a:srgbClr val="000000"/>
                </a:solidFill>
              </a:defRPr>
            </a:pPr>
            <a:r>
              <a:rPr sz="2800" b="1">
                <a:solidFill>
                  <a:srgbClr val="C00000"/>
                </a:solidFill>
              </a:rPr>
              <a:t>Senegal Airlines</a:t>
            </a:r>
          </a:p>
        </p:txBody>
      </p:sp>
      <p:sp>
        <p:nvSpPr>
          <p:cNvPr id="142"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143"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 name="Shape 437"/>
          <p:cNvSpPr>
            <a:spLocks noGrp="1"/>
          </p:cNvSpPr>
          <p:nvPr>
            <p:ph type="sldNum" sz="quarter" idx="4294967295"/>
          </p:nvPr>
        </p:nvSpPr>
        <p:spPr>
          <a:xfrm>
            <a:off x="6190581" y="6356350"/>
            <a:ext cx="2133601" cy="365125"/>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44</a:t>
            </a:fld>
            <a:endParaRPr sz="1200">
              <a:solidFill>
                <a:srgbClr val="888888"/>
              </a:solidFill>
            </a:endParaRPr>
          </a:p>
        </p:txBody>
      </p:sp>
      <p:sp>
        <p:nvSpPr>
          <p:cNvPr id="438" name="Shape 438"/>
          <p:cNvSpPr/>
          <p:nvPr/>
        </p:nvSpPr>
        <p:spPr>
          <a:xfrm>
            <a:off x="132682" y="978217"/>
            <a:ext cx="8915401" cy="6756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lvl1pPr defTabSz="914400">
              <a:defRPr sz="2000" b="1"/>
            </a:lvl1pPr>
          </a:lstStyle>
          <a:p>
            <a:pPr lvl="0">
              <a:defRPr sz="1800" b="0"/>
            </a:pPr>
            <a:r>
              <a:rPr sz="2000" b="1"/>
              <a:t>In terms of intra-African traffic on the routes it deserves, Senegal Airlines is the second largest company among its direct competitors in 2012</a:t>
            </a:r>
          </a:p>
        </p:txBody>
      </p:sp>
      <p:sp>
        <p:nvSpPr>
          <p:cNvPr id="439" name="Shape 439"/>
          <p:cNvSpPr/>
          <p:nvPr/>
        </p:nvSpPr>
        <p:spPr>
          <a:xfrm>
            <a:off x="375381" y="1928817"/>
            <a:ext cx="8529034" cy="254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700"/>
            </a:lvl1pPr>
          </a:lstStyle>
          <a:p>
            <a:pPr lvl="0">
              <a:defRPr sz="1800"/>
            </a:pPr>
            <a:r>
              <a:rPr sz="1700"/>
              <a:t>Main competitors of Senegal Airlines</a:t>
            </a:r>
          </a:p>
        </p:txBody>
      </p:sp>
      <p:graphicFrame>
        <p:nvGraphicFramePr>
          <p:cNvPr id="440" name="Chart 440"/>
          <p:cNvGraphicFramePr/>
          <p:nvPr/>
        </p:nvGraphicFramePr>
        <p:xfrm>
          <a:off x="192323" y="2778030"/>
          <a:ext cx="8748483" cy="2768014"/>
        </p:xfrm>
        <a:graphic>
          <a:graphicData uri="http://schemas.openxmlformats.org/drawingml/2006/chart">
            <c:chart xmlns:c="http://schemas.openxmlformats.org/drawingml/2006/chart" xmlns:r="http://schemas.openxmlformats.org/officeDocument/2006/relationships" r:id="rId2"/>
          </a:graphicData>
        </a:graphic>
      </p:graphicFrame>
      <p:sp>
        <p:nvSpPr>
          <p:cNvPr id="441" name="Shape 441"/>
          <p:cNvSpPr/>
          <p:nvPr/>
        </p:nvSpPr>
        <p:spPr>
          <a:xfrm>
            <a:off x="8314656" y="5562600"/>
            <a:ext cx="501651"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Gambia Bird</a:t>
            </a:r>
          </a:p>
        </p:txBody>
      </p:sp>
      <p:sp>
        <p:nvSpPr>
          <p:cNvPr id="442" name="Shape 442"/>
          <p:cNvSpPr/>
          <p:nvPr/>
        </p:nvSpPr>
        <p:spPr>
          <a:xfrm>
            <a:off x="7654256" y="5562600"/>
            <a:ext cx="517526"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Air Côte d’Ivoire</a:t>
            </a:r>
          </a:p>
        </p:txBody>
      </p:sp>
      <p:sp>
        <p:nvSpPr>
          <p:cNvPr id="443" name="Shape 443"/>
          <p:cNvSpPr/>
          <p:nvPr/>
        </p:nvSpPr>
        <p:spPr>
          <a:xfrm>
            <a:off x="7031956" y="5562598"/>
            <a:ext cx="457201" cy="3048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Air Nigeria</a:t>
            </a:r>
          </a:p>
        </p:txBody>
      </p:sp>
      <p:sp>
        <p:nvSpPr>
          <p:cNvPr id="444" name="Shape 444"/>
          <p:cNvSpPr/>
          <p:nvPr/>
        </p:nvSpPr>
        <p:spPr>
          <a:xfrm>
            <a:off x="6322343" y="5562600"/>
            <a:ext cx="563563" cy="1524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gn="ctr" defTabSz="914400"/>
            <a:r>
              <a:rPr sz="1100"/>
              <a:t>Air Mali</a:t>
            </a:r>
            <a:r>
              <a:rPr sz="1100" baseline="30000"/>
              <a:t>2)</a:t>
            </a:r>
          </a:p>
        </p:txBody>
      </p:sp>
      <p:sp>
        <p:nvSpPr>
          <p:cNvPr id="445" name="Shape 445"/>
          <p:cNvSpPr/>
          <p:nvPr/>
        </p:nvSpPr>
        <p:spPr>
          <a:xfrm>
            <a:off x="5619081" y="5562600"/>
            <a:ext cx="665163"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Mauritania Airlines</a:t>
            </a:r>
          </a:p>
        </p:txBody>
      </p:sp>
      <p:sp>
        <p:nvSpPr>
          <p:cNvPr id="446" name="Shape 446"/>
          <p:cNvSpPr/>
          <p:nvPr/>
        </p:nvSpPr>
        <p:spPr>
          <a:xfrm>
            <a:off x="5055518" y="5562598"/>
            <a:ext cx="487363" cy="3048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Air Burkina</a:t>
            </a:r>
          </a:p>
        </p:txBody>
      </p:sp>
      <p:sp>
        <p:nvSpPr>
          <p:cNvPr id="447" name="Shape 447"/>
          <p:cNvSpPr/>
          <p:nvPr/>
        </p:nvSpPr>
        <p:spPr>
          <a:xfrm>
            <a:off x="4342731" y="5562600"/>
            <a:ext cx="596901"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Ethiopian Airlines</a:t>
            </a:r>
          </a:p>
        </p:txBody>
      </p:sp>
      <p:sp>
        <p:nvSpPr>
          <p:cNvPr id="448" name="Shape 448"/>
          <p:cNvSpPr/>
          <p:nvPr/>
        </p:nvSpPr>
        <p:spPr>
          <a:xfrm>
            <a:off x="3768056" y="5562600"/>
            <a:ext cx="431801" cy="4572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gn="ctr" defTabSz="914400"/>
            <a:r>
              <a:rPr sz="1100"/>
              <a:t>TACV</a:t>
            </a:r>
          </a:p>
          <a:p>
            <a:pPr lvl="0" algn="ctr" defTabSz="914400"/>
            <a:r>
              <a:rPr sz="1100"/>
              <a:t>(Cape Verde)</a:t>
            </a:r>
          </a:p>
        </p:txBody>
      </p:sp>
      <p:sp>
        <p:nvSpPr>
          <p:cNvPr id="449" name="Shape 449"/>
          <p:cNvSpPr/>
          <p:nvPr/>
        </p:nvSpPr>
        <p:spPr>
          <a:xfrm>
            <a:off x="3120357" y="5562600"/>
            <a:ext cx="423863"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gn="ctr" defTabSz="914400"/>
            <a:r>
              <a:rPr sz="1100"/>
              <a:t>Asky</a:t>
            </a:r>
          </a:p>
          <a:p>
            <a:pPr lvl="0" algn="ctr" defTabSz="914400"/>
            <a:r>
              <a:rPr sz="1100"/>
              <a:t>(Togo)</a:t>
            </a:r>
          </a:p>
        </p:txBody>
      </p:sp>
      <p:sp>
        <p:nvSpPr>
          <p:cNvPr id="450" name="Shape 450"/>
          <p:cNvSpPr/>
          <p:nvPr/>
        </p:nvSpPr>
        <p:spPr>
          <a:xfrm>
            <a:off x="1747168" y="5562600"/>
            <a:ext cx="549276"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gn="ctr" defTabSz="914400"/>
            <a:r>
              <a:rPr sz="1100"/>
              <a:t>Arik Air</a:t>
            </a:r>
          </a:p>
          <a:p>
            <a:pPr lvl="0" algn="ctr" defTabSz="914400"/>
            <a:r>
              <a:rPr sz="1100"/>
              <a:t>(Nigeria)</a:t>
            </a:r>
          </a:p>
        </p:txBody>
      </p:sp>
      <p:sp>
        <p:nvSpPr>
          <p:cNvPr id="451" name="Shape 451"/>
          <p:cNvSpPr/>
          <p:nvPr/>
        </p:nvSpPr>
        <p:spPr>
          <a:xfrm>
            <a:off x="1105819" y="5562600"/>
            <a:ext cx="527051"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Sénégal Airlines</a:t>
            </a:r>
          </a:p>
        </p:txBody>
      </p:sp>
      <p:sp>
        <p:nvSpPr>
          <p:cNvPr id="452" name="Shape 452"/>
          <p:cNvSpPr/>
          <p:nvPr/>
        </p:nvSpPr>
        <p:spPr>
          <a:xfrm>
            <a:off x="466057" y="5562600"/>
            <a:ext cx="503238"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Kenya Airways</a:t>
            </a:r>
          </a:p>
        </p:txBody>
      </p:sp>
      <p:sp>
        <p:nvSpPr>
          <p:cNvPr id="453" name="Shape 453"/>
          <p:cNvSpPr/>
          <p:nvPr/>
        </p:nvSpPr>
        <p:spPr>
          <a:xfrm>
            <a:off x="2388518" y="5562600"/>
            <a:ext cx="581026" cy="3048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1100"/>
            </a:lvl1pPr>
          </a:lstStyle>
          <a:p>
            <a:pPr lvl="0">
              <a:defRPr sz="1800"/>
            </a:pPr>
            <a:r>
              <a:rPr sz="1100"/>
              <a:t>Royal Air Maroc</a:t>
            </a:r>
          </a:p>
        </p:txBody>
      </p:sp>
      <p:sp>
        <p:nvSpPr>
          <p:cNvPr id="454" name="Shape 454"/>
          <p:cNvSpPr/>
          <p:nvPr/>
        </p:nvSpPr>
        <p:spPr>
          <a:xfrm>
            <a:off x="373981" y="2692399"/>
            <a:ext cx="8534402" cy="1589"/>
          </a:xfrm>
          <a:prstGeom prst="line">
            <a:avLst/>
          </a:prstGeom>
          <a:ln w="22225">
            <a:solidFill>
              <a:srgbClr val="9BBB59"/>
            </a:solidFill>
          </a:ln>
        </p:spPr>
        <p:txBody>
          <a:bodyPr lIns="0" tIns="0" rIns="0" bIns="0"/>
          <a:lstStyle/>
          <a:p>
            <a:pPr lvl="0">
              <a:defRPr sz="1200">
                <a:latin typeface="+mj-lt"/>
                <a:ea typeface="+mj-ea"/>
                <a:cs typeface="+mj-cs"/>
                <a:sym typeface="Helvetica"/>
              </a:defRPr>
            </a:pPr>
            <a:endParaRPr/>
          </a:p>
        </p:txBody>
      </p:sp>
      <p:sp>
        <p:nvSpPr>
          <p:cNvPr id="455" name="Shape 455"/>
          <p:cNvSpPr/>
          <p:nvPr/>
        </p:nvSpPr>
        <p:spPr>
          <a:xfrm>
            <a:off x="373981" y="2256827"/>
            <a:ext cx="8534401" cy="3921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3000"/>
              </a:lnSpc>
            </a:pPr>
            <a:r>
              <a:rPr sz="1400">
                <a:solidFill>
                  <a:srgbClr val="002060"/>
                </a:solidFill>
              </a:rPr>
              <a:t>MIDT</a:t>
            </a:r>
            <a:r>
              <a:rPr sz="1400" baseline="30000">
                <a:solidFill>
                  <a:srgbClr val="002060"/>
                </a:solidFill>
              </a:rPr>
              <a:t>1)</a:t>
            </a:r>
            <a:r>
              <a:rPr sz="1400">
                <a:solidFill>
                  <a:srgbClr val="002060"/>
                </a:solidFill>
              </a:rPr>
              <a:t> INTRA-AFRICAN TRAFFIC OF MAIN AIRLINES OPERATING THE LINES WHERE SENEGAL AIRLINES IS ACTIVE [thousands of PAX ; 2012]</a:t>
            </a:r>
          </a:p>
        </p:txBody>
      </p:sp>
      <p:sp>
        <p:nvSpPr>
          <p:cNvPr id="456" name="Shape 456"/>
          <p:cNvSpPr/>
          <p:nvPr/>
        </p:nvSpPr>
        <p:spPr>
          <a:xfrm>
            <a:off x="375382" y="6434661"/>
            <a:ext cx="3475125" cy="269622"/>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p>
            <a:pPr marL="161925" lvl="0" indent="-161925">
              <a:lnSpc>
                <a:spcPct val="93000"/>
              </a:lnSpc>
            </a:pPr>
            <a:r>
              <a:rPr sz="1000"/>
              <a:t>1) Traffic figures coming exclusively from Amadeus bookings</a:t>
            </a:r>
          </a:p>
          <a:p>
            <a:pPr marL="161925" lvl="0" indent="-161925">
              <a:lnSpc>
                <a:spcPct val="93000"/>
              </a:lnSpc>
            </a:pPr>
            <a:r>
              <a:rPr sz="1000"/>
              <a:t>2) Air Mali activities suspended for 9 months</a:t>
            </a:r>
          </a:p>
        </p:txBody>
      </p:sp>
      <p:sp>
        <p:nvSpPr>
          <p:cNvPr id="457" name="Shape 457"/>
          <p:cNvSpPr/>
          <p:nvPr/>
        </p:nvSpPr>
        <p:spPr>
          <a:xfrm>
            <a:off x="7579307" y="6128380"/>
            <a:ext cx="1332001" cy="3962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defTabSz="914400">
              <a:defRPr sz="1100"/>
            </a:lvl1pPr>
          </a:lstStyle>
          <a:p>
            <a:pPr lvl="0">
              <a:defRPr sz="1800"/>
            </a:pPr>
            <a:r>
              <a:rPr sz="1100"/>
              <a:t>Companies launched in 2012</a:t>
            </a:r>
          </a:p>
        </p:txBody>
      </p:sp>
      <p:sp>
        <p:nvSpPr>
          <p:cNvPr id="458" name="Shape 458"/>
          <p:cNvSpPr/>
          <p:nvPr/>
        </p:nvSpPr>
        <p:spPr>
          <a:xfrm>
            <a:off x="7550894" y="4686298"/>
            <a:ext cx="1370189" cy="1883835"/>
          </a:xfrm>
          <a:prstGeom prst="rect">
            <a:avLst/>
          </a:prstGeom>
          <a:ln>
            <a:solidFill>
              <a:srgbClr val="9BBB59"/>
            </a:solidFill>
            <a:prstDash val="dash"/>
          </a:ln>
        </p:spPr>
        <p:txBody>
          <a:bodyPr lIns="0" tIns="0" rIns="0" bIns="0" anchor="ctr"/>
          <a:lstStyle/>
          <a:p>
            <a:pPr lvl="0" algn="ctr" defTabSz="914400">
              <a:lnSpc>
                <a:spcPct val="93000"/>
              </a:lnSpc>
              <a:spcBef>
                <a:spcPts val="300"/>
              </a:spcBef>
              <a:defRPr sz="1300"/>
            </a:pPr>
            <a:endParaRPr/>
          </a:p>
        </p:txBody>
      </p:sp>
      <p:sp>
        <p:nvSpPr>
          <p:cNvPr id="459" name="Shape 459"/>
          <p:cNvSpPr/>
          <p:nvPr/>
        </p:nvSpPr>
        <p:spPr>
          <a:xfrm>
            <a:off x="1037204" y="2924879"/>
            <a:ext cx="1320801" cy="3177472"/>
          </a:xfrm>
          <a:prstGeom prst="rect">
            <a:avLst/>
          </a:prstGeom>
          <a:ln>
            <a:solidFill>
              <a:srgbClr val="FF960C"/>
            </a:solidFill>
            <a:prstDash val="dash"/>
          </a:ln>
        </p:spPr>
        <p:txBody>
          <a:bodyPr lIns="0" tIns="0" rIns="0" bIns="0" anchor="ctr"/>
          <a:lstStyle/>
          <a:p>
            <a:pPr lvl="0" algn="ctr" defTabSz="914400">
              <a:lnSpc>
                <a:spcPct val="93000"/>
              </a:lnSpc>
              <a:spcBef>
                <a:spcPts val="300"/>
              </a:spcBef>
              <a:defRPr sz="1300"/>
            </a:pPr>
            <a:endParaRPr/>
          </a:p>
        </p:txBody>
      </p:sp>
      <p:sp>
        <p:nvSpPr>
          <p:cNvPr id="460" name="Shape 460"/>
          <p:cNvSpPr/>
          <p:nvPr/>
        </p:nvSpPr>
        <p:spPr>
          <a:xfrm>
            <a:off x="3007115" y="2924879"/>
            <a:ext cx="1320801" cy="3177472"/>
          </a:xfrm>
          <a:prstGeom prst="rect">
            <a:avLst/>
          </a:prstGeom>
          <a:ln>
            <a:solidFill>
              <a:srgbClr val="FF960C"/>
            </a:solidFill>
            <a:prstDash val="dash"/>
          </a:ln>
        </p:spPr>
        <p:txBody>
          <a:bodyPr lIns="0" tIns="0" rIns="0" bIns="0" anchor="ctr"/>
          <a:lstStyle/>
          <a:p>
            <a:pPr lvl="0" algn="ctr" defTabSz="914400">
              <a:lnSpc>
                <a:spcPct val="93000"/>
              </a:lnSpc>
              <a:spcBef>
                <a:spcPts val="300"/>
              </a:spcBef>
              <a:defRPr sz="1300"/>
            </a:pPr>
            <a:endParaRPr/>
          </a:p>
        </p:txBody>
      </p:sp>
      <p:sp>
        <p:nvSpPr>
          <p:cNvPr id="461" name="Shape 461"/>
          <p:cNvSpPr/>
          <p:nvPr/>
        </p:nvSpPr>
        <p:spPr>
          <a:xfrm>
            <a:off x="4965736" y="2924879"/>
            <a:ext cx="3984978" cy="3177472"/>
          </a:xfrm>
          <a:prstGeom prst="rect">
            <a:avLst/>
          </a:prstGeom>
          <a:ln>
            <a:solidFill>
              <a:srgbClr val="FF960C"/>
            </a:solidFill>
            <a:prstDash val="dash"/>
          </a:ln>
        </p:spPr>
        <p:txBody>
          <a:bodyPr lIns="0" tIns="0" rIns="0" bIns="0" anchor="ctr"/>
          <a:lstStyle/>
          <a:p>
            <a:pPr lvl="0" algn="ctr" defTabSz="914400">
              <a:lnSpc>
                <a:spcPct val="93000"/>
              </a:lnSpc>
              <a:spcBef>
                <a:spcPts val="300"/>
              </a:spcBef>
              <a:defRPr sz="1300"/>
            </a:pPr>
            <a:endParaRPr/>
          </a:p>
        </p:txBody>
      </p:sp>
      <p:grpSp>
        <p:nvGrpSpPr>
          <p:cNvPr id="2" name="Group 464"/>
          <p:cNvGrpSpPr/>
          <p:nvPr/>
        </p:nvGrpSpPr>
        <p:grpSpPr>
          <a:xfrm>
            <a:off x="375381" y="6163573"/>
            <a:ext cx="2115444" cy="144623"/>
            <a:chOff x="0" y="0"/>
            <a:chExt cx="2115443" cy="144621"/>
          </a:xfrm>
        </p:grpSpPr>
        <p:sp>
          <p:nvSpPr>
            <p:cNvPr id="462" name="Shape 462"/>
            <p:cNvSpPr/>
            <p:nvPr/>
          </p:nvSpPr>
          <p:spPr>
            <a:xfrm>
              <a:off x="0" y="159"/>
              <a:ext cx="215900" cy="144463"/>
            </a:xfrm>
            <a:prstGeom prst="rect">
              <a:avLst/>
            </a:prstGeom>
            <a:noFill/>
            <a:ln w="9525" cap="flat">
              <a:solidFill>
                <a:srgbClr val="FF960C"/>
              </a:solidFill>
              <a:prstDash val="dash"/>
              <a:bevel/>
            </a:ln>
            <a:effectLst/>
          </p:spPr>
          <p:txBody>
            <a:bodyPr wrap="square" lIns="0" tIns="0" rIns="0" bIns="0" numCol="1" anchor="ctr">
              <a:noAutofit/>
            </a:bodyPr>
            <a:lstStyle/>
            <a:p>
              <a:pPr lvl="0" algn="ctr" defTabSz="914400">
                <a:lnSpc>
                  <a:spcPct val="93000"/>
                </a:lnSpc>
                <a:defRPr sz="1300"/>
              </a:pPr>
              <a:endParaRPr/>
            </a:p>
          </p:txBody>
        </p:sp>
        <p:sp>
          <p:nvSpPr>
            <p:cNvPr id="463" name="Shape 463"/>
            <p:cNvSpPr/>
            <p:nvPr/>
          </p:nvSpPr>
          <p:spPr>
            <a:xfrm>
              <a:off x="298450" y="0"/>
              <a:ext cx="1816994" cy="13970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t">
              <a:spAutoFit/>
            </a:bodyPr>
            <a:lstStyle>
              <a:lvl1pPr defTabSz="914400">
                <a:lnSpc>
                  <a:spcPct val="93000"/>
                </a:lnSpc>
                <a:defRPr sz="1000"/>
              </a:lvl1pPr>
            </a:lstStyle>
            <a:p>
              <a:pPr lvl="0">
                <a:defRPr sz="1800"/>
              </a:pPr>
              <a:r>
                <a:rPr sz="1000"/>
                <a:t>Companies based in West Africa</a:t>
              </a:r>
            </a:p>
          </p:txBody>
        </p:sp>
      </p:grpSp>
      <p:sp>
        <p:nvSpPr>
          <p:cNvPr id="465" name="Shape 465"/>
          <p:cNvSpPr/>
          <p:nvPr/>
        </p:nvSpPr>
        <p:spPr>
          <a:xfrm>
            <a:off x="899592" y="-1"/>
            <a:ext cx="7797552" cy="76470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a:defRPr sz="2800" b="1">
                <a:solidFill>
                  <a:srgbClr val="C00000"/>
                </a:solidFill>
                <a:latin typeface="Cambria"/>
                <a:ea typeface="Cambria"/>
                <a:cs typeface="Cambria"/>
                <a:sym typeface="Cambria"/>
              </a:defRPr>
            </a:lvl1pPr>
          </a:lstStyle>
          <a:p>
            <a:pPr lvl="0">
              <a:defRPr sz="1800" b="0">
                <a:solidFill>
                  <a:srgbClr val="000000"/>
                </a:solidFill>
              </a:defRPr>
            </a:pPr>
            <a:r>
              <a:rPr sz="2800" b="1">
                <a:solidFill>
                  <a:srgbClr val="C00000"/>
                </a:solidFill>
              </a:rPr>
              <a:t>Senegal Airlines</a:t>
            </a:r>
          </a:p>
        </p:txBody>
      </p:sp>
      <p:sp>
        <p:nvSpPr>
          <p:cNvPr id="31"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32"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7" name="Shape 467"/>
          <p:cNvSpPr>
            <a:spLocks noGrp="1"/>
          </p:cNvSpPr>
          <p:nvPr>
            <p:ph type="sldNum" sz="quarter" idx="4294967295"/>
          </p:nvPr>
        </p:nvSpPr>
        <p:spPr>
          <a:xfrm>
            <a:off x="6553200" y="6356350"/>
            <a:ext cx="2133600" cy="365125"/>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45</a:t>
            </a:fld>
            <a:endParaRPr sz="1200">
              <a:solidFill>
                <a:srgbClr val="888888"/>
              </a:solidFill>
            </a:endParaRPr>
          </a:p>
        </p:txBody>
      </p:sp>
      <p:sp>
        <p:nvSpPr>
          <p:cNvPr id="468" name="Shape 468"/>
          <p:cNvSpPr/>
          <p:nvPr/>
        </p:nvSpPr>
        <p:spPr>
          <a:xfrm>
            <a:off x="485743" y="1001712"/>
            <a:ext cx="8535990" cy="61277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defTabSz="914400">
              <a:lnSpc>
                <a:spcPct val="93000"/>
              </a:lnSpc>
              <a:defRPr sz="2100" b="1"/>
            </a:lvl1pPr>
          </a:lstStyle>
          <a:p>
            <a:pPr lvl="0">
              <a:defRPr sz="1800" b="0"/>
            </a:pPr>
            <a:r>
              <a:rPr sz="2100" b="1"/>
              <a:t>Senegal Airlines may open 9 long haul lines operated directly or through partnerships, Paris being the main opportunity</a:t>
            </a:r>
          </a:p>
        </p:txBody>
      </p:sp>
      <p:pic>
        <p:nvPicPr>
          <p:cNvPr id="469" name="image40.png"/>
          <p:cNvPicPr/>
          <p:nvPr/>
        </p:nvPicPr>
        <p:blipFill>
          <a:blip r:embed="rId2">
            <a:extLst/>
          </a:blip>
          <a:srcRect l="22478" t="27181" r="31443" b="15101"/>
          <a:stretch>
            <a:fillRect/>
          </a:stretch>
        </p:blipFill>
        <p:spPr>
          <a:xfrm>
            <a:off x="3134531" y="2314369"/>
            <a:ext cx="5915025" cy="4124532"/>
          </a:xfrm>
          <a:prstGeom prst="rect">
            <a:avLst/>
          </a:prstGeom>
          <a:ln w="12700">
            <a:miter lim="400000"/>
          </a:ln>
        </p:spPr>
      </p:pic>
      <p:sp>
        <p:nvSpPr>
          <p:cNvPr id="470" name="Shape 470"/>
          <p:cNvSpPr/>
          <p:nvPr/>
        </p:nvSpPr>
        <p:spPr>
          <a:xfrm>
            <a:off x="485743" y="1928817"/>
            <a:ext cx="8529034" cy="24693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700">
                <a:latin typeface="Arial"/>
                <a:ea typeface="Arial"/>
                <a:cs typeface="Arial"/>
                <a:sym typeface="Arial"/>
              </a:defRPr>
            </a:lvl1pPr>
          </a:lstStyle>
          <a:p>
            <a:pPr lvl="0">
              <a:defRPr sz="1800"/>
            </a:pPr>
            <a:r>
              <a:rPr sz="1700"/>
              <a:t>Selected routes for direct operations or partnerships</a:t>
            </a:r>
          </a:p>
        </p:txBody>
      </p:sp>
      <p:sp>
        <p:nvSpPr>
          <p:cNvPr id="471" name="Shape 471"/>
          <p:cNvSpPr/>
          <p:nvPr/>
        </p:nvSpPr>
        <p:spPr>
          <a:xfrm>
            <a:off x="7354106" y="5878969"/>
            <a:ext cx="1038225"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atin typeface="Arial"/>
                <a:ea typeface="Arial"/>
                <a:cs typeface="Arial"/>
                <a:sym typeface="Arial"/>
              </a:defRPr>
            </a:lvl1pPr>
          </a:lstStyle>
          <a:p>
            <a:pPr lvl="0">
              <a:defRPr sz="1800"/>
            </a:pPr>
            <a:r>
              <a:rPr sz="900"/>
              <a:t>Johannesburg</a:t>
            </a:r>
          </a:p>
        </p:txBody>
      </p:sp>
      <p:sp>
        <p:nvSpPr>
          <p:cNvPr id="472" name="Shape 472"/>
          <p:cNvSpPr/>
          <p:nvPr/>
        </p:nvSpPr>
        <p:spPr>
          <a:xfrm>
            <a:off x="7232822" y="5932265"/>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73" name="Shape 473"/>
          <p:cNvSpPr/>
          <p:nvPr/>
        </p:nvSpPr>
        <p:spPr>
          <a:xfrm>
            <a:off x="5858681" y="2583319"/>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atin typeface="Arial"/>
                <a:ea typeface="Arial"/>
                <a:cs typeface="Arial"/>
                <a:sym typeface="Arial"/>
              </a:defRPr>
            </a:lvl1pPr>
          </a:lstStyle>
          <a:p>
            <a:pPr lvl="0">
              <a:defRPr sz="1800"/>
            </a:pPr>
            <a:r>
              <a:rPr sz="900"/>
              <a:t>London</a:t>
            </a:r>
          </a:p>
        </p:txBody>
      </p:sp>
      <p:sp>
        <p:nvSpPr>
          <p:cNvPr id="474" name="Shape 474"/>
          <p:cNvSpPr/>
          <p:nvPr/>
        </p:nvSpPr>
        <p:spPr>
          <a:xfrm>
            <a:off x="6175547" y="2722340"/>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75" name="Shape 475"/>
          <p:cNvSpPr/>
          <p:nvPr/>
        </p:nvSpPr>
        <p:spPr>
          <a:xfrm>
            <a:off x="5963456" y="2964319"/>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atin typeface="Arial"/>
                <a:ea typeface="Arial"/>
                <a:cs typeface="Arial"/>
                <a:sym typeface="Arial"/>
              </a:defRPr>
            </a:lvl1pPr>
          </a:lstStyle>
          <a:p>
            <a:pPr lvl="0">
              <a:defRPr sz="1800"/>
            </a:pPr>
            <a:r>
              <a:rPr sz="900"/>
              <a:t>Paris</a:t>
            </a:r>
          </a:p>
        </p:txBody>
      </p:sp>
      <p:sp>
        <p:nvSpPr>
          <p:cNvPr id="476" name="Shape 476"/>
          <p:cNvSpPr/>
          <p:nvPr/>
        </p:nvSpPr>
        <p:spPr>
          <a:xfrm>
            <a:off x="7687481" y="3507244"/>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vl1pPr>
          </a:lstStyle>
          <a:p>
            <a:pPr lvl="0">
              <a:defRPr sz="1800"/>
            </a:pPr>
            <a:r>
              <a:rPr sz="900"/>
              <a:t>Beyrouth</a:t>
            </a:r>
          </a:p>
        </p:txBody>
      </p:sp>
      <p:sp>
        <p:nvSpPr>
          <p:cNvPr id="477" name="Shape 477"/>
          <p:cNvSpPr/>
          <p:nvPr/>
        </p:nvSpPr>
        <p:spPr>
          <a:xfrm>
            <a:off x="7566197" y="3560540"/>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78" name="Shape 478"/>
          <p:cNvSpPr/>
          <p:nvPr/>
        </p:nvSpPr>
        <p:spPr>
          <a:xfrm>
            <a:off x="5239556" y="4488317"/>
            <a:ext cx="41910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atin typeface="Arial"/>
                <a:ea typeface="Arial"/>
                <a:cs typeface="Arial"/>
                <a:sym typeface="Arial"/>
              </a:defRPr>
            </a:lvl1pPr>
          </a:lstStyle>
          <a:p>
            <a:pPr lvl="0">
              <a:defRPr sz="1800"/>
            </a:pPr>
            <a:r>
              <a:rPr sz="900"/>
              <a:t>DAKAR</a:t>
            </a:r>
          </a:p>
        </p:txBody>
      </p:sp>
      <p:sp>
        <p:nvSpPr>
          <p:cNvPr id="479" name="Shape 479"/>
          <p:cNvSpPr/>
          <p:nvPr/>
        </p:nvSpPr>
        <p:spPr>
          <a:xfrm>
            <a:off x="6505975" y="2709574"/>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vl1pPr>
          </a:lstStyle>
          <a:p>
            <a:pPr lvl="0">
              <a:defRPr sz="1800"/>
            </a:pPr>
            <a:r>
              <a:rPr sz="900"/>
              <a:t>Bruxelles</a:t>
            </a:r>
          </a:p>
        </p:txBody>
      </p:sp>
      <p:sp>
        <p:nvSpPr>
          <p:cNvPr id="480" name="Shape 480"/>
          <p:cNvSpPr/>
          <p:nvPr/>
        </p:nvSpPr>
        <p:spPr>
          <a:xfrm>
            <a:off x="7687481" y="4802644"/>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vl1pPr>
          </a:lstStyle>
          <a:p>
            <a:pPr lvl="0">
              <a:defRPr sz="1800"/>
            </a:pPr>
            <a:r>
              <a:rPr sz="900"/>
              <a:t>Nairobi</a:t>
            </a:r>
          </a:p>
        </p:txBody>
      </p:sp>
      <p:sp>
        <p:nvSpPr>
          <p:cNvPr id="481" name="Shape 481"/>
          <p:cNvSpPr/>
          <p:nvPr/>
        </p:nvSpPr>
        <p:spPr>
          <a:xfrm>
            <a:off x="7566197" y="4855940"/>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82" name="Shape 482"/>
          <p:cNvSpPr/>
          <p:nvPr/>
        </p:nvSpPr>
        <p:spPr>
          <a:xfrm>
            <a:off x="3335975" y="3042747"/>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3000"/>
              </a:lnSpc>
            </a:pPr>
            <a:r>
              <a:rPr sz="900"/>
              <a:t>New York</a:t>
            </a:r>
            <a:r>
              <a:rPr sz="900" baseline="30000"/>
              <a:t>1)</a:t>
            </a:r>
          </a:p>
        </p:txBody>
      </p:sp>
      <p:sp>
        <p:nvSpPr>
          <p:cNvPr id="483" name="Shape 483"/>
          <p:cNvSpPr/>
          <p:nvPr/>
        </p:nvSpPr>
        <p:spPr>
          <a:xfrm>
            <a:off x="3603797" y="3217640"/>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84" name="Shape 484"/>
          <p:cNvSpPr/>
          <p:nvPr/>
        </p:nvSpPr>
        <p:spPr>
          <a:xfrm>
            <a:off x="2745221" y="3354235"/>
            <a:ext cx="69532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3000"/>
              </a:lnSpc>
            </a:pPr>
            <a:r>
              <a:rPr sz="900"/>
              <a:t>Washington</a:t>
            </a:r>
            <a:r>
              <a:rPr sz="900" baseline="30000"/>
              <a:t>1)</a:t>
            </a:r>
          </a:p>
        </p:txBody>
      </p:sp>
      <p:sp>
        <p:nvSpPr>
          <p:cNvPr id="485" name="Shape 485"/>
          <p:cNvSpPr/>
          <p:nvPr/>
        </p:nvSpPr>
        <p:spPr>
          <a:xfrm>
            <a:off x="3479972" y="3379565"/>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86" name="Shape 486"/>
          <p:cNvSpPr/>
          <p:nvPr/>
        </p:nvSpPr>
        <p:spPr>
          <a:xfrm>
            <a:off x="5153831" y="3773944"/>
            <a:ext cx="7429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atin typeface="Arial"/>
                <a:ea typeface="Arial"/>
                <a:cs typeface="Arial"/>
                <a:sym typeface="Arial"/>
              </a:defRPr>
            </a:lvl1pPr>
          </a:lstStyle>
          <a:p>
            <a:pPr lvl="0">
              <a:defRPr sz="1800"/>
            </a:pPr>
            <a:r>
              <a:rPr sz="900"/>
              <a:t>Casablanca</a:t>
            </a:r>
          </a:p>
        </p:txBody>
      </p:sp>
      <p:sp>
        <p:nvSpPr>
          <p:cNvPr id="487" name="Shape 487"/>
          <p:cNvSpPr/>
          <p:nvPr/>
        </p:nvSpPr>
        <p:spPr>
          <a:xfrm>
            <a:off x="8335181" y="4059694"/>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vl1pPr>
          </a:lstStyle>
          <a:p>
            <a:pPr lvl="0">
              <a:defRPr sz="1800"/>
            </a:pPr>
            <a:r>
              <a:rPr sz="900"/>
              <a:t>ME</a:t>
            </a:r>
          </a:p>
        </p:txBody>
      </p:sp>
      <p:sp>
        <p:nvSpPr>
          <p:cNvPr id="488" name="Shape 488"/>
          <p:cNvSpPr/>
          <p:nvPr/>
        </p:nvSpPr>
        <p:spPr>
          <a:xfrm>
            <a:off x="8104344" y="4063999"/>
            <a:ext cx="193191" cy="19612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89" name="Shape 489"/>
          <p:cNvSpPr/>
          <p:nvPr/>
        </p:nvSpPr>
        <p:spPr>
          <a:xfrm>
            <a:off x="7782730" y="4583569"/>
            <a:ext cx="790576"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vl1pPr>
          </a:lstStyle>
          <a:p>
            <a:pPr lvl="0">
              <a:defRPr sz="1800"/>
            </a:pPr>
            <a:r>
              <a:rPr sz="900"/>
              <a:t>Addis Abeba</a:t>
            </a:r>
          </a:p>
        </p:txBody>
      </p:sp>
      <p:sp>
        <p:nvSpPr>
          <p:cNvPr id="490" name="Shape 490"/>
          <p:cNvSpPr/>
          <p:nvPr/>
        </p:nvSpPr>
        <p:spPr>
          <a:xfrm>
            <a:off x="7661447" y="4598765"/>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91" name="Shape 491"/>
          <p:cNvSpPr/>
          <p:nvPr/>
        </p:nvSpPr>
        <p:spPr>
          <a:xfrm>
            <a:off x="6633381" y="3523119"/>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vl1pPr>
          </a:lstStyle>
          <a:p>
            <a:pPr lvl="0">
              <a:defRPr sz="1800"/>
            </a:pPr>
            <a:r>
              <a:rPr sz="900"/>
              <a:t>Tunis</a:t>
            </a:r>
          </a:p>
        </p:txBody>
      </p:sp>
      <p:sp>
        <p:nvSpPr>
          <p:cNvPr id="492" name="Shape 492"/>
          <p:cNvSpPr/>
          <p:nvPr/>
        </p:nvSpPr>
        <p:spPr>
          <a:xfrm>
            <a:off x="6499397" y="3512915"/>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93" name="Shape 493"/>
          <p:cNvSpPr/>
          <p:nvPr/>
        </p:nvSpPr>
        <p:spPr>
          <a:xfrm>
            <a:off x="7354106" y="3250069"/>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vl1pPr>
          </a:lstStyle>
          <a:p>
            <a:pPr lvl="0">
              <a:defRPr sz="1800"/>
            </a:pPr>
            <a:r>
              <a:rPr sz="900"/>
              <a:t>Istanbul</a:t>
            </a:r>
          </a:p>
        </p:txBody>
      </p:sp>
      <p:sp>
        <p:nvSpPr>
          <p:cNvPr id="494" name="Shape 494"/>
          <p:cNvSpPr/>
          <p:nvPr/>
        </p:nvSpPr>
        <p:spPr>
          <a:xfrm>
            <a:off x="7232822" y="3303365"/>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95" name="Shape 495"/>
          <p:cNvSpPr/>
          <p:nvPr/>
        </p:nvSpPr>
        <p:spPr>
          <a:xfrm>
            <a:off x="6687356" y="3059569"/>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3000"/>
              </a:lnSpc>
            </a:pPr>
            <a:r>
              <a:rPr sz="900"/>
              <a:t>Milan</a:t>
            </a:r>
            <a:r>
              <a:rPr sz="900" baseline="30000"/>
              <a:t>1)</a:t>
            </a:r>
          </a:p>
        </p:txBody>
      </p:sp>
      <p:sp>
        <p:nvSpPr>
          <p:cNvPr id="496" name="Shape 496"/>
          <p:cNvSpPr/>
          <p:nvPr/>
        </p:nvSpPr>
        <p:spPr>
          <a:xfrm>
            <a:off x="6566072" y="3112865"/>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497" name="Shape 497"/>
          <p:cNvSpPr/>
          <p:nvPr/>
        </p:nvSpPr>
        <p:spPr>
          <a:xfrm>
            <a:off x="5527938" y="3257167"/>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3000"/>
              </a:lnSpc>
            </a:pPr>
            <a:r>
              <a:rPr sz="900"/>
              <a:t>Madrid</a:t>
            </a:r>
            <a:r>
              <a:rPr sz="900" baseline="30000"/>
              <a:t>1)</a:t>
            </a:r>
          </a:p>
        </p:txBody>
      </p:sp>
      <p:cxnSp>
        <p:nvCxnSpPr>
          <p:cNvPr id="498" name="Connector 498"/>
          <p:cNvCxnSpPr>
            <a:stCxn id="511" idx="0"/>
            <a:endCxn id="490" idx="0"/>
          </p:cNvCxnSpPr>
          <p:nvPr/>
        </p:nvCxnSpPr>
        <p:spPr>
          <a:xfrm>
            <a:off x="5737035" y="4533538"/>
            <a:ext cx="1972581" cy="113396"/>
          </a:xfrm>
          <a:prstGeom prst="straightConnector1">
            <a:avLst/>
          </a:prstGeom>
          <a:ln w="19050">
            <a:solidFill>
              <a:srgbClr val="808080"/>
            </a:solidFill>
            <a:prstDash val="dash"/>
          </a:ln>
        </p:spPr>
      </p:cxnSp>
      <p:cxnSp>
        <p:nvCxnSpPr>
          <p:cNvPr id="499" name="Connector 499"/>
          <p:cNvCxnSpPr>
            <a:stCxn id="511" idx="0"/>
            <a:endCxn id="481" idx="0"/>
          </p:cNvCxnSpPr>
          <p:nvPr/>
        </p:nvCxnSpPr>
        <p:spPr>
          <a:xfrm>
            <a:off x="5737035" y="4533538"/>
            <a:ext cx="1877331" cy="370571"/>
          </a:xfrm>
          <a:prstGeom prst="straightConnector1">
            <a:avLst/>
          </a:prstGeom>
          <a:ln w="19050">
            <a:solidFill>
              <a:srgbClr val="808080"/>
            </a:solidFill>
            <a:prstDash val="dash"/>
          </a:ln>
        </p:spPr>
      </p:cxnSp>
      <p:cxnSp>
        <p:nvCxnSpPr>
          <p:cNvPr id="500" name="Connector 500"/>
          <p:cNvCxnSpPr>
            <a:stCxn id="511" idx="0"/>
            <a:endCxn id="472" idx="0"/>
          </p:cNvCxnSpPr>
          <p:nvPr/>
        </p:nvCxnSpPr>
        <p:spPr>
          <a:xfrm>
            <a:off x="5737035" y="4533538"/>
            <a:ext cx="1543956" cy="1446896"/>
          </a:xfrm>
          <a:prstGeom prst="straightConnector1">
            <a:avLst/>
          </a:prstGeom>
          <a:ln w="19050">
            <a:solidFill>
              <a:srgbClr val="256885"/>
            </a:solidFill>
            <a:prstDash val="dash"/>
          </a:ln>
        </p:spPr>
      </p:cxnSp>
      <p:cxnSp>
        <p:nvCxnSpPr>
          <p:cNvPr id="501" name="Connector 501"/>
          <p:cNvCxnSpPr>
            <a:stCxn id="511" idx="0"/>
            <a:endCxn id="485" idx="0"/>
          </p:cNvCxnSpPr>
          <p:nvPr/>
        </p:nvCxnSpPr>
        <p:spPr>
          <a:xfrm flipH="1" flipV="1">
            <a:off x="3528140" y="3427733"/>
            <a:ext cx="2208896" cy="1105805"/>
          </a:xfrm>
          <a:prstGeom prst="straightConnector1">
            <a:avLst/>
          </a:prstGeom>
          <a:ln w="19050">
            <a:solidFill>
              <a:srgbClr val="256885"/>
            </a:solidFill>
            <a:prstDash val="dash"/>
          </a:ln>
        </p:spPr>
      </p:cxnSp>
      <p:cxnSp>
        <p:nvCxnSpPr>
          <p:cNvPr id="502" name="Connector 502"/>
          <p:cNvCxnSpPr>
            <a:stCxn id="511" idx="0"/>
            <a:endCxn id="483" idx="0"/>
          </p:cNvCxnSpPr>
          <p:nvPr/>
        </p:nvCxnSpPr>
        <p:spPr>
          <a:xfrm flipH="1" flipV="1">
            <a:off x="3651965" y="3265808"/>
            <a:ext cx="2085071" cy="1267730"/>
          </a:xfrm>
          <a:prstGeom prst="straightConnector1">
            <a:avLst/>
          </a:prstGeom>
          <a:ln w="19050">
            <a:solidFill>
              <a:srgbClr val="256885"/>
            </a:solidFill>
            <a:prstDash val="dash"/>
          </a:ln>
        </p:spPr>
      </p:cxnSp>
      <p:sp>
        <p:nvSpPr>
          <p:cNvPr id="503" name="Shape 503"/>
          <p:cNvSpPr/>
          <p:nvPr/>
        </p:nvSpPr>
        <p:spPr>
          <a:xfrm flipV="1">
            <a:off x="5749006" y="3439727"/>
            <a:ext cx="356855" cy="1040185"/>
          </a:xfrm>
          <a:prstGeom prst="line">
            <a:avLst/>
          </a:prstGeom>
          <a:ln w="19050">
            <a:solidFill>
              <a:srgbClr val="256885"/>
            </a:solidFill>
            <a:prstDash val="dash"/>
          </a:ln>
        </p:spPr>
        <p:txBody>
          <a:bodyPr lIns="0" tIns="0" rIns="0" bIns="0"/>
          <a:lstStyle/>
          <a:p>
            <a:pPr lvl="0">
              <a:defRPr sz="1200">
                <a:latin typeface="+mj-lt"/>
                <a:ea typeface="+mj-ea"/>
                <a:cs typeface="+mj-cs"/>
                <a:sym typeface="Helvetica"/>
              </a:defRPr>
            </a:pPr>
            <a:endParaRPr/>
          </a:p>
        </p:txBody>
      </p:sp>
      <p:cxnSp>
        <p:nvCxnSpPr>
          <p:cNvPr id="504" name="Connector 504"/>
          <p:cNvCxnSpPr>
            <a:stCxn id="511" idx="0"/>
            <a:endCxn id="492" idx="0"/>
          </p:cNvCxnSpPr>
          <p:nvPr/>
        </p:nvCxnSpPr>
        <p:spPr>
          <a:xfrm flipV="1">
            <a:off x="5737035" y="3561083"/>
            <a:ext cx="810531" cy="972455"/>
          </a:xfrm>
          <a:prstGeom prst="straightConnector1">
            <a:avLst/>
          </a:prstGeom>
          <a:ln w="19050">
            <a:solidFill>
              <a:srgbClr val="FF960C"/>
            </a:solidFill>
            <a:prstDash val="dash"/>
          </a:ln>
        </p:spPr>
      </p:cxnSp>
      <p:cxnSp>
        <p:nvCxnSpPr>
          <p:cNvPr id="505" name="Connector 505"/>
          <p:cNvCxnSpPr>
            <a:stCxn id="511" idx="0"/>
            <a:endCxn id="477" idx="0"/>
          </p:cNvCxnSpPr>
          <p:nvPr/>
        </p:nvCxnSpPr>
        <p:spPr>
          <a:xfrm flipV="1">
            <a:off x="5737035" y="3608708"/>
            <a:ext cx="1877331" cy="924830"/>
          </a:xfrm>
          <a:prstGeom prst="straightConnector1">
            <a:avLst/>
          </a:prstGeom>
          <a:ln w="19050">
            <a:solidFill>
              <a:srgbClr val="808080"/>
            </a:solidFill>
            <a:prstDash val="dash"/>
          </a:ln>
        </p:spPr>
      </p:cxnSp>
      <p:cxnSp>
        <p:nvCxnSpPr>
          <p:cNvPr id="506" name="Connector 506"/>
          <p:cNvCxnSpPr>
            <a:stCxn id="511" idx="0"/>
            <a:endCxn id="494" idx="0"/>
          </p:cNvCxnSpPr>
          <p:nvPr/>
        </p:nvCxnSpPr>
        <p:spPr>
          <a:xfrm flipV="1">
            <a:off x="5737035" y="3351533"/>
            <a:ext cx="1543956" cy="1182005"/>
          </a:xfrm>
          <a:prstGeom prst="straightConnector1">
            <a:avLst/>
          </a:prstGeom>
          <a:ln w="19050">
            <a:solidFill>
              <a:srgbClr val="256885"/>
            </a:solidFill>
            <a:prstDash val="dash"/>
          </a:ln>
        </p:spPr>
      </p:cxnSp>
      <p:cxnSp>
        <p:nvCxnSpPr>
          <p:cNvPr id="507" name="Connector 507"/>
          <p:cNvCxnSpPr>
            <a:stCxn id="511" idx="0"/>
            <a:endCxn id="496" idx="0"/>
          </p:cNvCxnSpPr>
          <p:nvPr/>
        </p:nvCxnSpPr>
        <p:spPr>
          <a:xfrm flipV="1">
            <a:off x="5737035" y="3161033"/>
            <a:ext cx="877206" cy="1372505"/>
          </a:xfrm>
          <a:prstGeom prst="straightConnector1">
            <a:avLst/>
          </a:prstGeom>
          <a:ln w="19050">
            <a:solidFill>
              <a:srgbClr val="808080"/>
            </a:solidFill>
            <a:prstDash val="dash"/>
          </a:ln>
        </p:spPr>
      </p:cxnSp>
      <p:cxnSp>
        <p:nvCxnSpPr>
          <p:cNvPr id="508" name="Connector 508"/>
          <p:cNvCxnSpPr>
            <a:stCxn id="514" idx="0"/>
            <a:endCxn id="511" idx="0"/>
          </p:cNvCxnSpPr>
          <p:nvPr/>
        </p:nvCxnSpPr>
        <p:spPr>
          <a:xfrm flipH="1">
            <a:off x="5737035" y="2990439"/>
            <a:ext cx="573264" cy="1543099"/>
          </a:xfrm>
          <a:prstGeom prst="straightConnector1">
            <a:avLst/>
          </a:prstGeom>
          <a:ln w="19050">
            <a:solidFill>
              <a:srgbClr val="00B050"/>
            </a:solidFill>
          </a:ln>
        </p:spPr>
      </p:cxnSp>
      <p:cxnSp>
        <p:nvCxnSpPr>
          <p:cNvPr id="509" name="Connector 509"/>
          <p:cNvCxnSpPr>
            <a:stCxn id="511" idx="0"/>
            <a:endCxn id="515" idx="0"/>
          </p:cNvCxnSpPr>
          <p:nvPr/>
        </p:nvCxnSpPr>
        <p:spPr>
          <a:xfrm flipV="1">
            <a:off x="5737035" y="2884808"/>
            <a:ext cx="708376" cy="1648730"/>
          </a:xfrm>
          <a:prstGeom prst="straightConnector1">
            <a:avLst/>
          </a:prstGeom>
          <a:ln w="19050">
            <a:solidFill>
              <a:srgbClr val="256885"/>
            </a:solidFill>
            <a:prstDash val="dash"/>
          </a:ln>
        </p:spPr>
      </p:cxnSp>
      <p:cxnSp>
        <p:nvCxnSpPr>
          <p:cNvPr id="510" name="Connector 510"/>
          <p:cNvCxnSpPr>
            <a:stCxn id="511" idx="0"/>
            <a:endCxn id="474" idx="0"/>
          </p:cNvCxnSpPr>
          <p:nvPr/>
        </p:nvCxnSpPr>
        <p:spPr>
          <a:xfrm flipV="1">
            <a:off x="5737035" y="2770508"/>
            <a:ext cx="486681" cy="1763030"/>
          </a:xfrm>
          <a:prstGeom prst="straightConnector1">
            <a:avLst/>
          </a:prstGeom>
          <a:ln w="19050">
            <a:solidFill>
              <a:srgbClr val="256885"/>
            </a:solidFill>
            <a:prstDash val="dash"/>
          </a:ln>
        </p:spPr>
      </p:cxnSp>
      <p:sp>
        <p:nvSpPr>
          <p:cNvPr id="511" name="Shape 511"/>
          <p:cNvSpPr/>
          <p:nvPr/>
        </p:nvSpPr>
        <p:spPr>
          <a:xfrm>
            <a:off x="5661197" y="4457699"/>
            <a:ext cx="151677" cy="15167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256885"/>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512" name="Shape 512"/>
          <p:cNvSpPr/>
          <p:nvPr/>
        </p:nvSpPr>
        <p:spPr>
          <a:xfrm>
            <a:off x="5803463" y="3789140"/>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513" name="Shape 513"/>
          <p:cNvSpPr/>
          <p:nvPr/>
        </p:nvSpPr>
        <p:spPr>
          <a:xfrm>
            <a:off x="6057691" y="3343392"/>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514" name="Shape 514"/>
          <p:cNvSpPr/>
          <p:nvPr/>
        </p:nvSpPr>
        <p:spPr>
          <a:xfrm>
            <a:off x="6262130" y="2942271"/>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515" name="Shape 515"/>
          <p:cNvSpPr/>
          <p:nvPr/>
        </p:nvSpPr>
        <p:spPr>
          <a:xfrm>
            <a:off x="6397242" y="2836640"/>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sp>
        <p:nvSpPr>
          <p:cNvPr id="516" name="Shape 516"/>
          <p:cNvSpPr/>
          <p:nvPr/>
        </p:nvSpPr>
        <p:spPr>
          <a:xfrm>
            <a:off x="1048597" y="5295417"/>
            <a:ext cx="1718571" cy="26575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000">
                <a:latin typeface="Arial"/>
                <a:ea typeface="Arial"/>
                <a:cs typeface="Arial"/>
                <a:sym typeface="Arial"/>
              </a:defRPr>
            </a:lvl1pPr>
          </a:lstStyle>
          <a:p>
            <a:pPr lvl="0">
              <a:defRPr sz="1800"/>
            </a:pPr>
            <a:r>
              <a:rPr sz="1000"/>
              <a:t>To be open directly or through partnerships (code-share / JV)</a:t>
            </a:r>
          </a:p>
        </p:txBody>
      </p:sp>
      <p:sp>
        <p:nvSpPr>
          <p:cNvPr id="517" name="Shape 517"/>
          <p:cNvSpPr/>
          <p:nvPr/>
        </p:nvSpPr>
        <p:spPr>
          <a:xfrm>
            <a:off x="522443" y="5355902"/>
            <a:ext cx="432001" cy="1"/>
          </a:xfrm>
          <a:prstGeom prst="line">
            <a:avLst/>
          </a:prstGeom>
          <a:ln w="19050">
            <a:solidFill>
              <a:srgbClr val="00B050"/>
            </a:solidFill>
          </a:ln>
        </p:spPr>
        <p:txBody>
          <a:bodyPr lIns="0" tIns="0" rIns="0" bIns="0"/>
          <a:lstStyle/>
          <a:p>
            <a:pPr lvl="0">
              <a:defRPr sz="1200">
                <a:latin typeface="+mj-lt"/>
                <a:ea typeface="+mj-ea"/>
                <a:cs typeface="+mj-cs"/>
                <a:sym typeface="Helvetica"/>
              </a:defRPr>
            </a:pPr>
            <a:endParaRPr/>
          </a:p>
        </p:txBody>
      </p:sp>
      <p:cxnSp>
        <p:nvCxnSpPr>
          <p:cNvPr id="518" name="Connector 518"/>
          <p:cNvCxnSpPr>
            <a:stCxn id="511" idx="0"/>
            <a:endCxn id="488" idx="0"/>
          </p:cNvCxnSpPr>
          <p:nvPr/>
        </p:nvCxnSpPr>
        <p:spPr>
          <a:xfrm flipV="1">
            <a:off x="5737035" y="4162063"/>
            <a:ext cx="2463905" cy="371475"/>
          </a:xfrm>
          <a:prstGeom prst="straightConnector1">
            <a:avLst/>
          </a:prstGeom>
          <a:ln w="19050">
            <a:solidFill>
              <a:srgbClr val="256885"/>
            </a:solidFill>
            <a:prstDash val="dash"/>
          </a:ln>
        </p:spPr>
      </p:cxnSp>
      <p:sp>
        <p:nvSpPr>
          <p:cNvPr id="519" name="Shape 519"/>
          <p:cNvSpPr/>
          <p:nvPr/>
        </p:nvSpPr>
        <p:spPr>
          <a:xfrm>
            <a:off x="6321688" y="3339717"/>
            <a:ext cx="5905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lnSpc>
                <a:spcPct val="93000"/>
              </a:lnSpc>
            </a:pPr>
            <a:r>
              <a:rPr sz="900"/>
              <a:t>Barcelona</a:t>
            </a:r>
            <a:r>
              <a:rPr sz="900" baseline="30000"/>
              <a:t>1)</a:t>
            </a:r>
          </a:p>
        </p:txBody>
      </p:sp>
      <p:sp>
        <p:nvSpPr>
          <p:cNvPr id="520" name="Shape 520"/>
          <p:cNvSpPr/>
          <p:nvPr/>
        </p:nvSpPr>
        <p:spPr>
          <a:xfrm>
            <a:off x="6222791" y="3356092"/>
            <a:ext cx="96337" cy="9633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6CAAC0"/>
          </a:solidFill>
          <a:ln>
            <a:solidFill>
              <a:srgbClr val="FFFFFF"/>
            </a:solidFill>
          </a:ln>
        </p:spPr>
        <p:txBody>
          <a:bodyPr lIns="0" tIns="0" rIns="0" bIns="0" anchor="ctr"/>
          <a:lstStyle/>
          <a:p>
            <a:pPr lvl="0" algn="ctr" defTabSz="914400">
              <a:lnSpc>
                <a:spcPct val="90000"/>
              </a:lnSpc>
              <a:spcBef>
                <a:spcPts val="300"/>
              </a:spcBef>
              <a:defRPr sz="1500">
                <a:latin typeface="Arial"/>
                <a:ea typeface="Arial"/>
                <a:cs typeface="Arial"/>
                <a:sym typeface="Arial"/>
              </a:defRPr>
            </a:pPr>
            <a:endParaRPr/>
          </a:p>
        </p:txBody>
      </p:sp>
      <p:cxnSp>
        <p:nvCxnSpPr>
          <p:cNvPr id="521" name="Connector 521"/>
          <p:cNvCxnSpPr>
            <a:stCxn id="511" idx="0"/>
            <a:endCxn id="520" idx="0"/>
          </p:cNvCxnSpPr>
          <p:nvPr/>
        </p:nvCxnSpPr>
        <p:spPr>
          <a:xfrm flipV="1">
            <a:off x="5737035" y="3404260"/>
            <a:ext cx="533925" cy="1129278"/>
          </a:xfrm>
          <a:prstGeom prst="straightConnector1">
            <a:avLst/>
          </a:prstGeom>
          <a:ln w="19050">
            <a:solidFill>
              <a:srgbClr val="256885"/>
            </a:solidFill>
            <a:prstDash val="dash"/>
          </a:ln>
        </p:spPr>
      </p:cxnSp>
      <p:cxnSp>
        <p:nvCxnSpPr>
          <p:cNvPr id="522" name="Connector 522"/>
          <p:cNvCxnSpPr>
            <a:stCxn id="511" idx="0"/>
            <a:endCxn id="512" idx="0"/>
          </p:cNvCxnSpPr>
          <p:nvPr/>
        </p:nvCxnSpPr>
        <p:spPr>
          <a:xfrm flipV="1">
            <a:off x="5737035" y="3837308"/>
            <a:ext cx="114597" cy="696230"/>
          </a:xfrm>
          <a:prstGeom prst="straightConnector1">
            <a:avLst/>
          </a:prstGeom>
          <a:ln w="19050">
            <a:solidFill>
              <a:srgbClr val="808080"/>
            </a:solidFill>
            <a:prstDash val="dash"/>
          </a:ln>
        </p:spPr>
      </p:cxnSp>
      <p:grpSp>
        <p:nvGrpSpPr>
          <p:cNvPr id="2" name="Group 525"/>
          <p:cNvGrpSpPr/>
          <p:nvPr/>
        </p:nvGrpSpPr>
        <p:grpSpPr>
          <a:xfrm>
            <a:off x="497043" y="2292581"/>
            <a:ext cx="2159001" cy="2911244"/>
            <a:chOff x="0" y="0"/>
            <a:chExt cx="2159000" cy="2911243"/>
          </a:xfrm>
        </p:grpSpPr>
        <p:sp>
          <p:nvSpPr>
            <p:cNvPr id="523" name="Shape 523"/>
            <p:cNvSpPr/>
            <p:nvPr/>
          </p:nvSpPr>
          <p:spPr>
            <a:xfrm>
              <a:off x="0" y="-1"/>
              <a:ext cx="2159000" cy="2911245"/>
            </a:xfrm>
            <a:prstGeom prst="rect">
              <a:avLst/>
            </a:prstGeom>
            <a:solidFill>
              <a:srgbClr val="B2D2DE"/>
            </a:solidFill>
            <a:ln w="12700" cap="flat">
              <a:noFill/>
              <a:miter lim="400000"/>
            </a:ln>
            <a:effectLst/>
          </p:spPr>
          <p:txBody>
            <a:bodyPr wrap="square" lIns="0" tIns="0" rIns="0" bIns="0" numCol="1" anchor="ctr">
              <a:noAutofit/>
            </a:bodyPr>
            <a:lstStyle/>
            <a:p>
              <a:pPr lvl="0" defTabSz="914400">
                <a:lnSpc>
                  <a:spcPct val="93000"/>
                </a:lnSpc>
                <a:spcBef>
                  <a:spcPts val="800"/>
                </a:spcBef>
              </a:pPr>
              <a:endParaRPr/>
            </a:p>
          </p:txBody>
        </p:sp>
        <p:sp>
          <p:nvSpPr>
            <p:cNvPr id="524" name="Shape 524"/>
            <p:cNvSpPr/>
            <p:nvPr/>
          </p:nvSpPr>
          <p:spPr>
            <a:xfrm>
              <a:off x="0" y="213743"/>
              <a:ext cx="2159000" cy="2483757"/>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72000" tIns="72000" rIns="72000" bIns="72000" numCol="1" anchor="ctr">
              <a:spAutoFit/>
            </a:bodyPr>
            <a:lstStyle/>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9 lines to be open including 1 to be operated directly (Paris) and 8 under a code share agreement in a first step</a:t>
              </a:r>
              <a:r>
                <a:rPr sz="1100" baseline="30000">
                  <a:latin typeface="Arial"/>
                  <a:ea typeface="Arial"/>
                  <a:cs typeface="Arial"/>
                  <a:sym typeface="Arial"/>
                </a:rPr>
                <a:t>1)</a:t>
              </a:r>
              <a:r>
                <a:rPr sz="1100">
                  <a:latin typeface="Arial"/>
                  <a:ea typeface="Arial"/>
                  <a:cs typeface="Arial"/>
                  <a:sym typeface="Arial"/>
                </a:rPr>
                <a:t> (Miami, Madrid, Barcelona, London, Sao Paulo, New York, Washington, Johannesburg, Istanbul)</a:t>
              </a:r>
            </a:p>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Ensuring continuity of and enhancing the ongoing partnerships (Emirates to Dubai, Brussels Airlines to Brussels)</a:t>
              </a:r>
            </a:p>
            <a:p>
              <a:pPr marL="91105" lvl="1" indent="-91105" defTabSz="914400">
                <a:lnSpc>
                  <a:spcPct val="93000"/>
                </a:lnSpc>
                <a:spcBef>
                  <a:spcPts val="800"/>
                </a:spcBef>
                <a:buClr>
                  <a:srgbClr val="000000"/>
                </a:buClr>
                <a:buSzPct val="100000"/>
                <a:buFont typeface="Arial"/>
                <a:buChar char="•"/>
              </a:pPr>
              <a:r>
                <a:rPr sz="1100">
                  <a:latin typeface="Arial"/>
                  <a:ea typeface="Arial"/>
                  <a:cs typeface="Arial"/>
                  <a:sym typeface="Arial"/>
                </a:rPr>
                <a:t>Monetization of flows on 1 destination (Tunis – Tunisair)</a:t>
              </a:r>
            </a:p>
          </p:txBody>
        </p:sp>
      </p:grpSp>
      <p:sp>
        <p:nvSpPr>
          <p:cNvPr id="526" name="Shape 526"/>
          <p:cNvSpPr/>
          <p:nvPr/>
        </p:nvSpPr>
        <p:spPr>
          <a:xfrm>
            <a:off x="522443" y="5936927"/>
            <a:ext cx="432001" cy="1"/>
          </a:xfrm>
          <a:prstGeom prst="line">
            <a:avLst/>
          </a:prstGeom>
          <a:ln w="19050">
            <a:solidFill>
              <a:srgbClr val="FF960C"/>
            </a:solidFill>
            <a:prstDash val="dash"/>
          </a:ln>
        </p:spPr>
        <p:txBody>
          <a:bodyPr lIns="0" tIns="0" rIns="0" bIns="0"/>
          <a:lstStyle/>
          <a:p>
            <a:pPr lvl="0">
              <a:defRPr sz="1200">
                <a:latin typeface="+mj-lt"/>
                <a:ea typeface="+mj-ea"/>
                <a:cs typeface="+mj-cs"/>
                <a:sym typeface="Helvetica"/>
              </a:defRPr>
            </a:pPr>
            <a:endParaRPr/>
          </a:p>
        </p:txBody>
      </p:sp>
      <p:sp>
        <p:nvSpPr>
          <p:cNvPr id="527" name="Shape 527"/>
          <p:cNvSpPr/>
          <p:nvPr/>
        </p:nvSpPr>
        <p:spPr>
          <a:xfrm>
            <a:off x="1048597" y="5866917"/>
            <a:ext cx="1582048" cy="13554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000">
                <a:latin typeface="Arial"/>
                <a:ea typeface="Arial"/>
                <a:cs typeface="Arial"/>
                <a:sym typeface="Arial"/>
              </a:defRPr>
            </a:lvl1pPr>
          </a:lstStyle>
          <a:p>
            <a:pPr lvl="0">
              <a:defRPr sz="1800"/>
            </a:pPr>
            <a:r>
              <a:rPr sz="1000"/>
              <a:t>Flow monetization</a:t>
            </a:r>
          </a:p>
        </p:txBody>
      </p:sp>
      <p:sp>
        <p:nvSpPr>
          <p:cNvPr id="528" name="Shape 528"/>
          <p:cNvSpPr/>
          <p:nvPr/>
        </p:nvSpPr>
        <p:spPr>
          <a:xfrm>
            <a:off x="1048597" y="5651017"/>
            <a:ext cx="1756671" cy="13554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000">
                <a:latin typeface="Arial"/>
                <a:ea typeface="Arial"/>
                <a:cs typeface="Arial"/>
                <a:sym typeface="Arial"/>
              </a:defRPr>
            </a:lvl1pPr>
          </a:lstStyle>
          <a:p>
            <a:pPr lvl="0">
              <a:defRPr sz="1800"/>
            </a:pPr>
            <a:r>
              <a:rPr sz="1000"/>
              <a:t>Partnership (code-share / JV) </a:t>
            </a:r>
          </a:p>
        </p:txBody>
      </p:sp>
      <p:sp>
        <p:nvSpPr>
          <p:cNvPr id="529" name="Shape 529"/>
          <p:cNvSpPr/>
          <p:nvPr/>
        </p:nvSpPr>
        <p:spPr>
          <a:xfrm>
            <a:off x="522443" y="5711502"/>
            <a:ext cx="432001" cy="1"/>
          </a:xfrm>
          <a:prstGeom prst="line">
            <a:avLst/>
          </a:prstGeom>
          <a:ln w="19050">
            <a:solidFill>
              <a:srgbClr val="256885"/>
            </a:solidFill>
            <a:prstDash val="dash"/>
          </a:ln>
        </p:spPr>
        <p:txBody>
          <a:bodyPr lIns="0" tIns="0" rIns="0" bIns="0"/>
          <a:lstStyle/>
          <a:p>
            <a:pPr lvl="0">
              <a:defRPr sz="1200">
                <a:latin typeface="+mj-lt"/>
                <a:ea typeface="+mj-ea"/>
                <a:cs typeface="+mj-cs"/>
                <a:sym typeface="Helvetica"/>
              </a:defRPr>
            </a:pPr>
            <a:endParaRPr/>
          </a:p>
        </p:txBody>
      </p:sp>
      <p:sp>
        <p:nvSpPr>
          <p:cNvPr id="530" name="Shape 530"/>
          <p:cNvSpPr/>
          <p:nvPr/>
        </p:nvSpPr>
        <p:spPr>
          <a:xfrm>
            <a:off x="485743" y="6590144"/>
            <a:ext cx="5281217" cy="13554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b">
            <a:spAutoFit/>
          </a:bodyPr>
          <a:lstStyle>
            <a:lvl1pPr marL="161925" indent="-161925">
              <a:lnSpc>
                <a:spcPct val="93000"/>
              </a:lnSpc>
              <a:defRPr sz="1000">
                <a:latin typeface="Arial"/>
                <a:ea typeface="Arial"/>
                <a:cs typeface="Arial"/>
                <a:sym typeface="Arial"/>
              </a:defRPr>
            </a:lvl1pPr>
          </a:lstStyle>
          <a:p>
            <a:pPr lvl="0">
              <a:defRPr sz="1800"/>
            </a:pPr>
            <a:r>
              <a:rPr sz="1000"/>
              <a:t>1) Direct operations possible in the long run: Milan, Barcelona, Madrid, New York, Washington</a:t>
            </a:r>
          </a:p>
        </p:txBody>
      </p:sp>
      <p:sp>
        <p:nvSpPr>
          <p:cNvPr id="531" name="Shape 531"/>
          <p:cNvSpPr/>
          <p:nvPr/>
        </p:nvSpPr>
        <p:spPr>
          <a:xfrm flipV="1">
            <a:off x="4738844" y="4587164"/>
            <a:ext cx="944567" cy="543637"/>
          </a:xfrm>
          <a:prstGeom prst="line">
            <a:avLst/>
          </a:prstGeom>
          <a:ln w="19050">
            <a:solidFill>
              <a:srgbClr val="808080"/>
            </a:solidFill>
            <a:prstDash val="dash"/>
          </a:ln>
        </p:spPr>
        <p:txBody>
          <a:bodyPr lIns="0" tIns="0" rIns="0" bIns="0"/>
          <a:lstStyle/>
          <a:p>
            <a:pPr lvl="0">
              <a:defRPr sz="1200">
                <a:latin typeface="+mj-lt"/>
                <a:ea typeface="+mj-ea"/>
                <a:cs typeface="+mj-cs"/>
                <a:sym typeface="Helvetica"/>
              </a:defRPr>
            </a:pPr>
            <a:endParaRPr/>
          </a:p>
        </p:txBody>
      </p:sp>
      <p:sp>
        <p:nvSpPr>
          <p:cNvPr id="532" name="Shape 532"/>
          <p:cNvSpPr/>
          <p:nvPr/>
        </p:nvSpPr>
        <p:spPr>
          <a:xfrm>
            <a:off x="4480731" y="5221744"/>
            <a:ext cx="742951" cy="1270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900">
                <a:latin typeface="Arial"/>
                <a:ea typeface="Arial"/>
                <a:cs typeface="Arial"/>
                <a:sym typeface="Arial"/>
              </a:defRPr>
            </a:lvl1pPr>
          </a:lstStyle>
          <a:p>
            <a:pPr lvl="0">
              <a:defRPr sz="1800"/>
            </a:pPr>
            <a:r>
              <a:rPr sz="900"/>
              <a:t>Brazil</a:t>
            </a:r>
          </a:p>
        </p:txBody>
      </p:sp>
      <p:sp>
        <p:nvSpPr>
          <p:cNvPr id="533" name="Shape 533"/>
          <p:cNvSpPr/>
          <p:nvPr/>
        </p:nvSpPr>
        <p:spPr>
          <a:xfrm>
            <a:off x="2757644" y="3811906"/>
            <a:ext cx="615465" cy="19050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nSpc>
                <a:spcPct val="93000"/>
              </a:lnSpc>
              <a:defRPr sz="1300"/>
            </a:lvl1pPr>
          </a:lstStyle>
          <a:p>
            <a:pPr lvl="0">
              <a:defRPr sz="1800"/>
            </a:pPr>
            <a:r>
              <a:rPr sz="1300"/>
              <a:t>Miami</a:t>
            </a:r>
          </a:p>
        </p:txBody>
      </p:sp>
      <p:sp>
        <p:nvSpPr>
          <p:cNvPr id="534" name="Shape 534"/>
          <p:cNvSpPr/>
          <p:nvPr/>
        </p:nvSpPr>
        <p:spPr>
          <a:xfrm>
            <a:off x="3306676" y="3872774"/>
            <a:ext cx="2414835" cy="701690"/>
          </a:xfrm>
          <a:prstGeom prst="line">
            <a:avLst/>
          </a:prstGeom>
          <a:ln w="25400">
            <a:solidFill>
              <a:srgbClr val="00B050"/>
            </a:solidFill>
          </a:ln>
          <a:effectLst>
            <a:outerShdw blurRad="38100" dist="20000" dir="5400000" rotWithShape="0">
              <a:srgbClr val="000000">
                <a:alpha val="38000"/>
              </a:srgbClr>
            </a:outerShdw>
          </a:effectLst>
        </p:spPr>
        <p:txBody>
          <a:bodyPr lIns="0" tIns="0" rIns="0" bIns="0"/>
          <a:lstStyle/>
          <a:p>
            <a:pPr lvl="0">
              <a:defRPr sz="1200">
                <a:latin typeface="+mj-lt"/>
                <a:ea typeface="+mj-ea"/>
                <a:cs typeface="+mj-cs"/>
                <a:sym typeface="Helvetica"/>
              </a:defRPr>
            </a:pPr>
            <a:endParaRPr/>
          </a:p>
        </p:txBody>
      </p:sp>
      <p:sp>
        <p:nvSpPr>
          <p:cNvPr id="535" name="Shape 535"/>
          <p:cNvSpPr/>
          <p:nvPr/>
        </p:nvSpPr>
        <p:spPr>
          <a:xfrm>
            <a:off x="899592" y="-1"/>
            <a:ext cx="7797552" cy="76470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a:defRPr sz="2800" b="1">
                <a:solidFill>
                  <a:srgbClr val="C00000"/>
                </a:solidFill>
                <a:latin typeface="Cambria"/>
                <a:ea typeface="Cambria"/>
                <a:cs typeface="Cambria"/>
                <a:sym typeface="Cambria"/>
              </a:defRPr>
            </a:lvl1pPr>
          </a:lstStyle>
          <a:p>
            <a:pPr lvl="0">
              <a:defRPr sz="1800" b="0">
                <a:solidFill>
                  <a:srgbClr val="000000"/>
                </a:solidFill>
              </a:defRPr>
            </a:pPr>
            <a:r>
              <a:rPr sz="2800" b="1">
                <a:solidFill>
                  <a:srgbClr val="C00000"/>
                </a:solidFill>
              </a:rPr>
              <a:t>Senegal Airlines</a:t>
            </a:r>
          </a:p>
        </p:txBody>
      </p:sp>
      <p:sp>
        <p:nvSpPr>
          <p:cNvPr id="71"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72"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7" name="Shape 537"/>
          <p:cNvSpPr/>
          <p:nvPr/>
        </p:nvSpPr>
        <p:spPr>
          <a:xfrm>
            <a:off x="899592" y="-1"/>
            <a:ext cx="7797552" cy="76470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a:defRPr sz="2800" b="1">
                <a:solidFill>
                  <a:srgbClr val="C00000"/>
                </a:solidFill>
                <a:latin typeface="Cambria"/>
                <a:ea typeface="Cambria"/>
                <a:cs typeface="Cambria"/>
                <a:sym typeface="Cambria"/>
              </a:defRPr>
            </a:lvl1pPr>
          </a:lstStyle>
          <a:p>
            <a:pPr lvl="0">
              <a:defRPr sz="1800" b="0">
                <a:solidFill>
                  <a:srgbClr val="000000"/>
                </a:solidFill>
              </a:defRPr>
            </a:pPr>
            <a:r>
              <a:rPr sz="2800" b="1">
                <a:solidFill>
                  <a:srgbClr val="C00000"/>
                </a:solidFill>
              </a:rPr>
              <a:t>Opportunities with Senegal Airlines</a:t>
            </a:r>
          </a:p>
        </p:txBody>
      </p:sp>
      <p:grpSp>
        <p:nvGrpSpPr>
          <p:cNvPr id="2" name="Group 550"/>
          <p:cNvGrpSpPr/>
          <p:nvPr/>
        </p:nvGrpSpPr>
        <p:grpSpPr>
          <a:xfrm>
            <a:off x="252248" y="1016159"/>
            <a:ext cx="8444897" cy="5227794"/>
            <a:chOff x="0" y="0"/>
            <a:chExt cx="8444895" cy="5227793"/>
          </a:xfrm>
        </p:grpSpPr>
        <p:grpSp>
          <p:nvGrpSpPr>
            <p:cNvPr id="3" name="Group 540"/>
            <p:cNvGrpSpPr/>
            <p:nvPr/>
          </p:nvGrpSpPr>
          <p:grpSpPr>
            <a:xfrm>
              <a:off x="0" y="0"/>
              <a:ext cx="4021379" cy="2412828"/>
              <a:chOff x="0" y="0"/>
              <a:chExt cx="4021378" cy="2412827"/>
            </a:xfrm>
          </p:grpSpPr>
          <p:sp>
            <p:nvSpPr>
              <p:cNvPr id="538" name="Shape 538"/>
              <p:cNvSpPr/>
              <p:nvPr/>
            </p:nvSpPr>
            <p:spPr>
              <a:xfrm>
                <a:off x="0" y="0"/>
                <a:ext cx="4021379" cy="2412828"/>
              </a:xfrm>
              <a:prstGeom prst="roundRect">
                <a:avLst>
                  <a:gd name="adj" fmla="val 10000"/>
                </a:avLst>
              </a:prstGeom>
              <a:solidFill>
                <a:srgbClr val="FAC090"/>
              </a:solidFill>
              <a:ln w="25400" cap="flat">
                <a:solidFill>
                  <a:srgbClr val="FFFFFF"/>
                </a:solidFill>
                <a:prstDash val="solid"/>
                <a:bevel/>
              </a:ln>
              <a:effectLst/>
            </p:spPr>
            <p:txBody>
              <a:bodyPr wrap="square" lIns="0" tIns="0" rIns="0" bIns="0" numCol="1" anchor="ctr">
                <a:noAutofit/>
              </a:bodyPr>
              <a:lstStyle/>
              <a:p>
                <a:pPr lvl="0" algn="ctr" defTabSz="914400">
                  <a:defRPr sz="1400"/>
                </a:pPr>
                <a:endParaRPr/>
              </a:p>
            </p:txBody>
          </p:sp>
          <p:sp>
            <p:nvSpPr>
              <p:cNvPr id="539" name="Shape 539"/>
              <p:cNvSpPr/>
              <p:nvPr/>
            </p:nvSpPr>
            <p:spPr>
              <a:xfrm>
                <a:off x="70709" y="144693"/>
                <a:ext cx="3879961" cy="21234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lvl="0" algn="ctr" defTabSz="914400"/>
                <a:endParaRPr sz="1400">
                  <a:solidFill>
                    <a:srgbClr val="0070C0"/>
                  </a:solidFill>
                </a:endParaRPr>
              </a:p>
              <a:p>
                <a:pPr lvl="0" algn="ctr" defTabSz="914400"/>
                <a:endParaRPr sz="1400">
                  <a:solidFill>
                    <a:srgbClr val="0070C0"/>
                  </a:solidFill>
                </a:endParaRPr>
              </a:p>
              <a:p>
                <a:pPr lvl="0" algn="ctr" defTabSz="914400"/>
                <a:r>
                  <a:rPr sz="1400"/>
                  <a:t>In connection with a joint venture between the two entities, the technical industrial maintenance center could stepwise reactivated in order to cover firstly the airline as well as third party players with regards to light maintenance, develop small shops and further into a maintenance center for the region and beyond..</a:t>
                </a:r>
              </a:p>
            </p:txBody>
          </p:sp>
        </p:grpSp>
        <p:grpSp>
          <p:nvGrpSpPr>
            <p:cNvPr id="4" name="Group 543"/>
            <p:cNvGrpSpPr/>
            <p:nvPr/>
          </p:nvGrpSpPr>
          <p:grpSpPr>
            <a:xfrm>
              <a:off x="4423516" y="0"/>
              <a:ext cx="4021380" cy="2412828"/>
              <a:chOff x="0" y="0"/>
              <a:chExt cx="4021378" cy="2412827"/>
            </a:xfrm>
          </p:grpSpPr>
          <p:sp>
            <p:nvSpPr>
              <p:cNvPr id="541" name="Shape 541"/>
              <p:cNvSpPr/>
              <p:nvPr/>
            </p:nvSpPr>
            <p:spPr>
              <a:xfrm>
                <a:off x="0" y="0"/>
                <a:ext cx="4021379" cy="2412828"/>
              </a:xfrm>
              <a:prstGeom prst="roundRect">
                <a:avLst>
                  <a:gd name="adj" fmla="val 10000"/>
                </a:avLst>
              </a:prstGeom>
              <a:solidFill>
                <a:srgbClr val="9BBB59"/>
              </a:solidFill>
              <a:ln w="25400" cap="flat">
                <a:solidFill>
                  <a:srgbClr val="FFFFFF"/>
                </a:solidFill>
                <a:prstDash val="solid"/>
                <a:bevel/>
              </a:ln>
              <a:effectLst/>
            </p:spPr>
            <p:txBody>
              <a:bodyPr wrap="square" lIns="0" tIns="0" rIns="0" bIns="0" numCol="1" anchor="ctr">
                <a:noAutofit/>
              </a:bodyPr>
              <a:lstStyle/>
              <a:p>
                <a:pPr lvl="0" algn="ctr" defTabSz="914400">
                  <a:defRPr sz="3799">
                    <a:solidFill>
                      <a:srgbClr val="FFFFFF"/>
                    </a:solidFill>
                  </a:defRPr>
                </a:pPr>
                <a:endParaRPr/>
              </a:p>
            </p:txBody>
          </p:sp>
          <p:sp>
            <p:nvSpPr>
              <p:cNvPr id="542" name="Shape 542"/>
              <p:cNvSpPr/>
              <p:nvPr/>
            </p:nvSpPr>
            <p:spPr>
              <a:xfrm>
                <a:off x="70709" y="551093"/>
                <a:ext cx="3879961" cy="13106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lvl="0" algn="ctr" defTabSz="914400"/>
                <a:endParaRPr sz="1400">
                  <a:solidFill>
                    <a:srgbClr val="FFFFFF"/>
                  </a:solidFill>
                </a:endParaRPr>
              </a:p>
              <a:p>
                <a:pPr lvl="0" algn="ctr" defTabSz="914400"/>
                <a:r>
                  <a:rPr sz="1400"/>
                  <a:t>Possibility to set and develop a regional training  center that could cover various needs of airline industry in terms of safety and security, maintenance, flight operation and other mandatory trainings.</a:t>
                </a:r>
              </a:p>
            </p:txBody>
          </p:sp>
        </p:grpSp>
        <p:grpSp>
          <p:nvGrpSpPr>
            <p:cNvPr id="5" name="Group 546"/>
            <p:cNvGrpSpPr/>
            <p:nvPr/>
          </p:nvGrpSpPr>
          <p:grpSpPr>
            <a:xfrm>
              <a:off x="4423516" y="2814965"/>
              <a:ext cx="4021380" cy="2412829"/>
              <a:chOff x="0" y="0"/>
              <a:chExt cx="4021378" cy="2412827"/>
            </a:xfrm>
          </p:grpSpPr>
          <p:sp>
            <p:nvSpPr>
              <p:cNvPr id="544" name="Shape 544"/>
              <p:cNvSpPr/>
              <p:nvPr/>
            </p:nvSpPr>
            <p:spPr>
              <a:xfrm>
                <a:off x="0" y="0"/>
                <a:ext cx="4021379" cy="2412828"/>
              </a:xfrm>
              <a:prstGeom prst="roundRect">
                <a:avLst>
                  <a:gd name="adj" fmla="val 10000"/>
                </a:avLst>
              </a:prstGeom>
              <a:solidFill>
                <a:srgbClr val="B3A2C7"/>
              </a:solidFill>
              <a:ln w="25400" cap="flat">
                <a:solidFill>
                  <a:srgbClr val="FFFFFF"/>
                </a:solidFill>
                <a:prstDash val="solid"/>
                <a:bevel/>
              </a:ln>
              <a:effectLst/>
            </p:spPr>
            <p:txBody>
              <a:bodyPr wrap="square" lIns="0" tIns="0" rIns="0" bIns="0" numCol="1" anchor="ctr">
                <a:noAutofit/>
              </a:bodyPr>
              <a:lstStyle/>
              <a:p>
                <a:pPr lvl="0" algn="ctr" defTabSz="914400">
                  <a:defRPr sz="1400"/>
                </a:pPr>
                <a:endParaRPr/>
              </a:p>
            </p:txBody>
          </p:sp>
          <p:sp>
            <p:nvSpPr>
              <p:cNvPr id="545" name="Shape 545"/>
              <p:cNvSpPr/>
              <p:nvPr/>
            </p:nvSpPr>
            <p:spPr>
              <a:xfrm>
                <a:off x="70709" y="347893"/>
                <a:ext cx="3879961" cy="17170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lvl="0" algn="ctr" defTabSz="914400"/>
                <a:endParaRPr sz="1400">
                  <a:solidFill>
                    <a:srgbClr val="002060"/>
                  </a:solidFill>
                  <a:latin typeface="Arial"/>
                  <a:ea typeface="Arial"/>
                  <a:cs typeface="Arial"/>
                  <a:sym typeface="Arial"/>
                </a:endParaRPr>
              </a:p>
              <a:p>
                <a:pPr lvl="0" algn="ctr" defTabSz="914400"/>
                <a:endParaRPr sz="1400">
                  <a:solidFill>
                    <a:srgbClr val="002060"/>
                  </a:solidFill>
                  <a:latin typeface="Arial"/>
                  <a:ea typeface="Arial"/>
                  <a:cs typeface="Arial"/>
                  <a:sym typeface="Arial"/>
                </a:endParaRPr>
              </a:p>
              <a:p>
                <a:pPr lvl="0" algn="ctr" defTabSz="914400"/>
                <a:endParaRPr sz="1400">
                  <a:solidFill>
                    <a:srgbClr val="002060"/>
                  </a:solidFill>
                  <a:latin typeface="Arial"/>
                  <a:ea typeface="Arial"/>
                  <a:cs typeface="Arial"/>
                  <a:sym typeface="Arial"/>
                </a:endParaRPr>
              </a:p>
              <a:p>
                <a:pPr lvl="0" algn="ctr" defTabSz="914400"/>
                <a:r>
                  <a:rPr sz="1400"/>
                  <a:t>Availability of a huge cargo area which will be allocated  by the new airport authorities</a:t>
                </a:r>
                <a:endParaRPr sz="3799">
                  <a:solidFill>
                    <a:srgbClr val="FFFFFF"/>
                  </a:solidFill>
                </a:endParaRPr>
              </a:p>
              <a:p>
                <a:pPr lvl="0" algn="ctr" defTabSz="914400"/>
                <a:r>
                  <a:rPr sz="1400"/>
                  <a:t>Potentiality to build up a cargo dispatch hub due to strategical airport position open to international freight flows</a:t>
                </a:r>
              </a:p>
            </p:txBody>
          </p:sp>
        </p:grpSp>
        <p:grpSp>
          <p:nvGrpSpPr>
            <p:cNvPr id="6" name="Group 549"/>
            <p:cNvGrpSpPr/>
            <p:nvPr/>
          </p:nvGrpSpPr>
          <p:grpSpPr>
            <a:xfrm>
              <a:off x="0" y="2814965"/>
              <a:ext cx="4021379" cy="2412829"/>
              <a:chOff x="0" y="0"/>
              <a:chExt cx="4021378" cy="2412827"/>
            </a:xfrm>
          </p:grpSpPr>
          <p:sp>
            <p:nvSpPr>
              <p:cNvPr id="547" name="Shape 547"/>
              <p:cNvSpPr/>
              <p:nvPr/>
            </p:nvSpPr>
            <p:spPr>
              <a:xfrm>
                <a:off x="0" y="0"/>
                <a:ext cx="4021379" cy="2412828"/>
              </a:xfrm>
              <a:prstGeom prst="roundRect">
                <a:avLst>
                  <a:gd name="adj" fmla="val 10000"/>
                </a:avLst>
              </a:prstGeom>
              <a:solidFill>
                <a:srgbClr val="4BACC6"/>
              </a:solidFill>
              <a:ln w="25400" cap="flat">
                <a:solidFill>
                  <a:srgbClr val="FFFFFF"/>
                </a:solidFill>
                <a:prstDash val="solid"/>
                <a:bevel/>
              </a:ln>
              <a:effectLst/>
            </p:spPr>
            <p:txBody>
              <a:bodyPr wrap="square" lIns="0" tIns="0" rIns="0" bIns="0" numCol="1" anchor="ctr">
                <a:noAutofit/>
              </a:bodyPr>
              <a:lstStyle/>
              <a:p>
                <a:pPr lvl="0" algn="ctr" defTabSz="914400">
                  <a:defRPr sz="3799">
                    <a:solidFill>
                      <a:srgbClr val="FFFFFF"/>
                    </a:solidFill>
                  </a:defRPr>
                </a:pPr>
                <a:endParaRPr/>
              </a:p>
            </p:txBody>
          </p:sp>
          <p:sp>
            <p:nvSpPr>
              <p:cNvPr id="548" name="Shape 548"/>
              <p:cNvSpPr/>
              <p:nvPr/>
            </p:nvSpPr>
            <p:spPr>
              <a:xfrm>
                <a:off x="70709" y="347893"/>
                <a:ext cx="3879961" cy="1717041"/>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p>
                <a:pPr lvl="0" algn="ctr" defTabSz="914400"/>
                <a:endParaRPr sz="1400">
                  <a:solidFill>
                    <a:srgbClr val="002060"/>
                  </a:solidFill>
                  <a:latin typeface="Arial"/>
                  <a:ea typeface="Arial"/>
                  <a:cs typeface="Arial"/>
                  <a:sym typeface="Arial"/>
                </a:endParaRPr>
              </a:p>
              <a:p>
                <a:pPr lvl="0" algn="ctr" defTabSz="914400"/>
                <a:endParaRPr sz="1400">
                  <a:solidFill>
                    <a:srgbClr val="002060"/>
                  </a:solidFill>
                  <a:latin typeface="Arial"/>
                  <a:ea typeface="Arial"/>
                  <a:cs typeface="Arial"/>
                  <a:sym typeface="Arial"/>
                </a:endParaRPr>
              </a:p>
              <a:p>
                <a:pPr lvl="0" algn="ctr" defTabSz="914400"/>
                <a:r>
                  <a:rPr sz="1400"/>
                  <a:t>Opportunity to develop Miami-Dakar gateway, will be able to extend its area of activities towards high profit non-core business units such as Ground handling services, catering and some other activities linked to the airline core business </a:t>
                </a:r>
              </a:p>
            </p:txBody>
          </p:sp>
        </p:grpSp>
      </p:grpSp>
      <p:grpSp>
        <p:nvGrpSpPr>
          <p:cNvPr id="7" name="Group 553"/>
          <p:cNvGrpSpPr/>
          <p:nvPr/>
        </p:nvGrpSpPr>
        <p:grpSpPr>
          <a:xfrm>
            <a:off x="1450426" y="4108675"/>
            <a:ext cx="2065285" cy="396001"/>
            <a:chOff x="0" y="0"/>
            <a:chExt cx="2065283" cy="396000"/>
          </a:xfrm>
        </p:grpSpPr>
        <p:sp>
          <p:nvSpPr>
            <p:cNvPr id="551" name="Shape 551"/>
            <p:cNvSpPr/>
            <p:nvPr/>
          </p:nvSpPr>
          <p:spPr>
            <a:xfrm>
              <a:off x="0" y="0"/>
              <a:ext cx="2065284" cy="396001"/>
            </a:xfrm>
            <a:prstGeom prst="roundRect">
              <a:avLst>
                <a:gd name="adj" fmla="val 16667"/>
              </a:avLst>
            </a:prstGeom>
            <a:solidFill>
              <a:srgbClr val="FFFFFF"/>
            </a:solidFill>
            <a:ln w="25400" cap="flat">
              <a:solidFill>
                <a:srgbClr val="8064A2"/>
              </a:solidFill>
              <a:prstDash val="solid"/>
              <a:bevel/>
            </a:ln>
            <a:effectLst/>
          </p:spPr>
          <p:txBody>
            <a:bodyPr wrap="square" lIns="0" tIns="0" rIns="0" bIns="0" numCol="1" anchor="ctr">
              <a:noAutofit/>
            </a:bodyPr>
            <a:lstStyle/>
            <a:p>
              <a:pPr lvl="0" algn="ctr"/>
              <a:endParaRPr/>
            </a:p>
          </p:txBody>
        </p:sp>
        <p:sp>
          <p:nvSpPr>
            <p:cNvPr id="552" name="Shape 552"/>
            <p:cNvSpPr/>
            <p:nvPr/>
          </p:nvSpPr>
          <p:spPr>
            <a:xfrm>
              <a:off x="19330" y="78365"/>
              <a:ext cx="2026623" cy="2392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defRPr sz="1100">
                  <a:solidFill>
                    <a:srgbClr val="002060"/>
                  </a:solidFill>
                  <a:latin typeface="Arial"/>
                  <a:ea typeface="Arial"/>
                  <a:cs typeface="Arial"/>
                  <a:sym typeface="Arial"/>
                </a:defRPr>
              </a:lvl1pPr>
            </a:lstStyle>
            <a:p>
              <a:pPr lvl="0">
                <a:defRPr sz="1800">
                  <a:solidFill>
                    <a:srgbClr val="000000"/>
                  </a:solidFill>
                </a:defRPr>
              </a:pPr>
              <a:r>
                <a:rPr sz="1100">
                  <a:solidFill>
                    <a:srgbClr val="002060"/>
                  </a:solidFill>
                </a:rPr>
                <a:t>Regional Cargo</a:t>
              </a:r>
            </a:p>
          </p:txBody>
        </p:sp>
      </p:grpSp>
      <p:grpSp>
        <p:nvGrpSpPr>
          <p:cNvPr id="8" name="Group 556"/>
          <p:cNvGrpSpPr/>
          <p:nvPr/>
        </p:nvGrpSpPr>
        <p:grpSpPr>
          <a:xfrm>
            <a:off x="5675593" y="4108675"/>
            <a:ext cx="2065284" cy="396001"/>
            <a:chOff x="0" y="0"/>
            <a:chExt cx="2065283" cy="396000"/>
          </a:xfrm>
        </p:grpSpPr>
        <p:sp>
          <p:nvSpPr>
            <p:cNvPr id="554" name="Shape 554"/>
            <p:cNvSpPr/>
            <p:nvPr/>
          </p:nvSpPr>
          <p:spPr>
            <a:xfrm>
              <a:off x="0" y="0"/>
              <a:ext cx="2065284" cy="396001"/>
            </a:xfrm>
            <a:prstGeom prst="roundRect">
              <a:avLst>
                <a:gd name="adj" fmla="val 16667"/>
              </a:avLst>
            </a:prstGeom>
            <a:solidFill>
              <a:srgbClr val="FFFFFF"/>
            </a:solidFill>
            <a:ln w="25400" cap="flat">
              <a:solidFill>
                <a:srgbClr val="17375E"/>
              </a:solidFill>
              <a:prstDash val="solid"/>
              <a:bevel/>
            </a:ln>
            <a:effectLst/>
          </p:spPr>
          <p:txBody>
            <a:bodyPr wrap="square" lIns="0" tIns="0" rIns="0" bIns="0" numCol="1" anchor="ctr">
              <a:noAutofit/>
            </a:bodyPr>
            <a:lstStyle/>
            <a:p>
              <a:pPr lvl="0">
                <a:defRPr sz="1100"/>
              </a:pPr>
              <a:endParaRPr/>
            </a:p>
          </p:txBody>
        </p:sp>
        <p:sp>
          <p:nvSpPr>
            <p:cNvPr id="555" name="Shape 555"/>
            <p:cNvSpPr/>
            <p:nvPr/>
          </p:nvSpPr>
          <p:spPr>
            <a:xfrm>
              <a:off x="19330" y="78365"/>
              <a:ext cx="2026623" cy="2392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defRPr sz="1100">
                  <a:solidFill>
                    <a:srgbClr val="002060"/>
                  </a:solidFill>
                  <a:latin typeface="Arial"/>
                  <a:ea typeface="Arial"/>
                  <a:cs typeface="Arial"/>
                  <a:sym typeface="Arial"/>
                </a:defRPr>
              </a:lvl1pPr>
            </a:lstStyle>
            <a:p>
              <a:pPr lvl="0">
                <a:defRPr sz="1800">
                  <a:solidFill>
                    <a:srgbClr val="000000"/>
                  </a:solidFill>
                </a:defRPr>
              </a:pPr>
              <a:r>
                <a:rPr sz="1100">
                  <a:solidFill>
                    <a:srgbClr val="002060"/>
                  </a:solidFill>
                </a:rPr>
                <a:t>Airport activities services</a:t>
              </a:r>
            </a:p>
          </p:txBody>
        </p:sp>
      </p:grpSp>
      <p:grpSp>
        <p:nvGrpSpPr>
          <p:cNvPr id="9" name="Group 559"/>
          <p:cNvGrpSpPr/>
          <p:nvPr/>
        </p:nvGrpSpPr>
        <p:grpSpPr>
          <a:xfrm>
            <a:off x="5675593" y="1166634"/>
            <a:ext cx="2065284" cy="396001"/>
            <a:chOff x="0" y="0"/>
            <a:chExt cx="2065283" cy="396000"/>
          </a:xfrm>
        </p:grpSpPr>
        <p:sp>
          <p:nvSpPr>
            <p:cNvPr id="557" name="Shape 557"/>
            <p:cNvSpPr/>
            <p:nvPr/>
          </p:nvSpPr>
          <p:spPr>
            <a:xfrm>
              <a:off x="0" y="0"/>
              <a:ext cx="2065284" cy="396001"/>
            </a:xfrm>
            <a:prstGeom prst="roundRect">
              <a:avLst>
                <a:gd name="adj" fmla="val 16667"/>
              </a:avLst>
            </a:prstGeom>
            <a:solidFill>
              <a:srgbClr val="FFFFFF"/>
            </a:solidFill>
            <a:ln w="25400" cap="flat">
              <a:solidFill>
                <a:srgbClr val="4F6228"/>
              </a:solidFill>
              <a:prstDash val="solid"/>
              <a:bevel/>
            </a:ln>
            <a:effectLst/>
          </p:spPr>
          <p:txBody>
            <a:bodyPr wrap="square" lIns="0" tIns="0" rIns="0" bIns="0" numCol="1" anchor="ctr">
              <a:noAutofit/>
            </a:bodyPr>
            <a:lstStyle/>
            <a:p>
              <a:pPr lvl="0" algn="ctr">
                <a:defRPr sz="1100">
                  <a:solidFill>
                    <a:srgbClr val="002060"/>
                  </a:solidFill>
                  <a:latin typeface="Arial"/>
                  <a:ea typeface="Arial"/>
                  <a:cs typeface="Arial"/>
                  <a:sym typeface="Arial"/>
                </a:defRPr>
              </a:pPr>
              <a:endParaRPr/>
            </a:p>
          </p:txBody>
        </p:sp>
        <p:sp>
          <p:nvSpPr>
            <p:cNvPr id="558" name="Shape 558"/>
            <p:cNvSpPr/>
            <p:nvPr/>
          </p:nvSpPr>
          <p:spPr>
            <a:xfrm>
              <a:off x="19330" y="78365"/>
              <a:ext cx="2026623" cy="2392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defRPr sz="1100">
                  <a:solidFill>
                    <a:srgbClr val="002060"/>
                  </a:solidFill>
                  <a:latin typeface="Arial"/>
                  <a:ea typeface="Arial"/>
                  <a:cs typeface="Arial"/>
                  <a:sym typeface="Arial"/>
                </a:defRPr>
              </a:lvl1pPr>
            </a:lstStyle>
            <a:p>
              <a:pPr lvl="0">
                <a:defRPr sz="1800">
                  <a:solidFill>
                    <a:srgbClr val="000000"/>
                  </a:solidFill>
                </a:defRPr>
              </a:pPr>
              <a:r>
                <a:rPr sz="1100">
                  <a:solidFill>
                    <a:srgbClr val="002060"/>
                  </a:solidFill>
                </a:rPr>
                <a:t>Training Center</a:t>
              </a:r>
            </a:p>
          </p:txBody>
        </p:sp>
      </p:grpSp>
      <p:grpSp>
        <p:nvGrpSpPr>
          <p:cNvPr id="10" name="Group 562"/>
          <p:cNvGrpSpPr/>
          <p:nvPr/>
        </p:nvGrpSpPr>
        <p:grpSpPr>
          <a:xfrm>
            <a:off x="1450426" y="1166634"/>
            <a:ext cx="2065285" cy="396001"/>
            <a:chOff x="0" y="0"/>
            <a:chExt cx="2065283" cy="396000"/>
          </a:xfrm>
        </p:grpSpPr>
        <p:sp>
          <p:nvSpPr>
            <p:cNvPr id="560" name="Shape 560"/>
            <p:cNvSpPr/>
            <p:nvPr/>
          </p:nvSpPr>
          <p:spPr>
            <a:xfrm>
              <a:off x="0" y="0"/>
              <a:ext cx="2065284" cy="396001"/>
            </a:xfrm>
            <a:prstGeom prst="roundRect">
              <a:avLst>
                <a:gd name="adj" fmla="val 16667"/>
              </a:avLst>
            </a:prstGeom>
            <a:solidFill>
              <a:srgbClr val="FFFFFF"/>
            </a:solidFill>
            <a:ln w="25400" cap="flat">
              <a:solidFill>
                <a:srgbClr val="F79646"/>
              </a:solidFill>
              <a:prstDash val="solid"/>
              <a:bevel/>
            </a:ln>
            <a:effectLst/>
          </p:spPr>
          <p:txBody>
            <a:bodyPr wrap="square" lIns="0" tIns="0" rIns="0" bIns="0" numCol="1" anchor="ctr">
              <a:noAutofit/>
            </a:bodyPr>
            <a:lstStyle/>
            <a:p>
              <a:pPr lvl="0" algn="ctr">
                <a:defRPr sz="1100">
                  <a:solidFill>
                    <a:srgbClr val="002060"/>
                  </a:solidFill>
                  <a:latin typeface="Arial"/>
                  <a:ea typeface="Arial"/>
                  <a:cs typeface="Arial"/>
                  <a:sym typeface="Arial"/>
                </a:defRPr>
              </a:pPr>
              <a:endParaRPr/>
            </a:p>
          </p:txBody>
        </p:sp>
        <p:sp>
          <p:nvSpPr>
            <p:cNvPr id="561" name="Shape 561"/>
            <p:cNvSpPr/>
            <p:nvPr/>
          </p:nvSpPr>
          <p:spPr>
            <a:xfrm>
              <a:off x="19330" y="78365"/>
              <a:ext cx="2026623" cy="2392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defRPr sz="1100">
                  <a:solidFill>
                    <a:srgbClr val="002060"/>
                  </a:solidFill>
                  <a:latin typeface="Arial"/>
                  <a:ea typeface="Arial"/>
                  <a:cs typeface="Arial"/>
                  <a:sym typeface="Arial"/>
                </a:defRPr>
              </a:lvl1pPr>
            </a:lstStyle>
            <a:p>
              <a:pPr lvl="0">
                <a:defRPr sz="1800">
                  <a:solidFill>
                    <a:srgbClr val="000000"/>
                  </a:solidFill>
                </a:defRPr>
              </a:pPr>
              <a:r>
                <a:rPr sz="1100">
                  <a:solidFill>
                    <a:srgbClr val="002060"/>
                  </a:solidFill>
                </a:rPr>
                <a:t>Maintenance Center</a:t>
              </a:r>
            </a:p>
          </p:txBody>
        </p:sp>
      </p:grpSp>
      <p:sp>
        <p:nvSpPr>
          <p:cNvPr id="28"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29"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4" name="Shape 564"/>
          <p:cNvSpPr/>
          <p:nvPr/>
        </p:nvSpPr>
        <p:spPr>
          <a:xfrm>
            <a:off x="603249" y="2649905"/>
            <a:ext cx="8396169" cy="1869441"/>
          </a:xfrm>
          <a:prstGeom prst="rect">
            <a:avLst/>
          </a:prstGeom>
          <a:ln w="12700">
            <a:miter lim="400000"/>
          </a:ln>
          <a:effectLst>
            <a:outerShdw blurRad="38100" dist="23000" dir="5400000" rotWithShape="0">
              <a:srgbClr val="808080">
                <a:alpha val="34999"/>
              </a:srgbClr>
            </a:outerShdw>
          </a:effectLst>
          <a:extLst>
            <a:ext uri="{C572A759-6A51-4108-AA02-DFA0A04FC94B}">
              <ma14:wrappingTextBoxFlag xmlns:ma14="http://schemas.microsoft.com/office/mac/drawingml/2011/main" xmlns="" val="1"/>
            </a:ext>
          </a:extLst>
        </p:spPr>
        <p:txBody>
          <a:bodyPr lIns="0" tIns="0" rIns="0" bIns="0" anchor="ctr">
            <a:spAutoFit/>
          </a:bodyPr>
          <a:lstStyle/>
          <a:p>
            <a:pPr marL="800100" lvl="0" indent="-800100">
              <a:lnSpc>
                <a:spcPct val="150000"/>
              </a:lnSpc>
              <a:spcBef>
                <a:spcPts val="600"/>
              </a:spcBef>
              <a:buClr>
                <a:srgbClr val="BFBFBF"/>
              </a:buClr>
              <a:buSzPct val="100000"/>
              <a:buFont typeface="Wingdings"/>
              <a:buChar char="▪"/>
            </a:pPr>
            <a:r>
              <a:rPr sz="2800" b="1">
                <a:solidFill>
                  <a:srgbClr val="BFBFBF"/>
                </a:solidFill>
              </a:rPr>
              <a:t>Why invest in Senegal</a:t>
            </a:r>
          </a:p>
          <a:p>
            <a:pPr marL="800100" lvl="0" indent="-800100">
              <a:lnSpc>
                <a:spcPct val="150000"/>
              </a:lnSpc>
              <a:spcBef>
                <a:spcPts val="600"/>
              </a:spcBef>
              <a:buClr>
                <a:srgbClr val="BFBFBF"/>
              </a:buClr>
              <a:buSzPct val="100000"/>
              <a:buFont typeface="Wingdings"/>
              <a:buChar char="▪"/>
            </a:pPr>
            <a:r>
              <a:rPr sz="2800" b="1">
                <a:solidFill>
                  <a:srgbClr val="BFBFBF"/>
                </a:solidFill>
              </a:rPr>
              <a:t>Airport sector</a:t>
            </a:r>
          </a:p>
          <a:p>
            <a:pPr marL="800100" lvl="0" indent="-800100">
              <a:lnSpc>
                <a:spcPct val="150000"/>
              </a:lnSpc>
              <a:spcBef>
                <a:spcPts val="600"/>
              </a:spcBef>
              <a:buClr>
                <a:srgbClr val="141313"/>
              </a:buClr>
              <a:buSzPct val="100000"/>
              <a:buFont typeface="Wingdings"/>
              <a:buChar char="▪"/>
            </a:pPr>
            <a:r>
              <a:rPr sz="2800" b="1">
                <a:solidFill>
                  <a:srgbClr val="141313"/>
                </a:solidFill>
              </a:rPr>
              <a:t>Tourism Opportunities</a:t>
            </a:r>
          </a:p>
        </p:txBody>
      </p:sp>
      <p:pic>
        <p:nvPicPr>
          <p:cNvPr id="565" name="image2.png" descr="Capture d’écran 2014-02-23 à 00.01.06.png"/>
          <p:cNvPicPr/>
          <p:nvPr/>
        </p:nvPicPr>
        <p:blipFill>
          <a:blip r:embed="rId2">
            <a:extLst/>
          </a:blip>
          <a:srcRect l="42410" t="33270" r="55851" b="61413"/>
          <a:stretch>
            <a:fillRect/>
          </a:stretch>
        </p:blipFill>
        <p:spPr>
          <a:xfrm>
            <a:off x="-1" y="0"/>
            <a:ext cx="603252" cy="1150938"/>
          </a:xfrm>
          <a:prstGeom prst="rect">
            <a:avLst/>
          </a:prstGeom>
          <a:ln w="12700">
            <a:miter lim="400000"/>
          </a:ln>
        </p:spPr>
      </p:pic>
      <p:pic>
        <p:nvPicPr>
          <p:cNvPr id="566" name="image2.png" descr="Capture d’écran 2014-02-23 à 00.01.06.png"/>
          <p:cNvPicPr/>
          <p:nvPr/>
        </p:nvPicPr>
        <p:blipFill>
          <a:blip r:embed="rId2">
            <a:extLst/>
          </a:blip>
          <a:srcRect l="42581" t="67912" r="54128" b="26923"/>
          <a:stretch>
            <a:fillRect/>
          </a:stretch>
        </p:blipFill>
        <p:spPr>
          <a:xfrm>
            <a:off x="28575" y="5991224"/>
            <a:ext cx="884238" cy="866777"/>
          </a:xfrm>
          <a:prstGeom prst="rect">
            <a:avLst/>
          </a:prstGeom>
          <a:ln w="12700">
            <a:miter lim="400000"/>
          </a:ln>
        </p:spPr>
      </p:pic>
      <p:pic>
        <p:nvPicPr>
          <p:cNvPr id="567" name="image3.png"/>
          <p:cNvPicPr/>
          <p:nvPr/>
        </p:nvPicPr>
        <p:blipFill>
          <a:blip r:embed="rId3">
            <a:extLst/>
          </a:blip>
          <a:srcRect l="1386" t="13406" r="70821" b="51156"/>
          <a:stretch>
            <a:fillRect/>
          </a:stretch>
        </p:blipFill>
        <p:spPr>
          <a:xfrm>
            <a:off x="3635895" y="260647"/>
            <a:ext cx="2160241" cy="1555375"/>
          </a:xfrm>
          <a:prstGeom prst="rect">
            <a:avLst/>
          </a:prstGeom>
          <a:ln w="12700">
            <a:miter lim="400000"/>
          </a:ln>
        </p:spPr>
      </p:pic>
    </p:spTree>
  </p:cSld>
  <p:clrMapOvr>
    <a:masterClrMapping/>
  </p:clrMapOvr>
  <p:transition/>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564">
                                            <p:bg/>
                                          </p:spTgt>
                                        </p:tgtEl>
                                        <p:attrNameLst>
                                          <p:attrName>style.visibility</p:attrName>
                                        </p:attrNameLst>
                                      </p:cBhvr>
                                      <p:to>
                                        <p:strVal val="visible"/>
                                      </p:to>
                                    </p:set>
                                  </p:childTnLst>
                                </p:cTn>
                              </p:par>
                              <p:par>
                                <p:cTn id="7" presetID="1" presetClass="entr" presetSubtype="0" fill="hold" grpId="0">
                                  <p:stCondLst>
                                    <p:cond delay="0"/>
                                  </p:stCondLst>
                                  <p:iterate>
                                    <p:tmAbs val="0"/>
                                  </p:iterate>
                                  <p:childTnLst>
                                    <p:set>
                                      <p:cBhvr>
                                        <p:cTn id="8" fill="hold"/>
                                        <p:tgtEl>
                                          <p:spTgt spid="564">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iterate>
                                    <p:tmAbs val="0"/>
                                  </p:iterate>
                                  <p:childTnLst>
                                    <p:set>
                                      <p:cBhvr>
                                        <p:cTn id="12" fill="hold"/>
                                        <p:tgtEl>
                                          <p:spTgt spid="564">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iterate>
                                    <p:tmAbs val="0"/>
                                  </p:iterate>
                                  <p:childTnLst>
                                    <p:set>
                                      <p:cBhvr>
                                        <p:cTn id="16" fill="hold"/>
                                        <p:tgtEl>
                                          <p:spTgt spid="56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4" grpId="0" build="p" bldLvl="5" animBg="1" advAuto="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9" name="Shape 569"/>
          <p:cNvSpPr>
            <a:spLocks noGrp="1"/>
          </p:cNvSpPr>
          <p:nvPr>
            <p:ph type="title"/>
          </p:nvPr>
        </p:nvSpPr>
        <p:spPr>
          <a:xfrm>
            <a:off x="552994" y="0"/>
            <a:ext cx="8229601" cy="1143001"/>
          </a:xfrm>
          <a:prstGeom prst="rect">
            <a:avLst/>
          </a:prstGeom>
        </p:spPr>
        <p:txBody>
          <a:bodyPr/>
          <a:lstStyle/>
          <a:p>
            <a:pPr lvl="0" algn="l">
              <a:defRPr sz="1800">
                <a:solidFill>
                  <a:srgbClr val="000000"/>
                </a:solidFill>
              </a:defRPr>
            </a:pPr>
            <a:r>
              <a:rPr sz="2800" b="1" dirty="0">
                <a:solidFill>
                  <a:srgbClr val="C00000"/>
                </a:solidFill>
                <a:latin typeface="Cambria"/>
                <a:ea typeface="Cambria"/>
                <a:cs typeface="Cambria"/>
                <a:sym typeface="Cambria"/>
              </a:rPr>
              <a:t>Touristic products</a:t>
            </a:r>
            <a:br>
              <a:rPr sz="2800" b="1" dirty="0">
                <a:solidFill>
                  <a:srgbClr val="C00000"/>
                </a:solidFill>
                <a:latin typeface="Cambria"/>
                <a:ea typeface="Cambria"/>
                <a:cs typeface="Cambria"/>
                <a:sym typeface="Cambria"/>
              </a:rPr>
            </a:br>
            <a:endParaRPr sz="2800" b="1" dirty="0">
              <a:solidFill>
                <a:srgbClr val="C00000"/>
              </a:solidFill>
              <a:latin typeface="Cambria"/>
              <a:ea typeface="Cambria"/>
              <a:cs typeface="Cambria"/>
              <a:sym typeface="Cambria"/>
            </a:endParaRPr>
          </a:p>
        </p:txBody>
      </p:sp>
      <p:sp>
        <p:nvSpPr>
          <p:cNvPr id="570" name="Shape 570"/>
          <p:cNvSpPr>
            <a:spLocks noGrp="1"/>
          </p:cNvSpPr>
          <p:nvPr>
            <p:ph type="sldNum" sz="quarter" idx="4294967295"/>
          </p:nvPr>
        </p:nvSpPr>
        <p:spPr>
          <a:xfrm>
            <a:off x="6553200" y="6221730"/>
            <a:ext cx="2133600" cy="269240"/>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48</a:t>
            </a:fld>
            <a:endParaRPr sz="1200">
              <a:solidFill>
                <a:srgbClr val="888888"/>
              </a:solidFill>
            </a:endParaRPr>
          </a:p>
        </p:txBody>
      </p:sp>
      <p:sp>
        <p:nvSpPr>
          <p:cNvPr id="571" name="Shape 571"/>
          <p:cNvSpPr/>
          <p:nvPr/>
        </p:nvSpPr>
        <p:spPr>
          <a:xfrm>
            <a:off x="879565" y="1550126"/>
            <a:ext cx="7491631" cy="400955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lvl="0">
              <a:lnSpc>
                <a:spcPct val="200000"/>
              </a:lnSpc>
              <a:buFont typeface="Wingdings" pitchFamily="2" charset="2"/>
              <a:buChar char="v"/>
            </a:pPr>
            <a:endParaRPr sz="1400" b="1" dirty="0">
              <a:latin typeface="Arial"/>
              <a:ea typeface="Arial"/>
              <a:cs typeface="Arial"/>
              <a:sym typeface="Arial"/>
            </a:endParaRPr>
          </a:p>
          <a:p>
            <a:pPr lvl="0">
              <a:lnSpc>
                <a:spcPct val="200000"/>
              </a:lnSpc>
              <a:buFont typeface="Wingdings" pitchFamily="2" charset="2"/>
              <a:buChar char="v"/>
            </a:pPr>
            <a:r>
              <a:rPr sz="2400" b="1" dirty="0">
                <a:latin typeface="Arial"/>
                <a:ea typeface="Arial"/>
                <a:cs typeface="Arial"/>
                <a:sym typeface="Arial"/>
              </a:rPr>
              <a:t>Seaside Tourism </a:t>
            </a:r>
          </a:p>
          <a:p>
            <a:pPr lvl="0">
              <a:lnSpc>
                <a:spcPct val="200000"/>
              </a:lnSpc>
              <a:buFont typeface="Wingdings" pitchFamily="2" charset="2"/>
              <a:buChar char="v"/>
            </a:pPr>
            <a:endParaRPr sz="2400" b="1" dirty="0">
              <a:latin typeface="Arial"/>
              <a:ea typeface="Arial"/>
              <a:cs typeface="Arial"/>
              <a:sym typeface="Arial"/>
            </a:endParaRPr>
          </a:p>
          <a:p>
            <a:pPr lvl="0">
              <a:lnSpc>
                <a:spcPct val="200000"/>
              </a:lnSpc>
              <a:buFont typeface="Wingdings" pitchFamily="2" charset="2"/>
              <a:buChar char="v"/>
            </a:pPr>
            <a:r>
              <a:rPr sz="2400" b="1" dirty="0">
                <a:latin typeface="Arial"/>
                <a:ea typeface="Arial"/>
                <a:cs typeface="Arial"/>
                <a:sym typeface="Arial"/>
              </a:rPr>
              <a:t>Congress and Events Tourism </a:t>
            </a:r>
          </a:p>
          <a:p>
            <a:pPr lvl="0">
              <a:lnSpc>
                <a:spcPct val="200000"/>
              </a:lnSpc>
              <a:buFont typeface="Wingdings" pitchFamily="2" charset="2"/>
              <a:buChar char="v"/>
            </a:pPr>
            <a:endParaRPr sz="2400" b="1" dirty="0">
              <a:latin typeface="Arial"/>
              <a:ea typeface="Arial"/>
              <a:cs typeface="Arial"/>
              <a:sym typeface="Arial"/>
            </a:endParaRPr>
          </a:p>
          <a:p>
            <a:pPr lvl="0">
              <a:lnSpc>
                <a:spcPct val="200000"/>
              </a:lnSpc>
              <a:buFont typeface="Wingdings" pitchFamily="2" charset="2"/>
              <a:buChar char="v"/>
            </a:pPr>
            <a:r>
              <a:rPr sz="2400" b="1" dirty="0">
                <a:latin typeface="Arial"/>
                <a:ea typeface="Arial"/>
                <a:cs typeface="Arial"/>
                <a:sym typeface="Arial"/>
              </a:rPr>
              <a:t>Potential: Discovery Tourism and Ecotourism </a:t>
            </a:r>
          </a:p>
        </p:txBody>
      </p:sp>
      <p:sp>
        <p:nvSpPr>
          <p:cNvPr id="5"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6"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Shape 573"/>
          <p:cNvSpPr>
            <a:spLocks noGrp="1"/>
          </p:cNvSpPr>
          <p:nvPr>
            <p:ph type="title"/>
          </p:nvPr>
        </p:nvSpPr>
        <p:spPr>
          <a:xfrm>
            <a:off x="722922" y="1"/>
            <a:ext cx="8229600" cy="730366"/>
          </a:xfrm>
          <a:prstGeom prst="rect">
            <a:avLst/>
          </a:prstGeom>
        </p:spPr>
        <p:txBody>
          <a:bodyPr/>
          <a:lstStyle>
            <a:lvl1pPr algn="l">
              <a:defRPr sz="2800" b="1">
                <a:solidFill>
                  <a:srgbClr val="C00000"/>
                </a:solidFill>
                <a:latin typeface="Cambria"/>
                <a:ea typeface="Cambria"/>
                <a:cs typeface="Cambria"/>
                <a:sym typeface="Cambria"/>
              </a:defRPr>
            </a:lvl1pPr>
          </a:lstStyle>
          <a:p>
            <a:pPr lvl="0">
              <a:defRPr sz="1800" b="0">
                <a:solidFill>
                  <a:srgbClr val="000000"/>
                </a:solidFill>
              </a:defRPr>
            </a:pPr>
            <a:r>
              <a:rPr sz="2800" b="1" dirty="0">
                <a:solidFill>
                  <a:srgbClr val="C00000"/>
                </a:solidFill>
              </a:rPr>
              <a:t>Perspectives</a:t>
            </a:r>
          </a:p>
        </p:txBody>
      </p:sp>
      <p:sp>
        <p:nvSpPr>
          <p:cNvPr id="574" name="Shape 574"/>
          <p:cNvSpPr>
            <a:spLocks noGrp="1"/>
          </p:cNvSpPr>
          <p:nvPr>
            <p:ph type="sldNum" sz="quarter" idx="4294967295"/>
          </p:nvPr>
        </p:nvSpPr>
        <p:spPr>
          <a:xfrm>
            <a:off x="6553200" y="6221730"/>
            <a:ext cx="2133600" cy="269240"/>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49</a:t>
            </a:fld>
            <a:endParaRPr sz="1200">
              <a:solidFill>
                <a:srgbClr val="888888"/>
              </a:solidFill>
            </a:endParaRPr>
          </a:p>
        </p:txBody>
      </p:sp>
      <p:sp>
        <p:nvSpPr>
          <p:cNvPr id="575" name="Shape 575"/>
          <p:cNvSpPr/>
          <p:nvPr/>
        </p:nvSpPr>
        <p:spPr>
          <a:xfrm>
            <a:off x="840376" y="1497701"/>
            <a:ext cx="7530820" cy="357020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441325" lvl="0" indent="-441325">
              <a:buFont typeface="Wingdings" pitchFamily="2" charset="2"/>
              <a:buChar char="v"/>
            </a:pPr>
            <a:endParaRPr sz="1200" dirty="0">
              <a:latin typeface="Arial"/>
              <a:ea typeface="Arial"/>
              <a:cs typeface="Arial"/>
              <a:sym typeface="Arial"/>
            </a:endParaRPr>
          </a:p>
          <a:p>
            <a:pPr marL="441325" lvl="0" indent="-441325">
              <a:buFont typeface="Wingdings" pitchFamily="2" charset="2"/>
              <a:buChar char="v"/>
            </a:pPr>
            <a:r>
              <a:rPr sz="2000" dirty="0">
                <a:latin typeface="Arial"/>
                <a:ea typeface="Arial"/>
                <a:cs typeface="Arial"/>
                <a:sym typeface="Arial"/>
              </a:rPr>
              <a:t>Targeted objective: 1,5 million tourists by the year 2016 </a:t>
            </a:r>
          </a:p>
          <a:p>
            <a:pPr marL="441325" lvl="0" indent="-441325">
              <a:buFont typeface="Wingdings" pitchFamily="2" charset="2"/>
              <a:buChar char="v"/>
            </a:pPr>
            <a:endParaRPr sz="2000" dirty="0">
              <a:latin typeface="Arial"/>
              <a:ea typeface="Arial"/>
              <a:cs typeface="Arial"/>
              <a:sym typeface="Arial"/>
            </a:endParaRPr>
          </a:p>
          <a:p>
            <a:pPr marL="441325" lvl="0" indent="-441325">
              <a:buFont typeface="Wingdings" pitchFamily="2" charset="2"/>
              <a:buChar char="v"/>
            </a:pPr>
            <a:r>
              <a:rPr sz="2000" dirty="0">
                <a:latin typeface="Arial"/>
                <a:ea typeface="Arial"/>
                <a:cs typeface="Arial"/>
                <a:sym typeface="Arial"/>
              </a:rPr>
              <a:t>Accommodation capacity multiplied by two </a:t>
            </a:r>
          </a:p>
          <a:p>
            <a:pPr marL="441325" lvl="0" indent="-441325">
              <a:buFont typeface="Wingdings" pitchFamily="2" charset="2"/>
              <a:buChar char="v"/>
            </a:pPr>
            <a:endParaRPr sz="2000" dirty="0">
              <a:latin typeface="Arial"/>
              <a:ea typeface="Arial"/>
              <a:cs typeface="Arial"/>
              <a:sym typeface="Arial"/>
            </a:endParaRPr>
          </a:p>
          <a:p>
            <a:pPr marL="441325" lvl="0" indent="-441325">
              <a:buFont typeface="Wingdings" pitchFamily="2" charset="2"/>
              <a:buChar char="v"/>
            </a:pPr>
            <a:r>
              <a:rPr sz="2000" dirty="0">
                <a:latin typeface="Arial"/>
                <a:ea typeface="Arial"/>
                <a:cs typeface="Arial"/>
                <a:sym typeface="Arial"/>
              </a:rPr>
              <a:t>Building of 3 high standard seaside stations : </a:t>
            </a:r>
          </a:p>
          <a:p>
            <a:pPr lvl="1"/>
            <a:endParaRPr sz="2000" dirty="0">
              <a:latin typeface="Cambria" pitchFamily="18" charset="0"/>
              <a:ea typeface="Arial"/>
              <a:cs typeface="Arial"/>
              <a:sym typeface="Arial"/>
            </a:endParaRPr>
          </a:p>
          <a:p>
            <a:pPr lvl="3"/>
            <a:r>
              <a:rPr sz="2000" dirty="0">
                <a:latin typeface="Arial"/>
                <a:ea typeface="Arial"/>
                <a:cs typeface="Arial"/>
                <a:sym typeface="Wingdings"/>
              </a:rPr>
              <a:t>✓ </a:t>
            </a:r>
            <a:r>
              <a:rPr sz="2000" dirty="0" smtClean="0">
                <a:latin typeface="Arial"/>
                <a:ea typeface="Arial"/>
                <a:cs typeface="Arial"/>
                <a:sym typeface="Wingdings"/>
              </a:rPr>
              <a:t>Pointe Sarène</a:t>
            </a:r>
            <a:endParaRPr sz="2000" dirty="0">
              <a:latin typeface="Arial"/>
              <a:ea typeface="Arial"/>
              <a:cs typeface="Arial"/>
              <a:sym typeface="Arial"/>
            </a:endParaRPr>
          </a:p>
          <a:p>
            <a:pPr lvl="3"/>
            <a:endParaRPr sz="2000" dirty="0">
              <a:latin typeface="Arial"/>
              <a:ea typeface="Arial"/>
              <a:cs typeface="Arial"/>
              <a:sym typeface="Arial"/>
            </a:endParaRPr>
          </a:p>
          <a:p>
            <a:pPr lvl="3"/>
            <a:r>
              <a:rPr sz="2000" dirty="0">
                <a:latin typeface="Arial"/>
                <a:ea typeface="Arial"/>
                <a:cs typeface="Arial"/>
                <a:sym typeface="Wingdings"/>
              </a:rPr>
              <a:t>✓ </a:t>
            </a:r>
            <a:r>
              <a:rPr sz="2000" dirty="0">
                <a:latin typeface="Arial"/>
                <a:ea typeface="Arial"/>
                <a:cs typeface="Arial"/>
                <a:sym typeface="Arial"/>
              </a:rPr>
              <a:t>Mbodiene </a:t>
            </a:r>
          </a:p>
          <a:p>
            <a:pPr lvl="3"/>
            <a:endParaRPr sz="2000" dirty="0">
              <a:latin typeface="Cambria" pitchFamily="18" charset="0"/>
              <a:ea typeface="Arial"/>
              <a:cs typeface="Arial"/>
              <a:sym typeface="Arial"/>
            </a:endParaRPr>
          </a:p>
          <a:p>
            <a:pPr lvl="3"/>
            <a:r>
              <a:rPr sz="2000" dirty="0">
                <a:latin typeface="Cambria" pitchFamily="18" charset="0"/>
                <a:ea typeface="Arial"/>
                <a:cs typeface="Arial"/>
                <a:sym typeface="Wingdings"/>
              </a:rPr>
              <a:t>✓ </a:t>
            </a:r>
            <a:r>
              <a:rPr sz="2000" dirty="0">
                <a:latin typeface="Cambria" pitchFamily="18" charset="0"/>
                <a:ea typeface="Arial"/>
                <a:cs typeface="Arial"/>
                <a:sym typeface="Arial"/>
              </a:rPr>
              <a:t>Joal Finio </a:t>
            </a:r>
          </a:p>
        </p:txBody>
      </p:sp>
      <p:sp>
        <p:nvSpPr>
          <p:cNvPr id="5"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6"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ChangeArrowheads="1"/>
          </p:cNvSpPr>
          <p:nvPr/>
        </p:nvSpPr>
        <p:spPr bwMode="auto">
          <a:xfrm>
            <a:off x="2535238" y="5715000"/>
            <a:ext cx="5032375" cy="755650"/>
          </a:xfrm>
          <a:prstGeom prst="rect">
            <a:avLst/>
          </a:prstGeom>
          <a:noFill/>
          <a:ln w="9525">
            <a:noFill/>
            <a:miter lim="800000"/>
            <a:headEnd/>
            <a:tailEnd/>
          </a:ln>
          <a:effectLst>
            <a:outerShdw dist="35921" dir="2700000" algn="ctr" rotWithShape="0">
              <a:schemeClr val="tx1"/>
            </a:outerShdw>
          </a:effectLst>
        </p:spPr>
        <p:txBody>
          <a:bodyPr/>
          <a:lstStyle/>
          <a:p>
            <a:pPr algn="ctr" eaLnBrk="0" fontAlgn="auto" hangingPunct="0">
              <a:spcBef>
                <a:spcPts val="0"/>
              </a:spcBef>
              <a:spcAft>
                <a:spcPts val="0"/>
              </a:spcAft>
              <a:defRPr/>
            </a:pPr>
            <a:endParaRPr lang="pt-BR">
              <a:solidFill>
                <a:srgbClr val="FF0000"/>
              </a:solidFill>
              <a:latin typeface="Verdana" pitchFamily="34" charset="0"/>
            </a:endParaRPr>
          </a:p>
        </p:txBody>
      </p:sp>
      <p:sp>
        <p:nvSpPr>
          <p:cNvPr id="4101" name="Freeform 51"/>
          <p:cNvSpPr>
            <a:spLocks/>
          </p:cNvSpPr>
          <p:nvPr/>
        </p:nvSpPr>
        <p:spPr bwMode="auto">
          <a:xfrm>
            <a:off x="1562100" y="6070600"/>
            <a:ext cx="19050" cy="38100"/>
          </a:xfrm>
          <a:custGeom>
            <a:avLst/>
            <a:gdLst>
              <a:gd name="T0" fmla="*/ 0 w 14"/>
              <a:gd name="T1" fmla="*/ 2147483647 h 26"/>
              <a:gd name="T2" fmla="*/ 2147483647 w 14"/>
              <a:gd name="T3" fmla="*/ 0 h 26"/>
              <a:gd name="T4" fmla="*/ 2147483647 w 14"/>
              <a:gd name="T5" fmla="*/ 2147483647 h 26"/>
              <a:gd name="T6" fmla="*/ 0 w 14"/>
              <a:gd name="T7" fmla="*/ 2147483647 h 26"/>
              <a:gd name="T8" fmla="*/ 0 60000 65536"/>
              <a:gd name="T9" fmla="*/ 0 60000 65536"/>
              <a:gd name="T10" fmla="*/ 0 60000 65536"/>
              <a:gd name="T11" fmla="*/ 0 60000 65536"/>
              <a:gd name="T12" fmla="*/ 0 w 14"/>
              <a:gd name="T13" fmla="*/ 0 h 26"/>
              <a:gd name="T14" fmla="*/ 14 w 14"/>
              <a:gd name="T15" fmla="*/ 26 h 26"/>
            </a:gdLst>
            <a:ahLst/>
            <a:cxnLst>
              <a:cxn ang="T8">
                <a:pos x="T0" y="T1"/>
              </a:cxn>
              <a:cxn ang="T9">
                <a:pos x="T2" y="T3"/>
              </a:cxn>
              <a:cxn ang="T10">
                <a:pos x="T4" y="T5"/>
              </a:cxn>
              <a:cxn ang="T11">
                <a:pos x="T6" y="T7"/>
              </a:cxn>
            </a:cxnLst>
            <a:rect l="T12" t="T13" r="T14" b="T15"/>
            <a:pathLst>
              <a:path w="14" h="26">
                <a:moveTo>
                  <a:pt x="0" y="13"/>
                </a:moveTo>
                <a:lnTo>
                  <a:pt x="7" y="0"/>
                </a:lnTo>
                <a:lnTo>
                  <a:pt x="13" y="25"/>
                </a:lnTo>
                <a:lnTo>
                  <a:pt x="0" y="13"/>
                </a:lnTo>
              </a:path>
            </a:pathLst>
          </a:custGeom>
          <a:solidFill>
            <a:srgbClr val="0000FF"/>
          </a:solidFill>
          <a:ln w="12700" cap="rnd">
            <a:solidFill>
              <a:schemeClr val="bg2"/>
            </a:solidFill>
            <a:round/>
            <a:headEnd/>
            <a:tailEnd/>
          </a:ln>
        </p:spPr>
        <p:txBody>
          <a:bodyPr/>
          <a:lstStyle/>
          <a:p>
            <a:endParaRPr lang="fr-FR"/>
          </a:p>
        </p:txBody>
      </p:sp>
      <p:sp>
        <p:nvSpPr>
          <p:cNvPr id="4102" name="Freeform 55"/>
          <p:cNvSpPr>
            <a:spLocks/>
          </p:cNvSpPr>
          <p:nvPr/>
        </p:nvSpPr>
        <p:spPr bwMode="auto">
          <a:xfrm>
            <a:off x="1638300" y="6230938"/>
            <a:ext cx="23813" cy="11112"/>
          </a:xfrm>
          <a:custGeom>
            <a:avLst/>
            <a:gdLst>
              <a:gd name="T0" fmla="*/ 0 w 17"/>
              <a:gd name="T1" fmla="*/ 2147483647 h 8"/>
              <a:gd name="T2" fmla="*/ 2147483647 w 17"/>
              <a:gd name="T3" fmla="*/ 0 h 8"/>
              <a:gd name="T4" fmla="*/ 2147483647 w 17"/>
              <a:gd name="T5" fmla="*/ 2147483647 h 8"/>
              <a:gd name="T6" fmla="*/ 0 w 17"/>
              <a:gd name="T7" fmla="*/ 2147483647 h 8"/>
              <a:gd name="T8" fmla="*/ 0 60000 65536"/>
              <a:gd name="T9" fmla="*/ 0 60000 65536"/>
              <a:gd name="T10" fmla="*/ 0 60000 65536"/>
              <a:gd name="T11" fmla="*/ 0 60000 65536"/>
              <a:gd name="T12" fmla="*/ 0 w 17"/>
              <a:gd name="T13" fmla="*/ 0 h 8"/>
              <a:gd name="T14" fmla="*/ 17 w 17"/>
              <a:gd name="T15" fmla="*/ 8 h 8"/>
            </a:gdLst>
            <a:ahLst/>
            <a:cxnLst>
              <a:cxn ang="T8">
                <a:pos x="T0" y="T1"/>
              </a:cxn>
              <a:cxn ang="T9">
                <a:pos x="T2" y="T3"/>
              </a:cxn>
              <a:cxn ang="T10">
                <a:pos x="T4" y="T5"/>
              </a:cxn>
              <a:cxn ang="T11">
                <a:pos x="T6" y="T7"/>
              </a:cxn>
            </a:cxnLst>
            <a:rect l="T12" t="T13" r="T14" b="T15"/>
            <a:pathLst>
              <a:path w="17" h="8">
                <a:moveTo>
                  <a:pt x="0" y="4"/>
                </a:moveTo>
                <a:lnTo>
                  <a:pt x="5" y="0"/>
                </a:lnTo>
                <a:lnTo>
                  <a:pt x="16" y="7"/>
                </a:lnTo>
                <a:lnTo>
                  <a:pt x="0" y="4"/>
                </a:lnTo>
              </a:path>
            </a:pathLst>
          </a:custGeom>
          <a:solidFill>
            <a:srgbClr val="0000FF"/>
          </a:solidFill>
          <a:ln w="12700" cap="rnd">
            <a:solidFill>
              <a:schemeClr val="bg2"/>
            </a:solidFill>
            <a:round/>
            <a:headEnd/>
            <a:tailEnd/>
          </a:ln>
        </p:spPr>
        <p:txBody>
          <a:bodyPr/>
          <a:lstStyle/>
          <a:p>
            <a:endParaRPr lang="fr-FR"/>
          </a:p>
        </p:txBody>
      </p:sp>
      <p:sp>
        <p:nvSpPr>
          <p:cNvPr id="4103" name="Freeform 78"/>
          <p:cNvSpPr>
            <a:spLocks/>
          </p:cNvSpPr>
          <p:nvPr/>
        </p:nvSpPr>
        <p:spPr bwMode="auto">
          <a:xfrm>
            <a:off x="1893888" y="6149975"/>
            <a:ext cx="36512" cy="23813"/>
          </a:xfrm>
          <a:custGeom>
            <a:avLst/>
            <a:gdLst>
              <a:gd name="T0" fmla="*/ 0 w 26"/>
              <a:gd name="T1" fmla="*/ 2147483647 h 16"/>
              <a:gd name="T2" fmla="*/ 2147483647 w 26"/>
              <a:gd name="T3" fmla="*/ 2147483647 h 16"/>
              <a:gd name="T4" fmla="*/ 2147483647 w 26"/>
              <a:gd name="T5" fmla="*/ 0 h 16"/>
              <a:gd name="T6" fmla="*/ 2147483647 w 26"/>
              <a:gd name="T7" fmla="*/ 2147483647 h 16"/>
              <a:gd name="T8" fmla="*/ 0 w 26"/>
              <a:gd name="T9" fmla="*/ 2147483647 h 16"/>
              <a:gd name="T10" fmla="*/ 0 60000 65536"/>
              <a:gd name="T11" fmla="*/ 0 60000 65536"/>
              <a:gd name="T12" fmla="*/ 0 60000 65536"/>
              <a:gd name="T13" fmla="*/ 0 60000 65536"/>
              <a:gd name="T14" fmla="*/ 0 60000 65536"/>
              <a:gd name="T15" fmla="*/ 0 w 26"/>
              <a:gd name="T16" fmla="*/ 0 h 16"/>
              <a:gd name="T17" fmla="*/ 26 w 26"/>
              <a:gd name="T18" fmla="*/ 16 h 16"/>
            </a:gdLst>
            <a:ahLst/>
            <a:cxnLst>
              <a:cxn ang="T10">
                <a:pos x="T0" y="T1"/>
              </a:cxn>
              <a:cxn ang="T11">
                <a:pos x="T2" y="T3"/>
              </a:cxn>
              <a:cxn ang="T12">
                <a:pos x="T4" y="T5"/>
              </a:cxn>
              <a:cxn ang="T13">
                <a:pos x="T6" y="T7"/>
              </a:cxn>
              <a:cxn ang="T14">
                <a:pos x="T8" y="T9"/>
              </a:cxn>
            </a:cxnLst>
            <a:rect l="T15" t="T16" r="T17" b="T18"/>
            <a:pathLst>
              <a:path w="26" h="16">
                <a:moveTo>
                  <a:pt x="0" y="15"/>
                </a:moveTo>
                <a:lnTo>
                  <a:pt x="15" y="8"/>
                </a:lnTo>
                <a:lnTo>
                  <a:pt x="7" y="0"/>
                </a:lnTo>
                <a:lnTo>
                  <a:pt x="25" y="3"/>
                </a:lnTo>
                <a:lnTo>
                  <a:pt x="0" y="15"/>
                </a:lnTo>
              </a:path>
            </a:pathLst>
          </a:custGeom>
          <a:solidFill>
            <a:srgbClr val="0000FF"/>
          </a:solidFill>
          <a:ln w="12700" cap="rnd">
            <a:solidFill>
              <a:schemeClr val="bg2"/>
            </a:solidFill>
            <a:round/>
            <a:headEnd/>
            <a:tailEnd/>
          </a:ln>
        </p:spPr>
        <p:txBody>
          <a:bodyPr/>
          <a:lstStyle/>
          <a:p>
            <a:endParaRPr lang="fr-FR"/>
          </a:p>
        </p:txBody>
      </p:sp>
      <p:sp>
        <p:nvSpPr>
          <p:cNvPr id="4104" name="Freeform 80"/>
          <p:cNvSpPr>
            <a:spLocks/>
          </p:cNvSpPr>
          <p:nvPr/>
        </p:nvSpPr>
        <p:spPr bwMode="auto">
          <a:xfrm>
            <a:off x="7404100" y="5254625"/>
            <a:ext cx="28575" cy="22225"/>
          </a:xfrm>
          <a:custGeom>
            <a:avLst/>
            <a:gdLst>
              <a:gd name="T0" fmla="*/ 0 w 21"/>
              <a:gd name="T1" fmla="*/ 2147483647 h 15"/>
              <a:gd name="T2" fmla="*/ 2147483647 w 21"/>
              <a:gd name="T3" fmla="*/ 0 h 15"/>
              <a:gd name="T4" fmla="*/ 2147483647 w 21"/>
              <a:gd name="T5" fmla="*/ 2147483647 h 15"/>
              <a:gd name="T6" fmla="*/ 0 w 21"/>
              <a:gd name="T7" fmla="*/ 2147483647 h 15"/>
              <a:gd name="T8" fmla="*/ 0 60000 65536"/>
              <a:gd name="T9" fmla="*/ 0 60000 65536"/>
              <a:gd name="T10" fmla="*/ 0 60000 65536"/>
              <a:gd name="T11" fmla="*/ 0 60000 65536"/>
              <a:gd name="T12" fmla="*/ 0 w 21"/>
              <a:gd name="T13" fmla="*/ 0 h 15"/>
              <a:gd name="T14" fmla="*/ 21 w 21"/>
              <a:gd name="T15" fmla="*/ 15 h 15"/>
            </a:gdLst>
            <a:ahLst/>
            <a:cxnLst>
              <a:cxn ang="T8">
                <a:pos x="T0" y="T1"/>
              </a:cxn>
              <a:cxn ang="T9">
                <a:pos x="T2" y="T3"/>
              </a:cxn>
              <a:cxn ang="T10">
                <a:pos x="T4" y="T5"/>
              </a:cxn>
              <a:cxn ang="T11">
                <a:pos x="T6" y="T7"/>
              </a:cxn>
            </a:cxnLst>
            <a:rect l="T12" t="T13" r="T14" b="T15"/>
            <a:pathLst>
              <a:path w="21" h="15">
                <a:moveTo>
                  <a:pt x="0" y="14"/>
                </a:moveTo>
                <a:lnTo>
                  <a:pt x="11" y="0"/>
                </a:lnTo>
                <a:lnTo>
                  <a:pt x="20" y="14"/>
                </a:lnTo>
                <a:lnTo>
                  <a:pt x="0" y="14"/>
                </a:lnTo>
              </a:path>
            </a:pathLst>
          </a:custGeom>
          <a:solidFill>
            <a:srgbClr val="0000FF"/>
          </a:solidFill>
          <a:ln w="12700" cap="rnd">
            <a:solidFill>
              <a:schemeClr val="bg2"/>
            </a:solidFill>
            <a:round/>
            <a:headEnd/>
            <a:tailEnd/>
          </a:ln>
        </p:spPr>
        <p:txBody>
          <a:bodyPr/>
          <a:lstStyle/>
          <a:p>
            <a:endParaRPr lang="fr-FR"/>
          </a:p>
        </p:txBody>
      </p:sp>
      <p:sp>
        <p:nvSpPr>
          <p:cNvPr id="4111" name="Freeform 225"/>
          <p:cNvSpPr>
            <a:spLocks/>
          </p:cNvSpPr>
          <p:nvPr/>
        </p:nvSpPr>
        <p:spPr bwMode="auto">
          <a:xfrm>
            <a:off x="7651750" y="3149600"/>
            <a:ext cx="69850" cy="23813"/>
          </a:xfrm>
          <a:custGeom>
            <a:avLst/>
            <a:gdLst>
              <a:gd name="T0" fmla="*/ 0 w 51"/>
              <a:gd name="T1" fmla="*/ 2147483647 h 16"/>
              <a:gd name="T2" fmla="*/ 2147483647 w 51"/>
              <a:gd name="T3" fmla="*/ 0 h 16"/>
              <a:gd name="T4" fmla="*/ 2147483647 w 51"/>
              <a:gd name="T5" fmla="*/ 2147483647 h 16"/>
              <a:gd name="T6" fmla="*/ 2147483647 w 51"/>
              <a:gd name="T7" fmla="*/ 2147483647 h 16"/>
              <a:gd name="T8" fmla="*/ 0 w 51"/>
              <a:gd name="T9" fmla="*/ 2147483647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0" y="3"/>
                </a:moveTo>
                <a:lnTo>
                  <a:pt x="30" y="0"/>
                </a:lnTo>
                <a:lnTo>
                  <a:pt x="50" y="8"/>
                </a:lnTo>
                <a:lnTo>
                  <a:pt x="39" y="15"/>
                </a:lnTo>
                <a:lnTo>
                  <a:pt x="0" y="3"/>
                </a:lnTo>
              </a:path>
            </a:pathLst>
          </a:custGeom>
          <a:solidFill>
            <a:srgbClr val="0000FF"/>
          </a:solidFill>
          <a:ln w="12700" cap="rnd">
            <a:solidFill>
              <a:schemeClr val="bg2"/>
            </a:solidFill>
            <a:round/>
            <a:headEnd/>
            <a:tailEnd/>
          </a:ln>
        </p:spPr>
        <p:txBody>
          <a:bodyPr/>
          <a:lstStyle/>
          <a:p>
            <a:endParaRPr lang="fr-FR"/>
          </a:p>
        </p:txBody>
      </p:sp>
      <p:sp>
        <p:nvSpPr>
          <p:cNvPr id="4112" name="Text Box 249"/>
          <p:cNvSpPr txBox="1">
            <a:spLocks noChangeArrowheads="1"/>
          </p:cNvSpPr>
          <p:nvPr/>
        </p:nvSpPr>
        <p:spPr bwMode="auto">
          <a:xfrm>
            <a:off x="250825" y="1268413"/>
            <a:ext cx="8353425" cy="369887"/>
          </a:xfrm>
          <a:prstGeom prst="rect">
            <a:avLst/>
          </a:prstGeom>
          <a:noFill/>
          <a:ln w="9525">
            <a:noFill/>
            <a:miter lim="800000"/>
            <a:headEnd/>
            <a:tailEnd/>
          </a:ln>
        </p:spPr>
        <p:txBody>
          <a:bodyPr>
            <a:spAutoFit/>
          </a:bodyPr>
          <a:lstStyle/>
          <a:p>
            <a:pPr eaLnBrk="0" hangingPunct="0">
              <a:spcBef>
                <a:spcPct val="50000"/>
              </a:spcBef>
            </a:pPr>
            <a:endParaRPr lang="pt-BR">
              <a:solidFill>
                <a:srgbClr val="C00000"/>
              </a:solidFill>
            </a:endParaRPr>
          </a:p>
        </p:txBody>
      </p:sp>
      <p:sp>
        <p:nvSpPr>
          <p:cNvPr id="24" name="Rectangle 248"/>
          <p:cNvSpPr>
            <a:spLocks noChangeArrowheads="1"/>
          </p:cNvSpPr>
          <p:nvPr/>
        </p:nvSpPr>
        <p:spPr bwMode="auto">
          <a:xfrm>
            <a:off x="109538" y="1557481"/>
            <a:ext cx="4932363" cy="3963987"/>
          </a:xfrm>
          <a:prstGeom prst="rect">
            <a:avLst/>
          </a:prstGeom>
          <a:noFill/>
          <a:ln w="9525">
            <a:noFill/>
            <a:round/>
            <a:headEnd/>
            <a:tailEnd/>
          </a:ln>
        </p:spPr>
        <p:txBody>
          <a:bodyPr/>
          <a:lstStyle/>
          <a:p>
            <a:pPr marL="266700" indent="-266700" eaLnBrk="0" hangingPunct="0">
              <a:spcAft>
                <a:spcPts val="600"/>
              </a:spcAft>
              <a:buClr>
                <a:srgbClr val="FF6600"/>
              </a:buClr>
              <a:buFont typeface="Wingdings" pitchFamily="2" charset="2"/>
              <a:buChar char="§"/>
            </a:pPr>
            <a:r>
              <a:rPr lang="en-US" sz="2200" dirty="0" smtClean="0">
                <a:latin typeface="Cambria" pitchFamily="18" charset="0"/>
              </a:rPr>
              <a:t> GMT time zone (+0:00)</a:t>
            </a:r>
          </a:p>
          <a:p>
            <a:pPr marL="266700" indent="-266700" eaLnBrk="0" hangingPunct="0">
              <a:spcAft>
                <a:spcPts val="600"/>
              </a:spcAft>
              <a:buClr>
                <a:srgbClr val="FF6600"/>
              </a:buClr>
              <a:buFont typeface="Wingdings" pitchFamily="2" charset="2"/>
              <a:buChar char="§"/>
            </a:pPr>
            <a:endParaRPr lang="en-US" sz="2200" dirty="0" smtClean="0">
              <a:latin typeface="Cambria" pitchFamily="18" charset="0"/>
            </a:endParaRPr>
          </a:p>
          <a:p>
            <a:pPr marL="266700" indent="-266700" eaLnBrk="0" hangingPunct="0">
              <a:spcAft>
                <a:spcPts val="600"/>
              </a:spcAft>
              <a:buClr>
                <a:srgbClr val="FF6600"/>
              </a:buClr>
              <a:buFont typeface="Wingdings" pitchFamily="2" charset="2"/>
              <a:buChar char="§"/>
            </a:pPr>
            <a:r>
              <a:rPr lang="en-US" sz="2200" dirty="0" smtClean="0">
                <a:latin typeface="Cambria" pitchFamily="18" charset="0"/>
              </a:rPr>
              <a:t>Located </a:t>
            </a:r>
            <a:r>
              <a:rPr lang="en-US" sz="2200" dirty="0">
                <a:latin typeface="Cambria" pitchFamily="18" charset="0"/>
              </a:rPr>
              <a:t>at the western tip of Africa </a:t>
            </a:r>
          </a:p>
          <a:p>
            <a:pPr marL="723900" lvl="1" indent="-266700" eaLnBrk="0" hangingPunct="0">
              <a:spcAft>
                <a:spcPts val="600"/>
              </a:spcAft>
              <a:buClr>
                <a:srgbClr val="FF6600"/>
              </a:buClr>
              <a:buFont typeface="Arial" charset="0"/>
              <a:buChar char="•"/>
            </a:pPr>
            <a:r>
              <a:rPr lang="en-US" sz="2200" dirty="0">
                <a:solidFill>
                  <a:srgbClr val="002060"/>
                </a:solidFill>
                <a:latin typeface="Cambria" pitchFamily="18" charset="0"/>
              </a:rPr>
              <a:t>2</a:t>
            </a:r>
            <a:r>
              <a:rPr lang="en-US" sz="2200" dirty="0" smtClean="0">
                <a:solidFill>
                  <a:srgbClr val="002060"/>
                </a:solidFill>
                <a:latin typeface="Cambria" pitchFamily="18" charset="0"/>
              </a:rPr>
              <a:t>, 616 </a:t>
            </a:r>
            <a:r>
              <a:rPr lang="en-US" sz="2200" dirty="0">
                <a:solidFill>
                  <a:srgbClr val="002060"/>
                </a:solidFill>
                <a:latin typeface="Cambria" pitchFamily="18" charset="0"/>
              </a:rPr>
              <a:t>mi </a:t>
            </a:r>
            <a:r>
              <a:rPr lang="en-US" sz="2200" dirty="0">
                <a:latin typeface="Cambria" pitchFamily="18" charset="0"/>
              </a:rPr>
              <a:t>from </a:t>
            </a:r>
            <a:r>
              <a:rPr lang="en-US" sz="2200" b="1" dirty="0" smtClean="0">
                <a:latin typeface="Cambria" pitchFamily="18" charset="0"/>
              </a:rPr>
              <a:t>Paris</a:t>
            </a:r>
            <a:endParaRPr lang="en-US" sz="2200" b="1" dirty="0">
              <a:latin typeface="Cambria" pitchFamily="18" charset="0"/>
            </a:endParaRPr>
          </a:p>
          <a:p>
            <a:pPr marL="723900" lvl="1" indent="-266700" eaLnBrk="0" hangingPunct="0">
              <a:spcAft>
                <a:spcPts val="600"/>
              </a:spcAft>
              <a:buClr>
                <a:srgbClr val="FF6600"/>
              </a:buClr>
              <a:buFont typeface="Arial" charset="0"/>
              <a:buChar char="•"/>
            </a:pPr>
            <a:r>
              <a:rPr lang="fr-FR" sz="2200" dirty="0" smtClean="0">
                <a:solidFill>
                  <a:srgbClr val="002060"/>
                </a:solidFill>
                <a:latin typeface="Cambria" pitchFamily="18" charset="0"/>
              </a:rPr>
              <a:t>4,102 mi </a:t>
            </a:r>
            <a:r>
              <a:rPr lang="fr-FR" sz="2200" dirty="0" err="1">
                <a:latin typeface="Cambria" pitchFamily="18" charset="0"/>
              </a:rPr>
              <a:t>from</a:t>
            </a:r>
            <a:r>
              <a:rPr lang="fr-FR" sz="2200" dirty="0">
                <a:latin typeface="Cambria" pitchFamily="18" charset="0"/>
              </a:rPr>
              <a:t> </a:t>
            </a:r>
            <a:r>
              <a:rPr lang="fr-FR" sz="2200" b="1" dirty="0" smtClean="0">
                <a:latin typeface="Cambria" pitchFamily="18" charset="0"/>
              </a:rPr>
              <a:t>Miami</a:t>
            </a:r>
            <a:endParaRPr lang="en-US" sz="2200" b="1" dirty="0">
              <a:latin typeface="Cambria" pitchFamily="18" charset="0"/>
            </a:endParaRPr>
          </a:p>
          <a:p>
            <a:pPr marL="723900" lvl="1" indent="-266700" eaLnBrk="0" hangingPunct="0">
              <a:spcAft>
                <a:spcPts val="600"/>
              </a:spcAft>
              <a:buClr>
                <a:srgbClr val="FF6600"/>
              </a:buClr>
              <a:buFont typeface="Arial" charset="0"/>
              <a:buChar char="•"/>
            </a:pPr>
            <a:r>
              <a:rPr lang="en-US" sz="2200" dirty="0">
                <a:solidFill>
                  <a:srgbClr val="002060"/>
                </a:solidFill>
                <a:latin typeface="Cambria" pitchFamily="18" charset="0"/>
              </a:rPr>
              <a:t>3, 300 mi </a:t>
            </a:r>
            <a:r>
              <a:rPr lang="en-US" sz="2200" dirty="0">
                <a:latin typeface="Cambria" pitchFamily="18" charset="0"/>
              </a:rPr>
              <a:t>from </a:t>
            </a:r>
            <a:r>
              <a:rPr lang="en-US" sz="2200" b="1" dirty="0">
                <a:latin typeface="Cambria" pitchFamily="18" charset="0"/>
              </a:rPr>
              <a:t>Sao Paulo</a:t>
            </a:r>
          </a:p>
          <a:p>
            <a:pPr marL="723900" lvl="1" indent="-266700" eaLnBrk="0" hangingPunct="0">
              <a:spcAft>
                <a:spcPts val="600"/>
              </a:spcAft>
              <a:buClr>
                <a:srgbClr val="FF6600"/>
              </a:buClr>
              <a:buFont typeface="Arial" charset="0"/>
              <a:buChar char="•"/>
            </a:pPr>
            <a:r>
              <a:rPr lang="fr-FR" sz="2200" dirty="0">
                <a:solidFill>
                  <a:srgbClr val="002060"/>
                </a:solidFill>
                <a:latin typeface="Cambria" pitchFamily="18" charset="0"/>
              </a:rPr>
              <a:t>4, 162 mi</a:t>
            </a:r>
            <a:r>
              <a:rPr lang="fr-FR" sz="2200" b="1" dirty="0">
                <a:latin typeface="Cambria" pitchFamily="18" charset="0"/>
              </a:rPr>
              <a:t>  </a:t>
            </a:r>
            <a:r>
              <a:rPr lang="fr-FR" sz="2200" dirty="0" err="1">
                <a:latin typeface="Cambria" pitchFamily="18" charset="0"/>
              </a:rPr>
              <a:t>from</a:t>
            </a:r>
            <a:r>
              <a:rPr lang="fr-FR" sz="2200" dirty="0">
                <a:latin typeface="Cambria" pitchFamily="18" charset="0"/>
              </a:rPr>
              <a:t>  </a:t>
            </a:r>
            <a:r>
              <a:rPr lang="fr-FR" sz="2200" b="1" dirty="0">
                <a:latin typeface="Cambria" pitchFamily="18" charset="0"/>
              </a:rPr>
              <a:t>Johannesburg</a:t>
            </a:r>
          </a:p>
          <a:p>
            <a:pPr marL="723900" lvl="1" indent="-266700" eaLnBrk="0" hangingPunct="0">
              <a:spcAft>
                <a:spcPts val="600"/>
              </a:spcAft>
              <a:buClr>
                <a:srgbClr val="FF6600"/>
              </a:buClr>
            </a:pPr>
            <a:endParaRPr lang="en-US" sz="2200" dirty="0">
              <a:latin typeface="Cambria" pitchFamily="18" charset="0"/>
            </a:endParaRPr>
          </a:p>
        </p:txBody>
      </p:sp>
      <p:pic>
        <p:nvPicPr>
          <p:cNvPr id="25" name="Picture 2"/>
          <p:cNvPicPr>
            <a:picLocks noChangeAspect="1" noChangeArrowheads="1"/>
          </p:cNvPicPr>
          <p:nvPr/>
        </p:nvPicPr>
        <p:blipFill>
          <a:blip r:embed="rId3" cstate="print"/>
          <a:srcRect l="24224" t="11438" r="24439" b="16223"/>
          <a:stretch>
            <a:fillRect/>
          </a:stretch>
        </p:blipFill>
        <p:spPr bwMode="auto">
          <a:xfrm>
            <a:off x="5292080" y="2348880"/>
            <a:ext cx="3731807" cy="2252623"/>
          </a:xfrm>
          <a:prstGeom prst="rect">
            <a:avLst/>
          </a:prstGeom>
          <a:noFill/>
          <a:ln w="9525">
            <a:noFill/>
            <a:miter lim="800000"/>
            <a:headEnd/>
            <a:tailEnd/>
          </a:ln>
        </p:spPr>
      </p:pic>
      <p:sp>
        <p:nvSpPr>
          <p:cNvPr id="12" name="Rectangle 11"/>
          <p:cNvSpPr/>
          <p:nvPr/>
        </p:nvSpPr>
        <p:spPr>
          <a:xfrm>
            <a:off x="722922" y="0"/>
            <a:ext cx="8577386" cy="769441"/>
          </a:xfrm>
          <a:prstGeom prst="rect">
            <a:avLst/>
          </a:prstGeom>
        </p:spPr>
        <p:txBody>
          <a:bodyPr wrap="square">
            <a:spAutoFit/>
          </a:bodyPr>
          <a:lstStyle/>
          <a:p>
            <a:r>
              <a:rPr lang="fr-FR" sz="4400" b="1" dirty="0" err="1" smtClean="0">
                <a:solidFill>
                  <a:srgbClr val="FF0000"/>
                </a:solidFill>
                <a:cs typeface="Arial" pitchFamily="34" charset="0"/>
              </a:rPr>
              <a:t>Strategic</a:t>
            </a:r>
            <a:r>
              <a:rPr lang="fr-FR" sz="4400" b="1" dirty="0" smtClean="0">
                <a:solidFill>
                  <a:srgbClr val="FF0000"/>
                </a:solidFill>
                <a:cs typeface="Arial" pitchFamily="34" charset="0"/>
              </a:rPr>
              <a:t> </a:t>
            </a:r>
            <a:r>
              <a:rPr lang="fr-FR" sz="4400" b="1" dirty="0" err="1" smtClean="0">
                <a:solidFill>
                  <a:srgbClr val="FF0000"/>
                </a:solidFill>
                <a:cs typeface="Arial" pitchFamily="34" charset="0"/>
              </a:rPr>
              <a:t>Geographical</a:t>
            </a:r>
            <a:r>
              <a:rPr lang="fr-FR" sz="4400" b="1" dirty="0" smtClean="0">
                <a:solidFill>
                  <a:srgbClr val="FF0000"/>
                </a:solidFill>
                <a:cs typeface="Arial" pitchFamily="34" charset="0"/>
              </a:rPr>
              <a:t> Location</a:t>
            </a:r>
          </a:p>
        </p:txBody>
      </p:sp>
      <p:sp>
        <p:nvSpPr>
          <p:cNvPr id="13" name="Rectangle 12"/>
          <p:cNvSpPr/>
          <p:nvPr/>
        </p:nvSpPr>
        <p:spPr>
          <a:xfrm>
            <a:off x="722922" y="897687"/>
            <a:ext cx="8421078"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4" name="Ellipse 13"/>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fade">
                                      <p:cBhvr>
                                        <p:cTn id="7" dur="1000"/>
                                        <p:tgtEl>
                                          <p:spTgt spid="24">
                                            <p:txEl>
                                              <p:pRg st="0" end="0"/>
                                            </p:txEl>
                                          </p:spTgt>
                                        </p:tgtEl>
                                      </p:cBhvr>
                                    </p:animEffect>
                                    <p:anim calcmode="lin" valueType="num">
                                      <p:cBhvr>
                                        <p:cTn id="8" dur="1000" fill="hold"/>
                                        <p:tgtEl>
                                          <p:spTgt spid="2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xEl>
                                              <p:pRg st="2" end="2"/>
                                            </p:txEl>
                                          </p:spTgt>
                                        </p:tgtEl>
                                        <p:attrNameLst>
                                          <p:attrName>style.visibility</p:attrName>
                                        </p:attrNameLst>
                                      </p:cBhvr>
                                      <p:to>
                                        <p:strVal val="visible"/>
                                      </p:to>
                                    </p:set>
                                    <p:animEffect transition="in" filter="fade">
                                      <p:cBhvr>
                                        <p:cTn id="14" dur="1000"/>
                                        <p:tgtEl>
                                          <p:spTgt spid="24">
                                            <p:txEl>
                                              <p:pRg st="2" end="2"/>
                                            </p:txEl>
                                          </p:spTgt>
                                        </p:tgtEl>
                                      </p:cBhvr>
                                    </p:animEffect>
                                    <p:anim calcmode="lin" valueType="num">
                                      <p:cBhvr>
                                        <p:cTn id="15" dur="1000" fill="hold"/>
                                        <p:tgtEl>
                                          <p:spTgt spid="24">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4">
                                            <p:txEl>
                                              <p:pRg st="2" end="2"/>
                                            </p:txEl>
                                          </p:spTgt>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24">
                                            <p:txEl>
                                              <p:pRg st="3" end="3"/>
                                            </p:txEl>
                                          </p:spTgt>
                                        </p:tgtEl>
                                        <p:attrNameLst>
                                          <p:attrName>style.visibility</p:attrName>
                                        </p:attrNameLst>
                                      </p:cBhvr>
                                      <p:to>
                                        <p:strVal val="visible"/>
                                      </p:to>
                                    </p:set>
                                    <p:animEffect transition="in" filter="fade">
                                      <p:cBhvr>
                                        <p:cTn id="19" dur="1000"/>
                                        <p:tgtEl>
                                          <p:spTgt spid="24">
                                            <p:txEl>
                                              <p:pRg st="3" end="3"/>
                                            </p:txEl>
                                          </p:spTgt>
                                        </p:tgtEl>
                                      </p:cBhvr>
                                    </p:animEffect>
                                    <p:anim calcmode="lin" valueType="num">
                                      <p:cBhvr>
                                        <p:cTn id="20" dur="1000" fill="hold"/>
                                        <p:tgtEl>
                                          <p:spTgt spid="24">
                                            <p:txEl>
                                              <p:pRg st="3" end="3"/>
                                            </p:txEl>
                                          </p:spTgt>
                                        </p:tgtEl>
                                        <p:attrNameLst>
                                          <p:attrName>ppt_x</p:attrName>
                                        </p:attrNameLst>
                                      </p:cBhvr>
                                      <p:tavLst>
                                        <p:tav tm="0">
                                          <p:val>
                                            <p:strVal val="#ppt_x"/>
                                          </p:val>
                                        </p:tav>
                                        <p:tav tm="100000">
                                          <p:val>
                                            <p:strVal val="#ppt_x"/>
                                          </p:val>
                                        </p:tav>
                                      </p:tavLst>
                                    </p:anim>
                                    <p:anim calcmode="lin" valueType="num">
                                      <p:cBhvr>
                                        <p:cTn id="21" dur="1000" fill="hold"/>
                                        <p:tgtEl>
                                          <p:spTgt spid="2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24">
                                            <p:txEl>
                                              <p:pRg st="4" end="4"/>
                                            </p:txEl>
                                          </p:spTgt>
                                        </p:tgtEl>
                                        <p:attrNameLst>
                                          <p:attrName>style.visibility</p:attrName>
                                        </p:attrNameLst>
                                      </p:cBhvr>
                                      <p:to>
                                        <p:strVal val="visible"/>
                                      </p:to>
                                    </p:set>
                                    <p:animEffect transition="in" filter="fade">
                                      <p:cBhvr>
                                        <p:cTn id="26" dur="1000"/>
                                        <p:tgtEl>
                                          <p:spTgt spid="24">
                                            <p:txEl>
                                              <p:pRg st="4" end="4"/>
                                            </p:txEl>
                                          </p:spTgt>
                                        </p:tgtEl>
                                      </p:cBhvr>
                                    </p:animEffect>
                                    <p:anim calcmode="lin" valueType="num">
                                      <p:cBhvr>
                                        <p:cTn id="27" dur="1000" fill="hold"/>
                                        <p:tgtEl>
                                          <p:spTgt spid="24">
                                            <p:txEl>
                                              <p:pRg st="4" end="4"/>
                                            </p:txEl>
                                          </p:spTgt>
                                        </p:tgtEl>
                                        <p:attrNameLst>
                                          <p:attrName>ppt_x</p:attrName>
                                        </p:attrNameLst>
                                      </p:cBhvr>
                                      <p:tavLst>
                                        <p:tav tm="0">
                                          <p:val>
                                            <p:strVal val="#ppt_x"/>
                                          </p:val>
                                        </p:tav>
                                        <p:tav tm="100000">
                                          <p:val>
                                            <p:strVal val="#ppt_x"/>
                                          </p:val>
                                        </p:tav>
                                      </p:tavLst>
                                    </p:anim>
                                    <p:anim calcmode="lin" valueType="num">
                                      <p:cBhvr>
                                        <p:cTn id="28" dur="1000" fill="hold"/>
                                        <p:tgtEl>
                                          <p:spTgt spid="2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24">
                                            <p:txEl>
                                              <p:pRg st="5" end="5"/>
                                            </p:txEl>
                                          </p:spTgt>
                                        </p:tgtEl>
                                        <p:attrNameLst>
                                          <p:attrName>style.visibility</p:attrName>
                                        </p:attrNameLst>
                                      </p:cBhvr>
                                      <p:to>
                                        <p:strVal val="visible"/>
                                      </p:to>
                                    </p:set>
                                    <p:animEffect transition="in" filter="fade">
                                      <p:cBhvr>
                                        <p:cTn id="33" dur="1000"/>
                                        <p:tgtEl>
                                          <p:spTgt spid="24">
                                            <p:txEl>
                                              <p:pRg st="5" end="5"/>
                                            </p:txEl>
                                          </p:spTgt>
                                        </p:tgtEl>
                                      </p:cBhvr>
                                    </p:animEffect>
                                    <p:anim calcmode="lin" valueType="num">
                                      <p:cBhvr>
                                        <p:cTn id="34" dur="1000" fill="hold"/>
                                        <p:tgtEl>
                                          <p:spTgt spid="24">
                                            <p:txEl>
                                              <p:pRg st="5" end="5"/>
                                            </p:txEl>
                                          </p:spTgt>
                                        </p:tgtEl>
                                        <p:attrNameLst>
                                          <p:attrName>ppt_x</p:attrName>
                                        </p:attrNameLst>
                                      </p:cBhvr>
                                      <p:tavLst>
                                        <p:tav tm="0">
                                          <p:val>
                                            <p:strVal val="#ppt_x"/>
                                          </p:val>
                                        </p:tav>
                                        <p:tav tm="100000">
                                          <p:val>
                                            <p:strVal val="#ppt_x"/>
                                          </p:val>
                                        </p:tav>
                                      </p:tavLst>
                                    </p:anim>
                                    <p:anim calcmode="lin" valueType="num">
                                      <p:cBhvr>
                                        <p:cTn id="35" dur="1000" fill="hold"/>
                                        <p:tgtEl>
                                          <p:spTgt spid="24">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24">
                                            <p:txEl>
                                              <p:pRg st="6" end="6"/>
                                            </p:txEl>
                                          </p:spTgt>
                                        </p:tgtEl>
                                        <p:attrNameLst>
                                          <p:attrName>style.visibility</p:attrName>
                                        </p:attrNameLst>
                                      </p:cBhvr>
                                      <p:to>
                                        <p:strVal val="visible"/>
                                      </p:to>
                                    </p:set>
                                    <p:animEffect transition="in" filter="fade">
                                      <p:cBhvr>
                                        <p:cTn id="40" dur="1000"/>
                                        <p:tgtEl>
                                          <p:spTgt spid="24">
                                            <p:txEl>
                                              <p:pRg st="6" end="6"/>
                                            </p:txEl>
                                          </p:spTgt>
                                        </p:tgtEl>
                                      </p:cBhvr>
                                    </p:animEffect>
                                    <p:anim calcmode="lin" valueType="num">
                                      <p:cBhvr>
                                        <p:cTn id="41" dur="1000" fill="hold"/>
                                        <p:tgtEl>
                                          <p:spTgt spid="24">
                                            <p:txEl>
                                              <p:pRg st="6" end="6"/>
                                            </p:txEl>
                                          </p:spTgt>
                                        </p:tgtEl>
                                        <p:attrNameLst>
                                          <p:attrName>ppt_x</p:attrName>
                                        </p:attrNameLst>
                                      </p:cBhvr>
                                      <p:tavLst>
                                        <p:tav tm="0">
                                          <p:val>
                                            <p:strVal val="#ppt_x"/>
                                          </p:val>
                                        </p:tav>
                                        <p:tav tm="100000">
                                          <p:val>
                                            <p:strVal val="#ppt_x"/>
                                          </p:val>
                                        </p:tav>
                                      </p:tavLst>
                                    </p:anim>
                                    <p:anim calcmode="lin" valueType="num">
                                      <p:cBhvr>
                                        <p:cTn id="42" dur="1000" fill="hold"/>
                                        <p:tgtEl>
                                          <p:spTgt spid="24">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7" name="Shape 577"/>
          <p:cNvSpPr>
            <a:spLocks noGrp="1"/>
          </p:cNvSpPr>
          <p:nvPr>
            <p:ph type="title"/>
          </p:nvPr>
        </p:nvSpPr>
        <p:spPr>
          <a:xfrm>
            <a:off x="722922" y="1"/>
            <a:ext cx="7963878" cy="741382"/>
          </a:xfrm>
          <a:prstGeom prst="rect">
            <a:avLst/>
          </a:prstGeom>
        </p:spPr>
        <p:txBody>
          <a:bodyPr/>
          <a:lstStyle>
            <a:lvl1pPr algn="l">
              <a:defRPr sz="2800" b="1">
                <a:solidFill>
                  <a:srgbClr val="C00000"/>
                </a:solidFill>
                <a:latin typeface="Cambria"/>
                <a:ea typeface="Cambria"/>
                <a:cs typeface="Cambria"/>
                <a:sym typeface="Cambria"/>
              </a:defRPr>
            </a:lvl1pPr>
          </a:lstStyle>
          <a:p>
            <a:pPr lvl="0">
              <a:defRPr sz="1800" b="0">
                <a:solidFill>
                  <a:srgbClr val="000000"/>
                </a:solidFill>
              </a:defRPr>
            </a:pPr>
            <a:r>
              <a:rPr sz="2800" b="1" dirty="0">
                <a:solidFill>
                  <a:srgbClr val="C00000"/>
                </a:solidFill>
              </a:rPr>
              <a:t>Pointe Sarène</a:t>
            </a:r>
          </a:p>
        </p:txBody>
      </p:sp>
      <p:sp>
        <p:nvSpPr>
          <p:cNvPr id="578" name="Shape 578"/>
          <p:cNvSpPr>
            <a:spLocks noGrp="1"/>
          </p:cNvSpPr>
          <p:nvPr>
            <p:ph type="sldNum" sz="quarter" idx="4294967295"/>
          </p:nvPr>
        </p:nvSpPr>
        <p:spPr>
          <a:xfrm>
            <a:off x="6553200" y="6221730"/>
            <a:ext cx="2133600" cy="269240"/>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50</a:t>
            </a:fld>
            <a:endParaRPr sz="1200">
              <a:solidFill>
                <a:srgbClr val="888888"/>
              </a:solidFill>
            </a:endParaRPr>
          </a:p>
        </p:txBody>
      </p:sp>
      <p:pic>
        <p:nvPicPr>
          <p:cNvPr id="579" name="image84.png"/>
          <p:cNvPicPr/>
          <p:nvPr/>
        </p:nvPicPr>
        <p:blipFill>
          <a:blip r:embed="rId2">
            <a:extLst/>
          </a:blip>
          <a:stretch>
            <a:fillRect/>
          </a:stretch>
        </p:blipFill>
        <p:spPr>
          <a:xfrm>
            <a:off x="1" y="1150394"/>
            <a:ext cx="5612524" cy="4264017"/>
          </a:xfrm>
          <a:prstGeom prst="rect">
            <a:avLst/>
          </a:prstGeom>
          <a:ln w="12700">
            <a:miter lim="400000"/>
          </a:ln>
        </p:spPr>
      </p:pic>
      <p:sp>
        <p:nvSpPr>
          <p:cNvPr id="5"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6"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
        <p:nvSpPr>
          <p:cNvPr id="7" name="Shape 587"/>
          <p:cNvSpPr/>
          <p:nvPr/>
        </p:nvSpPr>
        <p:spPr>
          <a:xfrm>
            <a:off x="6089599" y="1551070"/>
            <a:ext cx="3021725" cy="386334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lvl="0"/>
            <a:endParaRPr sz="1100" dirty="0">
              <a:latin typeface="Arial"/>
              <a:ea typeface="Arial"/>
              <a:cs typeface="Arial"/>
              <a:sym typeface="Arial"/>
            </a:endParaRPr>
          </a:p>
          <a:p>
            <a:pPr marL="254000" lvl="0" indent="-254000">
              <a:buClr>
                <a:srgbClr val="000000"/>
              </a:buClr>
              <a:buSzPct val="100000"/>
              <a:buFont typeface="Wingdings"/>
              <a:buChar char="✓"/>
            </a:pPr>
            <a:r>
              <a:rPr sz="1600" dirty="0"/>
              <a:t>75 ha of available land </a:t>
            </a:r>
          </a:p>
          <a:p>
            <a:pPr marL="285750" lvl="0" indent="-285750">
              <a:buClr>
                <a:srgbClr val="000000"/>
              </a:buClr>
              <a:buSzPct val="100000"/>
              <a:buFont typeface="Wingdings"/>
              <a:buChar char="✓"/>
            </a:pPr>
            <a:endParaRPr sz="1600" dirty="0"/>
          </a:p>
          <a:p>
            <a:pPr marL="254000" lvl="0" indent="-254000">
              <a:buClr>
                <a:srgbClr val="000000"/>
              </a:buClr>
              <a:buSzPct val="100000"/>
              <a:buFont typeface="Wingdings"/>
              <a:buChar char="✓"/>
            </a:pPr>
            <a:r>
              <a:rPr sz="1600" dirty="0"/>
              <a:t>5 hotels: 250 to 500 rooms </a:t>
            </a:r>
          </a:p>
          <a:p>
            <a:pPr lvl="0"/>
            <a:endParaRPr sz="1600" dirty="0"/>
          </a:p>
          <a:p>
            <a:pPr marL="254000" lvl="0" indent="-254000">
              <a:buClr>
                <a:srgbClr val="000000"/>
              </a:buClr>
              <a:buSzPct val="100000"/>
              <a:buFont typeface="Wingdings"/>
              <a:buChar char="✓"/>
            </a:pPr>
            <a:r>
              <a:rPr sz="1600" dirty="0"/>
              <a:t>1 600 rooms </a:t>
            </a:r>
          </a:p>
          <a:p>
            <a:pPr marL="285750" lvl="0" indent="-285750">
              <a:buClr>
                <a:srgbClr val="000000"/>
              </a:buClr>
              <a:buSzPct val="100000"/>
              <a:buFont typeface="Wingdings"/>
              <a:buChar char="✓"/>
            </a:pPr>
            <a:endParaRPr sz="1600" dirty="0"/>
          </a:p>
          <a:p>
            <a:pPr marL="254000" lvl="0" indent="-254000">
              <a:buClr>
                <a:srgbClr val="000000"/>
              </a:buClr>
              <a:buSzPct val="100000"/>
              <a:buFont typeface="Wingdings"/>
              <a:buChar char="✓"/>
            </a:pPr>
            <a:r>
              <a:rPr sz="1600" dirty="0"/>
              <a:t>leisure and recreational facilities </a:t>
            </a:r>
          </a:p>
          <a:p>
            <a:pPr marL="285750" lvl="0" indent="-285750">
              <a:buClr>
                <a:srgbClr val="000000"/>
              </a:buClr>
              <a:buSzPct val="100000"/>
              <a:buFont typeface="Wingdings"/>
              <a:buChar char="✓"/>
            </a:pPr>
            <a:endParaRPr sz="1600" dirty="0"/>
          </a:p>
          <a:p>
            <a:pPr marL="254000" lvl="0" indent="-254000">
              <a:buClr>
                <a:srgbClr val="000000"/>
              </a:buClr>
              <a:buSzPct val="100000"/>
              <a:buFont typeface="Wingdings"/>
              <a:buChar char="✓"/>
            </a:pPr>
            <a:r>
              <a:rPr sz="1600" dirty="0"/>
              <a:t>120 high standard villas </a:t>
            </a:r>
          </a:p>
          <a:p>
            <a:pPr marL="285750" lvl="0" indent="-285750">
              <a:buClr>
                <a:srgbClr val="000000"/>
              </a:buClr>
              <a:buSzPct val="100000"/>
              <a:buFont typeface="Wingdings"/>
              <a:buChar char="✓"/>
            </a:pPr>
            <a:endParaRPr sz="1600" dirty="0"/>
          </a:p>
          <a:p>
            <a:pPr marL="254000" lvl="0" indent="-254000">
              <a:buClr>
                <a:srgbClr val="000000"/>
              </a:buClr>
              <a:buSzPct val="100000"/>
              <a:buFont typeface="Wingdings"/>
              <a:buChar char="✓"/>
            </a:pPr>
            <a:r>
              <a:rPr sz="1600" dirty="0"/>
              <a:t>1 commercial plaza (center) </a:t>
            </a:r>
          </a:p>
          <a:p>
            <a:pPr marL="285750" lvl="0" indent="-285750">
              <a:buClr>
                <a:srgbClr val="000000"/>
              </a:buClr>
              <a:buSzPct val="100000"/>
              <a:buFont typeface="Wingdings"/>
              <a:buChar char="✓"/>
            </a:pPr>
            <a:endParaRPr sz="1600" dirty="0"/>
          </a:p>
          <a:p>
            <a:pPr marL="254000" lvl="0" indent="-254000">
              <a:buClr>
                <a:srgbClr val="000000"/>
              </a:buClr>
              <a:buSzPct val="100000"/>
              <a:buFont typeface="Wingdings"/>
              <a:buChar char="✓"/>
            </a:pPr>
            <a:r>
              <a:rPr sz="1600" dirty="0"/>
              <a:t>corridors </a:t>
            </a:r>
          </a:p>
          <a:p>
            <a:pPr lvl="0"/>
            <a:endParaRPr sz="1600" dirty="0"/>
          </a:p>
          <a:p>
            <a:pPr marL="254000" lvl="0" indent="-254000">
              <a:buClr>
                <a:srgbClr val="000000"/>
              </a:buClr>
              <a:buSzPct val="100000"/>
              <a:buFont typeface="Wingdings"/>
              <a:buChar char="✓"/>
            </a:pPr>
            <a:r>
              <a:rPr sz="1600" dirty="0"/>
              <a:t>1.2 miles of beach </a:t>
            </a: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2" name="Shape 582"/>
          <p:cNvSpPr>
            <a:spLocks noGrp="1"/>
          </p:cNvSpPr>
          <p:nvPr>
            <p:ph type="sldNum" sz="quarter" idx="4294967295"/>
          </p:nvPr>
        </p:nvSpPr>
        <p:spPr>
          <a:xfrm>
            <a:off x="6553200" y="6221730"/>
            <a:ext cx="2133600" cy="269240"/>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51</a:t>
            </a:fld>
            <a:endParaRPr sz="1200">
              <a:solidFill>
                <a:srgbClr val="888888"/>
              </a:solidFill>
            </a:endParaRPr>
          </a:p>
        </p:txBody>
      </p:sp>
      <p:sp>
        <p:nvSpPr>
          <p:cNvPr id="583" name="Shape 583"/>
          <p:cNvSpPr/>
          <p:nvPr/>
        </p:nvSpPr>
        <p:spPr>
          <a:xfrm>
            <a:off x="457200" y="1601201"/>
            <a:ext cx="8287657" cy="42443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r>
              <a:rPr sz="1600">
                <a:latin typeface="Bookman Old Style"/>
                <a:ea typeface="Bookman Old Style"/>
                <a:cs typeface="Bookman Old Style"/>
                <a:sym typeface="Bookman Old Style"/>
              </a:rPr>
              <a:t>The Pointe Sarène Touristic unit is comprised of the following areas: 	</a:t>
            </a:r>
          </a:p>
          <a:p>
            <a:pPr marL="285750" lvl="0" indent="-285750">
              <a:buClr>
                <a:srgbClr val="000000"/>
              </a:buClr>
              <a:buSzPct val="100000"/>
              <a:buFont typeface="Wingdings"/>
              <a:buChar char="✓"/>
            </a:pPr>
            <a:endParaRPr sz="1600"/>
          </a:p>
          <a:p>
            <a:pPr marL="238125" lvl="0" indent="-238125">
              <a:buClr>
                <a:srgbClr val="000000"/>
              </a:buClr>
              <a:buSzPct val="100000"/>
              <a:buFont typeface="Wingdings"/>
              <a:buChar char="✓"/>
            </a:pPr>
            <a:r>
              <a:rPr sz="1500"/>
              <a:t>five (5) hotels plots varying from 5 to lo 17 hectares of land, each hotel having a minimal sea front of 250 meters for a total maximal capacity of 1600 rooms with leisure and recreational facilities. </a:t>
            </a:r>
          </a:p>
          <a:p>
            <a:pPr marL="285750" lvl="0" indent="-285750">
              <a:buClr>
                <a:srgbClr val="000000"/>
              </a:buClr>
              <a:buSzPct val="100000"/>
              <a:buFont typeface="Wingdings"/>
              <a:buChar char="✓"/>
            </a:pPr>
            <a:endParaRPr sz="1500"/>
          </a:p>
          <a:p>
            <a:pPr marL="238125" lvl="0" indent="-238125">
              <a:buClr>
                <a:srgbClr val="000000"/>
              </a:buClr>
              <a:buSzPct val="100000"/>
              <a:buFont typeface="Wingdings"/>
              <a:buChar char="✓"/>
            </a:pPr>
            <a:r>
              <a:rPr sz="1500"/>
              <a:t>High standard mansions (120) all along the summit of an area which gives a panoramic view of the sea to the western side; </a:t>
            </a:r>
          </a:p>
          <a:p>
            <a:pPr marL="285750" lvl="0" indent="-285750">
              <a:buClr>
                <a:srgbClr val="000000"/>
              </a:buClr>
              <a:buSzPct val="100000"/>
              <a:buFont typeface="Wingdings"/>
              <a:buChar char="✓"/>
            </a:pPr>
            <a:endParaRPr sz="1500"/>
          </a:p>
          <a:p>
            <a:pPr marL="238125" lvl="0" indent="-238125">
              <a:buClr>
                <a:srgbClr val="000000"/>
              </a:buClr>
              <a:buSzPct val="100000"/>
              <a:buFont typeface="Wingdings"/>
              <a:buChar char="✓"/>
            </a:pPr>
            <a:r>
              <a:rPr sz="1500"/>
              <a:t>A commercial plaza with shops , restaurants and touristic services with a small hall for outdoor cultural activities; </a:t>
            </a:r>
          </a:p>
          <a:p>
            <a:pPr lvl="0"/>
            <a:endParaRPr sz="1500"/>
          </a:p>
          <a:p>
            <a:pPr marL="238125" lvl="0" indent="-238125">
              <a:buClr>
                <a:srgbClr val="000000"/>
              </a:buClr>
              <a:buSzPct val="100000"/>
              <a:buFont typeface="Wingdings"/>
              <a:buChar char="✓"/>
            </a:pPr>
            <a:r>
              <a:rPr sz="1500"/>
              <a:t>At the end of the commercial area a nautical base / marina could potentially be erected which could service Pointe Sarène and Mbodiene</a:t>
            </a:r>
          </a:p>
          <a:p>
            <a:pPr lvl="0"/>
            <a:endParaRPr sz="1500"/>
          </a:p>
          <a:p>
            <a:pPr marL="238125" lvl="0" indent="-238125">
              <a:buClr>
                <a:srgbClr val="000000"/>
              </a:buClr>
              <a:buSzPct val="100000"/>
              <a:buFont typeface="Wingdings"/>
              <a:buChar char="✓"/>
            </a:pPr>
            <a:r>
              <a:rPr sz="1500"/>
              <a:t>General public access corridors to the beach between hotel plots surrounded by seaside and regional type ecological gardens that can be accessed through foot lanes; </a:t>
            </a:r>
          </a:p>
          <a:p>
            <a:pPr marL="285750" lvl="0" indent="-285750">
              <a:buClr>
                <a:srgbClr val="000000"/>
              </a:buClr>
              <a:buSzPct val="100000"/>
              <a:buFont typeface="Wingdings"/>
              <a:buChar char="✓"/>
            </a:pPr>
            <a:endParaRPr sz="1500"/>
          </a:p>
          <a:p>
            <a:pPr marL="238125" lvl="0" indent="-238125">
              <a:buClr>
                <a:srgbClr val="000000"/>
              </a:buClr>
              <a:buSzPct val="100000"/>
              <a:buFont typeface="Wingdings"/>
              <a:buChar char="✓"/>
            </a:pPr>
            <a:r>
              <a:rPr sz="1500"/>
              <a:t>A 1.2 miles long beach as waterfront</a:t>
            </a:r>
          </a:p>
        </p:txBody>
      </p:sp>
      <p:sp>
        <p:nvSpPr>
          <p:cNvPr id="6" name="Shape 577"/>
          <p:cNvSpPr txBox="1">
            <a:spLocks/>
          </p:cNvSpPr>
          <p:nvPr/>
        </p:nvSpPr>
        <p:spPr>
          <a:xfrm>
            <a:off x="722922" y="1"/>
            <a:ext cx="7963878" cy="741382"/>
          </a:xfrm>
          <a:prstGeom prst="rect">
            <a:avLst/>
          </a:prstGeom>
        </p:spPr>
        <p:txBody>
          <a:bodyPr vert="horz" lIns="91440" tIns="45720" rIns="91440" bIns="45720" rtlCol="0" anchor="ctr">
            <a:normAutofit/>
          </a:bodyPr>
          <a:lstStyle>
            <a:lvl1pPr algn="l">
              <a:defRPr sz="2800" b="1">
                <a:solidFill>
                  <a:srgbClr val="C00000"/>
                </a:solidFill>
                <a:latin typeface="Cambria"/>
                <a:ea typeface="Cambria"/>
                <a:cs typeface="Cambria"/>
                <a:sym typeface="Cambria"/>
              </a:defRPr>
            </a:lvl1pPr>
          </a:lstStyle>
          <a:p>
            <a:pPr marL="0" marR="0" lvl="0" indent="0" algn="l" defTabSz="457200" rtl="0" eaLnBrk="1" fontAlgn="auto" latinLnBrk="0" hangingPunct="1">
              <a:lnSpc>
                <a:spcPct val="100000"/>
              </a:lnSpc>
              <a:spcBef>
                <a:spcPct val="0"/>
              </a:spcBef>
              <a:spcAft>
                <a:spcPts val="0"/>
              </a:spcAft>
              <a:buClrTx/>
              <a:buSzTx/>
              <a:buFontTx/>
              <a:buNone/>
              <a:tabLst/>
              <a:defRPr sz="1800" b="0">
                <a:solidFill>
                  <a:srgbClr val="000000"/>
                </a:solidFill>
              </a:defRPr>
            </a:pPr>
            <a:r>
              <a:rPr kumimoji="0" lang="fr-FR" sz="2800" b="1" i="0" u="none" strike="noStrike" kern="1200" cap="none" spc="0" normalizeH="0" baseline="0" noProof="0" smtClean="0">
                <a:ln>
                  <a:noFill/>
                </a:ln>
                <a:solidFill>
                  <a:srgbClr val="C00000"/>
                </a:solidFill>
                <a:effectLst/>
                <a:uLnTx/>
                <a:uFillTx/>
                <a:latin typeface="Cambria"/>
                <a:ea typeface="Cambria"/>
                <a:cs typeface="Cambria"/>
                <a:sym typeface="Cambria"/>
              </a:rPr>
              <a:t>Pointe Sarène</a:t>
            </a:r>
            <a:endParaRPr kumimoji="0" lang="fr-FR" sz="2800" b="1" i="0" u="none" strike="noStrike" kern="1200" cap="none" spc="0" normalizeH="0" baseline="0" noProof="0" dirty="0">
              <a:ln>
                <a:noFill/>
              </a:ln>
              <a:solidFill>
                <a:srgbClr val="C00000"/>
              </a:solidFill>
              <a:effectLst/>
              <a:uLnTx/>
              <a:uFillTx/>
              <a:latin typeface="Cambria"/>
              <a:ea typeface="Cambria"/>
              <a:cs typeface="Cambria"/>
              <a:sym typeface="Cambria"/>
            </a:endParaRPr>
          </a:p>
        </p:txBody>
      </p:sp>
      <p:sp>
        <p:nvSpPr>
          <p:cNvPr id="7"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8"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 name="Shape 589"/>
          <p:cNvSpPr>
            <a:spLocks noGrp="1"/>
          </p:cNvSpPr>
          <p:nvPr>
            <p:ph type="title"/>
          </p:nvPr>
        </p:nvSpPr>
        <p:spPr>
          <a:xfrm>
            <a:off x="722922" y="1"/>
            <a:ext cx="8229600" cy="787102"/>
          </a:xfrm>
          <a:prstGeom prst="rect">
            <a:avLst/>
          </a:prstGeom>
        </p:spPr>
        <p:txBody>
          <a:bodyPr/>
          <a:lstStyle>
            <a:lvl1pPr algn="l">
              <a:defRPr sz="2800" b="1">
                <a:solidFill>
                  <a:srgbClr val="C00000"/>
                </a:solidFill>
                <a:latin typeface="Cambria"/>
                <a:ea typeface="Cambria"/>
                <a:cs typeface="Cambria"/>
                <a:sym typeface="Cambria"/>
              </a:defRPr>
            </a:lvl1pPr>
          </a:lstStyle>
          <a:p>
            <a:pPr lvl="0">
              <a:defRPr sz="1800" b="0">
                <a:solidFill>
                  <a:srgbClr val="000000"/>
                </a:solidFill>
              </a:defRPr>
            </a:pPr>
            <a:r>
              <a:rPr sz="2800" b="1" dirty="0">
                <a:solidFill>
                  <a:srgbClr val="C00000"/>
                </a:solidFill>
              </a:rPr>
              <a:t>Mbodiene</a:t>
            </a:r>
          </a:p>
        </p:txBody>
      </p:sp>
      <p:pic>
        <p:nvPicPr>
          <p:cNvPr id="591" name="image83.png"/>
          <p:cNvPicPr/>
          <p:nvPr/>
        </p:nvPicPr>
        <p:blipFill>
          <a:blip r:embed="rId2">
            <a:extLst/>
          </a:blip>
          <a:stretch>
            <a:fillRect/>
          </a:stretch>
        </p:blipFill>
        <p:spPr>
          <a:xfrm>
            <a:off x="0" y="1121366"/>
            <a:ext cx="6132786" cy="4412332"/>
          </a:xfrm>
          <a:prstGeom prst="rect">
            <a:avLst/>
          </a:prstGeom>
          <a:ln w="12700">
            <a:miter lim="400000"/>
          </a:ln>
        </p:spPr>
      </p:pic>
      <p:sp>
        <p:nvSpPr>
          <p:cNvPr id="8"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9"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
        <p:nvSpPr>
          <p:cNvPr id="10" name="Shape 600"/>
          <p:cNvSpPr/>
          <p:nvPr/>
        </p:nvSpPr>
        <p:spPr>
          <a:xfrm>
            <a:off x="6323455" y="1121366"/>
            <a:ext cx="2554014" cy="533222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lvl="0"/>
            <a:endParaRPr sz="1050" dirty="0">
              <a:latin typeface="Arial"/>
              <a:ea typeface="Arial"/>
              <a:cs typeface="Arial"/>
              <a:sym typeface="Arial"/>
            </a:endParaRPr>
          </a:p>
          <a:p>
            <a:pPr marL="285750" lvl="0" indent="-285750">
              <a:buClr>
                <a:srgbClr val="000000"/>
              </a:buClr>
              <a:buSzPct val="100000"/>
              <a:buFont typeface="Wingdings"/>
              <a:buChar char="✓"/>
            </a:pPr>
            <a:r>
              <a:rPr sz="1600" dirty="0"/>
              <a:t>300 ha of available land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a:t>20 hotels: 250 to 500 rooms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a:t>6 000 rooms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a:t>Leisure facilities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a:t>2 commercials plazas with shops and restaurants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err="1"/>
              <a:t>touristical</a:t>
            </a:r>
            <a:r>
              <a:rPr sz="1600" dirty="0"/>
              <a:t> services and a major outdoor hall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a:t>1 18-holes golf course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a:t>General Public Access Corridors </a:t>
            </a:r>
          </a:p>
          <a:p>
            <a:pPr marL="285750" lvl="0" indent="-285750">
              <a:buClr>
                <a:srgbClr val="000000"/>
              </a:buClr>
              <a:buSzPct val="100000"/>
              <a:buFont typeface="Wingdings"/>
              <a:buChar char="✓"/>
            </a:pPr>
            <a:endParaRPr sz="1600" dirty="0"/>
          </a:p>
          <a:p>
            <a:pPr marL="285750" lvl="0" indent="-285750">
              <a:buClr>
                <a:srgbClr val="000000"/>
              </a:buClr>
              <a:buSzPct val="100000"/>
              <a:buFont typeface="Wingdings"/>
              <a:buChar char="✓"/>
            </a:pPr>
            <a:r>
              <a:rPr sz="1600" dirty="0"/>
              <a:t>foot bridges 			</a:t>
            </a:r>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 name="Shape 594"/>
          <p:cNvSpPr>
            <a:spLocks noGrp="1"/>
          </p:cNvSpPr>
          <p:nvPr>
            <p:ph type="sldNum" sz="quarter" idx="4294967295"/>
          </p:nvPr>
        </p:nvSpPr>
        <p:spPr>
          <a:xfrm>
            <a:off x="6553200" y="6221730"/>
            <a:ext cx="2133600" cy="269240"/>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53</a:t>
            </a:fld>
            <a:endParaRPr sz="1200">
              <a:solidFill>
                <a:srgbClr val="888888"/>
              </a:solidFill>
            </a:endParaRPr>
          </a:p>
        </p:txBody>
      </p:sp>
      <p:sp>
        <p:nvSpPr>
          <p:cNvPr id="595" name="Shape 595"/>
          <p:cNvSpPr/>
          <p:nvPr/>
        </p:nvSpPr>
        <p:spPr>
          <a:xfrm>
            <a:off x="246370" y="1380468"/>
            <a:ext cx="8124826" cy="3581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defRPr>
                <a:latin typeface="Bookman Old Style"/>
                <a:ea typeface="Bookman Old Style"/>
                <a:cs typeface="Bookman Old Style"/>
                <a:sym typeface="Bookman Old Style"/>
              </a:defRPr>
            </a:lvl1pPr>
          </a:lstStyle>
          <a:p>
            <a:pPr lvl="0"/>
            <a:r>
              <a:rPr dirty="0"/>
              <a:t>The Mbodiene Touristic unit is comprised of the following areas: 	</a:t>
            </a:r>
          </a:p>
        </p:txBody>
      </p:sp>
      <p:sp>
        <p:nvSpPr>
          <p:cNvPr id="596" name="Shape 596"/>
          <p:cNvSpPr/>
          <p:nvPr/>
        </p:nvSpPr>
        <p:spPr>
          <a:xfrm>
            <a:off x="722922" y="2132329"/>
            <a:ext cx="7315201" cy="43586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114300" lvl="0" indent="-114300">
              <a:buClr>
                <a:srgbClr val="000000"/>
              </a:buClr>
              <a:buSzPct val="100000"/>
              <a:buFont typeface="Wingdings"/>
              <a:buChar char="✓"/>
            </a:pPr>
            <a:r>
              <a:rPr sz="1200"/>
              <a:t>four (4) major 50 to 80 hectares hotel sub-units with a minimal sea front line of 1 kilometer on the lagoon, with a maximal total capacity of 6.000 rooms with leisure and recreational facilities; </a:t>
            </a:r>
          </a:p>
          <a:p>
            <a:pPr lvl="0"/>
            <a:r>
              <a:rPr sz="1200"/>
              <a:t>	</a:t>
            </a:r>
          </a:p>
          <a:p>
            <a:pPr marL="114300" lvl="0" indent="-114300">
              <a:buClr>
                <a:srgbClr val="000000"/>
              </a:buClr>
              <a:buSzPct val="100000"/>
              <a:buFont typeface="Wingdings"/>
              <a:buChar char="✓"/>
            </a:pPr>
            <a:r>
              <a:rPr sz="1200"/>
              <a:t>Each of the four (4) sub-units can be divided into many hotel plots one of which can host a congress center; </a:t>
            </a:r>
          </a:p>
          <a:p>
            <a:pPr lvl="0"/>
            <a:r>
              <a:rPr sz="1200"/>
              <a:t>	</a:t>
            </a:r>
          </a:p>
          <a:p>
            <a:pPr marL="114300" lvl="0" indent="-114300">
              <a:buClr>
                <a:srgbClr val="000000"/>
              </a:buClr>
              <a:buSzPct val="100000"/>
              <a:buFont typeface="Wingdings"/>
              <a:buChar char="✓"/>
            </a:pPr>
            <a:r>
              <a:rPr sz="1200"/>
              <a:t>Two commercial plazas (centers) with shops, restaurants and touristical services Including one large hall for outdoor cultural activities; 	</a:t>
            </a:r>
          </a:p>
          <a:p>
            <a:pPr marL="171450" lvl="0" indent="-171450">
              <a:buClr>
                <a:srgbClr val="000000"/>
              </a:buClr>
              <a:buSzPct val="100000"/>
              <a:buFont typeface="Wingdings"/>
              <a:buChar char="✓"/>
            </a:pPr>
            <a:endParaRPr sz="1200"/>
          </a:p>
          <a:p>
            <a:pPr marL="114300" lvl="0" indent="-114300">
              <a:buClr>
                <a:srgbClr val="000000"/>
              </a:buClr>
              <a:buSzPct val="100000"/>
              <a:buFont typeface="Wingdings"/>
              <a:buChar char="✓"/>
            </a:pPr>
            <a:r>
              <a:rPr sz="1200"/>
              <a:t>Two 18 holes golf course along the main road and the access lane to the touristical area Construction Unit; </a:t>
            </a:r>
          </a:p>
          <a:p>
            <a:pPr lvl="0"/>
            <a:r>
              <a:rPr sz="1200"/>
              <a:t>	</a:t>
            </a:r>
          </a:p>
          <a:p>
            <a:pPr marL="114300" lvl="0" indent="-114300">
              <a:buClr>
                <a:srgbClr val="000000"/>
              </a:buClr>
              <a:buSzPct val="100000"/>
              <a:buFont typeface="Wingdings"/>
              <a:buChar char="✓"/>
            </a:pPr>
            <a:r>
              <a:rPr sz="1200"/>
              <a:t>A thematic park of attraction that will valorise our legends, habitats as well as the ecology of Senegal and the African Continent 	</a:t>
            </a:r>
          </a:p>
          <a:p>
            <a:pPr marL="171450" lvl="0" indent="-171450">
              <a:buClr>
                <a:srgbClr val="000000"/>
              </a:buClr>
              <a:buSzPct val="100000"/>
              <a:buFont typeface="Wingdings"/>
              <a:buChar char="✓"/>
            </a:pPr>
            <a:endParaRPr sz="1200"/>
          </a:p>
          <a:p>
            <a:pPr marL="114300" lvl="0" indent="-114300">
              <a:buClr>
                <a:srgbClr val="000000"/>
              </a:buClr>
              <a:buSzPct val="100000"/>
              <a:buFont typeface="Wingdings"/>
              <a:buChar char="✓"/>
            </a:pPr>
            <a:r>
              <a:rPr sz="1200"/>
              <a:t>Corridors for people to access the lagoon and the beach located in between the hotel plots surrounded by seaside and regional type ecological gardens that can be accessed through foot lanes 	</a:t>
            </a:r>
          </a:p>
          <a:p>
            <a:pPr marL="171450" lvl="0" indent="-171450">
              <a:buClr>
                <a:srgbClr val="000000"/>
              </a:buClr>
              <a:buSzPct val="100000"/>
              <a:buFont typeface="Wingdings"/>
              <a:buChar char="✓"/>
            </a:pPr>
            <a:endParaRPr sz="1200"/>
          </a:p>
          <a:p>
            <a:pPr marL="114300" lvl="0" indent="-114300">
              <a:buClr>
                <a:srgbClr val="000000"/>
              </a:buClr>
              <a:buSzPct val="100000"/>
              <a:buFont typeface="Wingdings"/>
              <a:buChar char="✓"/>
            </a:pPr>
            <a:r>
              <a:rPr sz="1200"/>
              <a:t>Foot bridges (3) over the lagoon with direct access to the beach; the bridges can also be crossed by vehicles for maintenance. 	</a:t>
            </a:r>
          </a:p>
          <a:p>
            <a:pPr marL="171450" lvl="0" indent="-171450">
              <a:buClr>
                <a:srgbClr val="000000"/>
              </a:buClr>
              <a:buSzPct val="100000"/>
              <a:buFont typeface="Wingdings"/>
              <a:buChar char="✓"/>
            </a:pPr>
            <a:endParaRPr sz="1200"/>
          </a:p>
          <a:p>
            <a:pPr marL="114300" lvl="0" indent="-114300">
              <a:buClr>
                <a:srgbClr val="000000"/>
              </a:buClr>
              <a:buSzPct val="100000"/>
              <a:buFont typeface="Wingdings"/>
              <a:buChar char="✓"/>
            </a:pPr>
            <a:r>
              <a:rPr sz="1200"/>
              <a:t>A beach and sand dunes area covering more than 6 kilometers and which constitutes the state seafront area. 	</a:t>
            </a:r>
          </a:p>
        </p:txBody>
      </p:sp>
      <p:sp>
        <p:nvSpPr>
          <p:cNvPr id="7" name="Shape 589"/>
          <p:cNvSpPr txBox="1">
            <a:spLocks/>
          </p:cNvSpPr>
          <p:nvPr/>
        </p:nvSpPr>
        <p:spPr>
          <a:xfrm>
            <a:off x="722922" y="1"/>
            <a:ext cx="8229600" cy="787102"/>
          </a:xfrm>
          <a:prstGeom prst="rect">
            <a:avLst/>
          </a:prstGeom>
        </p:spPr>
        <p:txBody>
          <a:bodyPr vert="horz" lIns="91440" tIns="45720" rIns="91440" bIns="45720" rtlCol="0" anchor="ctr">
            <a:normAutofit/>
          </a:bodyPr>
          <a:lstStyle>
            <a:lvl1pPr algn="l">
              <a:defRPr sz="2800" b="1">
                <a:solidFill>
                  <a:srgbClr val="C00000"/>
                </a:solidFill>
                <a:latin typeface="Cambria"/>
                <a:ea typeface="Cambria"/>
                <a:cs typeface="Cambria"/>
                <a:sym typeface="Cambria"/>
              </a:defRPr>
            </a:lvl1pPr>
          </a:lstStyle>
          <a:p>
            <a:pPr marL="0" marR="0" lvl="0" indent="0" algn="l" defTabSz="457200" rtl="0" eaLnBrk="1" fontAlgn="auto" latinLnBrk="0" hangingPunct="1">
              <a:lnSpc>
                <a:spcPct val="100000"/>
              </a:lnSpc>
              <a:spcBef>
                <a:spcPct val="0"/>
              </a:spcBef>
              <a:spcAft>
                <a:spcPts val="0"/>
              </a:spcAft>
              <a:buClrTx/>
              <a:buSzTx/>
              <a:buFontTx/>
              <a:buNone/>
              <a:tabLst/>
              <a:defRPr sz="1800" b="0">
                <a:solidFill>
                  <a:srgbClr val="000000"/>
                </a:solidFill>
              </a:defRPr>
            </a:pPr>
            <a:r>
              <a:rPr kumimoji="0" lang="fr-FR" sz="2800" b="1" i="0" u="none" strike="noStrike" kern="1200" cap="none" spc="0" normalizeH="0" baseline="0" noProof="0" smtClean="0">
                <a:ln>
                  <a:noFill/>
                </a:ln>
                <a:solidFill>
                  <a:srgbClr val="C00000"/>
                </a:solidFill>
                <a:effectLst/>
                <a:uLnTx/>
                <a:uFillTx/>
                <a:latin typeface="Cambria"/>
                <a:ea typeface="Cambria"/>
                <a:cs typeface="Cambria"/>
                <a:sym typeface="Cambria"/>
              </a:rPr>
              <a:t>Mbodiene</a:t>
            </a:r>
            <a:endParaRPr kumimoji="0" lang="fr-FR" sz="2800" b="1" i="0" u="none" strike="noStrike" kern="1200" cap="none" spc="0" normalizeH="0" baseline="0" noProof="0" dirty="0">
              <a:ln>
                <a:noFill/>
              </a:ln>
              <a:solidFill>
                <a:srgbClr val="C00000"/>
              </a:solidFill>
              <a:effectLst/>
              <a:uLnTx/>
              <a:uFillTx/>
              <a:latin typeface="Cambria"/>
              <a:ea typeface="Cambria"/>
              <a:cs typeface="Cambria"/>
              <a:sym typeface="Cambria"/>
            </a:endParaRPr>
          </a:p>
        </p:txBody>
      </p:sp>
      <p:sp>
        <p:nvSpPr>
          <p:cNvPr id="8"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9"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2" name="Shape 602"/>
          <p:cNvSpPr>
            <a:spLocks noGrp="1"/>
          </p:cNvSpPr>
          <p:nvPr>
            <p:ph type="title"/>
          </p:nvPr>
        </p:nvSpPr>
        <p:spPr>
          <a:xfrm>
            <a:off x="722922" y="0"/>
            <a:ext cx="7963878" cy="787103"/>
          </a:xfrm>
          <a:prstGeom prst="rect">
            <a:avLst/>
          </a:prstGeom>
        </p:spPr>
        <p:txBody>
          <a:bodyPr>
            <a:normAutofit/>
          </a:bodyPr>
          <a:lstStyle>
            <a:lvl1pPr algn="l">
              <a:defRPr b="1">
                <a:solidFill>
                  <a:srgbClr val="C00000"/>
                </a:solidFill>
                <a:latin typeface="Cambria"/>
                <a:ea typeface="Cambria"/>
                <a:cs typeface="Cambria"/>
                <a:sym typeface="Cambria"/>
              </a:defRPr>
            </a:lvl1pPr>
          </a:lstStyle>
          <a:p>
            <a:pPr lvl="0">
              <a:defRPr sz="1800" b="0">
                <a:solidFill>
                  <a:srgbClr val="000000"/>
                </a:solidFill>
              </a:defRPr>
            </a:pPr>
            <a:r>
              <a:rPr sz="4400" b="1" dirty="0">
                <a:solidFill>
                  <a:srgbClr val="C00000"/>
                </a:solidFill>
              </a:rPr>
              <a:t>Joal - Finio</a:t>
            </a:r>
          </a:p>
        </p:txBody>
      </p:sp>
      <p:pic>
        <p:nvPicPr>
          <p:cNvPr id="604" name="image85.png"/>
          <p:cNvPicPr/>
          <p:nvPr/>
        </p:nvPicPr>
        <p:blipFill>
          <a:blip r:embed="rId2">
            <a:extLst/>
          </a:blip>
          <a:stretch>
            <a:fillRect/>
          </a:stretch>
        </p:blipFill>
        <p:spPr>
          <a:xfrm>
            <a:off x="0" y="1121365"/>
            <a:ext cx="6195848" cy="4286207"/>
          </a:xfrm>
          <a:prstGeom prst="rect">
            <a:avLst/>
          </a:prstGeom>
          <a:ln w="12700">
            <a:miter lim="400000"/>
          </a:ln>
        </p:spPr>
      </p:pic>
      <p:sp>
        <p:nvSpPr>
          <p:cNvPr id="5" name="Shape 613"/>
          <p:cNvSpPr/>
          <p:nvPr/>
        </p:nvSpPr>
        <p:spPr>
          <a:xfrm>
            <a:off x="6195848" y="1121365"/>
            <a:ext cx="2948152" cy="487825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lvl="0"/>
            <a:endParaRPr sz="1100" dirty="0">
              <a:latin typeface="Arial"/>
              <a:ea typeface="Arial"/>
              <a:cs typeface="Arial"/>
              <a:sym typeface="Arial"/>
            </a:endParaRPr>
          </a:p>
          <a:p>
            <a:pPr marL="285750" lvl="0" indent="-285750">
              <a:buClr>
                <a:srgbClr val="000000"/>
              </a:buClr>
              <a:buSzPct val="100000"/>
              <a:buFont typeface="Wingdings"/>
              <a:buChar char="✓"/>
            </a:pPr>
            <a:r>
              <a:rPr dirty="0"/>
              <a:t>15 ha of available land </a:t>
            </a:r>
          </a:p>
          <a:p>
            <a:pPr marL="285750" lvl="0" indent="-285750">
              <a:buClr>
                <a:srgbClr val="000000"/>
              </a:buClr>
              <a:buSzPct val="100000"/>
              <a:buFont typeface="Wingdings"/>
              <a:buChar char="✓"/>
            </a:pPr>
            <a:endParaRPr dirty="0"/>
          </a:p>
          <a:p>
            <a:pPr marL="285750" lvl="0" indent="-285750">
              <a:buClr>
                <a:srgbClr val="000000"/>
              </a:buClr>
              <a:buSzPct val="100000"/>
              <a:buFont typeface="Wingdings"/>
              <a:buChar char="✓"/>
            </a:pPr>
            <a:r>
              <a:rPr dirty="0"/>
              <a:t>1 hotel complex </a:t>
            </a:r>
          </a:p>
          <a:p>
            <a:pPr marL="285750" lvl="0" indent="-285750">
              <a:buClr>
                <a:srgbClr val="000000"/>
              </a:buClr>
              <a:buSzPct val="100000"/>
              <a:buFont typeface="Wingdings"/>
              <a:buChar char="✓"/>
            </a:pPr>
            <a:endParaRPr dirty="0"/>
          </a:p>
          <a:p>
            <a:pPr marL="285750" lvl="0" indent="-285750">
              <a:buClr>
                <a:srgbClr val="000000"/>
              </a:buClr>
              <a:buSzPct val="100000"/>
              <a:buFont typeface="Wingdings"/>
              <a:buChar char="✓"/>
            </a:pPr>
            <a:r>
              <a:rPr dirty="0"/>
              <a:t>250 rooms </a:t>
            </a:r>
          </a:p>
          <a:p>
            <a:pPr marL="285750" lvl="0" indent="-285750">
              <a:buClr>
                <a:srgbClr val="000000"/>
              </a:buClr>
              <a:buSzPct val="100000"/>
              <a:buFont typeface="Wingdings"/>
              <a:buChar char="✓"/>
            </a:pPr>
            <a:endParaRPr dirty="0"/>
          </a:p>
          <a:p>
            <a:pPr marL="285750" lvl="0" indent="-285750">
              <a:buClr>
                <a:srgbClr val="000000"/>
              </a:buClr>
              <a:buSzPct val="100000"/>
              <a:buFont typeface="Wingdings"/>
              <a:buChar char="✓"/>
            </a:pPr>
            <a:r>
              <a:rPr dirty="0"/>
              <a:t>Recreational facilities </a:t>
            </a:r>
          </a:p>
          <a:p>
            <a:pPr marL="285750" lvl="0" indent="-285750">
              <a:buClr>
                <a:srgbClr val="000000"/>
              </a:buClr>
              <a:buSzPct val="100000"/>
              <a:buFont typeface="Wingdings"/>
              <a:buChar char="✓"/>
            </a:pPr>
            <a:endParaRPr dirty="0"/>
          </a:p>
          <a:p>
            <a:pPr marL="285750" lvl="0" indent="-285750">
              <a:buClr>
                <a:srgbClr val="000000"/>
              </a:buClr>
              <a:buSzPct val="100000"/>
              <a:buFont typeface="Wingdings"/>
              <a:buChar char="✓"/>
            </a:pPr>
            <a:r>
              <a:rPr dirty="0"/>
              <a:t>commercial lane with 2 shops areas </a:t>
            </a:r>
          </a:p>
          <a:p>
            <a:pPr marL="285750" lvl="0" indent="-285750">
              <a:buClr>
                <a:srgbClr val="000000"/>
              </a:buClr>
              <a:buSzPct val="100000"/>
              <a:buFont typeface="Wingdings"/>
              <a:buChar char="✓"/>
            </a:pPr>
            <a:endParaRPr dirty="0"/>
          </a:p>
          <a:p>
            <a:pPr marL="285750" lvl="0" indent="-285750">
              <a:buClr>
                <a:srgbClr val="000000"/>
              </a:buClr>
              <a:buSzPct val="100000"/>
              <a:buFont typeface="Wingdings"/>
              <a:buChar char="✓"/>
            </a:pPr>
            <a:r>
              <a:rPr dirty="0"/>
              <a:t>1 coastal and sand dune type garden area </a:t>
            </a:r>
          </a:p>
          <a:p>
            <a:pPr marL="285750" lvl="0" indent="-285750">
              <a:buClr>
                <a:srgbClr val="000000"/>
              </a:buClr>
              <a:buSzPct val="100000"/>
              <a:buFont typeface="Wingdings"/>
              <a:buChar char="✓"/>
            </a:pPr>
            <a:endParaRPr dirty="0"/>
          </a:p>
          <a:p>
            <a:pPr marL="285750" lvl="0" indent="-285750">
              <a:buClr>
                <a:srgbClr val="000000"/>
              </a:buClr>
              <a:buSzPct val="100000"/>
              <a:buFont typeface="Wingdings"/>
              <a:buChar char="✓"/>
            </a:pPr>
            <a:r>
              <a:rPr dirty="0"/>
              <a:t>one 750 m beach area </a:t>
            </a:r>
          </a:p>
          <a:p>
            <a:pPr marL="285750" lvl="0" indent="-285750">
              <a:buClr>
                <a:srgbClr val="000000"/>
              </a:buClr>
              <a:buSzPct val="100000"/>
              <a:buFont typeface="Wingdings"/>
              <a:buChar char="✓"/>
            </a:pPr>
            <a:endParaRPr dirty="0"/>
          </a:p>
          <a:p>
            <a:pPr marL="285750" lvl="0" indent="-285750">
              <a:buClr>
                <a:srgbClr val="000000"/>
              </a:buClr>
              <a:buSzPct val="100000"/>
              <a:buFont typeface="Wingdings"/>
              <a:buChar char="✓"/>
            </a:pPr>
            <a:r>
              <a:rPr dirty="0"/>
              <a:t>1 hall </a:t>
            </a:r>
          </a:p>
        </p:txBody>
      </p:sp>
      <p:sp>
        <p:nvSpPr>
          <p:cNvPr id="6"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7"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7" name="Shape 607"/>
          <p:cNvSpPr>
            <a:spLocks noGrp="1"/>
          </p:cNvSpPr>
          <p:nvPr>
            <p:ph type="sldNum" sz="quarter" idx="4294967295"/>
          </p:nvPr>
        </p:nvSpPr>
        <p:spPr>
          <a:xfrm>
            <a:off x="6553200" y="6221730"/>
            <a:ext cx="2133600" cy="269240"/>
          </a:xfrm>
          <a:prstGeom prst="rect">
            <a:avLst/>
          </a:prstGeom>
          <a:extLst>
            <a:ext uri="{C572A759-6A51-4108-AA02-DFA0A04FC94B}">
              <ma14:wrappingTextBoxFlag xmlns:ma14="http://schemas.microsoft.com/office/mac/drawingml/2011/main" xmlns="" val="1"/>
            </a:ext>
          </a:extLst>
        </p:spPr>
        <p:txBody>
          <a:bodyPr lIns="0" tIns="0" rIns="0" bIns="0">
            <a:normAutofit/>
          </a:bodyPr>
          <a:lstStyle/>
          <a:p>
            <a:pPr lvl="0">
              <a:defRPr sz="1800">
                <a:solidFill>
                  <a:srgbClr val="000000"/>
                </a:solidFill>
              </a:defRPr>
            </a:pPr>
            <a:fld id="{86CB4B4D-7CA3-9044-876B-883B54F8677D}" type="slidenum">
              <a:rPr sz="1200">
                <a:solidFill>
                  <a:srgbClr val="888888"/>
                </a:solidFill>
              </a:rPr>
              <a:pPr lvl="0">
                <a:defRPr sz="1800">
                  <a:solidFill>
                    <a:srgbClr val="000000"/>
                  </a:solidFill>
                </a:defRPr>
              </a:pPr>
              <a:t>55</a:t>
            </a:fld>
            <a:endParaRPr sz="1200">
              <a:solidFill>
                <a:srgbClr val="888888"/>
              </a:solidFill>
            </a:endParaRPr>
          </a:p>
        </p:txBody>
      </p:sp>
      <p:sp>
        <p:nvSpPr>
          <p:cNvPr id="608" name="Shape 608"/>
          <p:cNvSpPr/>
          <p:nvPr/>
        </p:nvSpPr>
        <p:spPr>
          <a:xfrm>
            <a:off x="457201" y="2751011"/>
            <a:ext cx="8229601" cy="27584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L="285750" lvl="0" indent="-285750">
              <a:buClr>
                <a:srgbClr val="000000"/>
              </a:buClr>
              <a:buSzPct val="100000"/>
              <a:buFont typeface="Wingdings"/>
              <a:buChar char="✓"/>
            </a:pPr>
            <a:r>
              <a:t>A hotel plot with a maximal capacity of 250 rooms and recreational facilities, a central network of scattered swimming pools facing accommodation pavilions ; </a:t>
            </a:r>
          </a:p>
          <a:p>
            <a:pPr marL="285750" lvl="0" indent="-285750">
              <a:buClr>
                <a:srgbClr val="000000"/>
              </a:buClr>
              <a:buSzPct val="100000"/>
              <a:buFont typeface="Wingdings"/>
              <a:buChar char="✓"/>
            </a:pPr>
            <a:endParaRPr/>
          </a:p>
          <a:p>
            <a:pPr marL="285750" lvl="0" indent="-285750">
              <a:buClr>
                <a:srgbClr val="000000"/>
              </a:buClr>
              <a:buSzPct val="100000"/>
              <a:buFont typeface="Wingdings"/>
              <a:buChar char="✓"/>
            </a:pPr>
            <a:r>
              <a:t>1 commercial lane of shops with access to the river walkway and two quay areas as well a mini-hall for outdoor cultural activities ; </a:t>
            </a:r>
          </a:p>
          <a:p>
            <a:pPr marL="285750" lvl="0" indent="-285750">
              <a:buClr>
                <a:srgbClr val="000000"/>
              </a:buClr>
              <a:buSzPct val="100000"/>
              <a:buFont typeface="Wingdings"/>
              <a:buChar char="✓"/>
            </a:pPr>
            <a:endParaRPr/>
          </a:p>
          <a:p>
            <a:pPr marL="285750" lvl="0" indent="-285750">
              <a:buClr>
                <a:srgbClr val="000000"/>
              </a:buClr>
              <a:buSzPct val="100000"/>
              <a:buFont typeface="Wingdings"/>
              <a:buChar char="✓"/>
            </a:pPr>
            <a:r>
              <a:t>1 costal and sand-dune type garden area with small lanes ; </a:t>
            </a:r>
          </a:p>
          <a:p>
            <a:pPr marL="285750" lvl="0" indent="-285750">
              <a:buClr>
                <a:srgbClr val="000000"/>
              </a:buClr>
              <a:buSzPct val="100000"/>
              <a:buFont typeface="Wingdings"/>
              <a:buChar char="✓"/>
            </a:pPr>
            <a:endParaRPr/>
          </a:p>
          <a:p>
            <a:pPr marL="285750" lvl="0" indent="-285750">
              <a:buClr>
                <a:srgbClr val="000000"/>
              </a:buClr>
              <a:buSzPct val="100000"/>
              <a:buFont typeface="Wingdings"/>
              <a:buChar char="✓"/>
            </a:pPr>
            <a:r>
              <a:t>One 750 meters beach that constitutes the state seafront area ; </a:t>
            </a:r>
          </a:p>
        </p:txBody>
      </p:sp>
      <p:sp>
        <p:nvSpPr>
          <p:cNvPr id="609" name="Shape 609"/>
          <p:cNvSpPr/>
          <p:nvPr/>
        </p:nvSpPr>
        <p:spPr>
          <a:xfrm>
            <a:off x="769257" y="1915664"/>
            <a:ext cx="7917544" cy="35814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lvl="0"/>
            <a:r>
              <a:t>The Touristic Development Unit is comprises of the following areas: </a:t>
            </a:r>
          </a:p>
        </p:txBody>
      </p:sp>
      <p:sp>
        <p:nvSpPr>
          <p:cNvPr id="7" name="Shape 602"/>
          <p:cNvSpPr>
            <a:spLocks noGrp="1"/>
          </p:cNvSpPr>
          <p:nvPr>
            <p:ph type="title"/>
          </p:nvPr>
        </p:nvSpPr>
        <p:spPr>
          <a:xfrm>
            <a:off x="722922" y="0"/>
            <a:ext cx="7963878" cy="787103"/>
          </a:xfrm>
          <a:prstGeom prst="rect">
            <a:avLst/>
          </a:prstGeom>
        </p:spPr>
        <p:txBody>
          <a:bodyPr>
            <a:normAutofit/>
          </a:bodyPr>
          <a:lstStyle>
            <a:lvl1pPr algn="l">
              <a:defRPr b="1">
                <a:solidFill>
                  <a:srgbClr val="C00000"/>
                </a:solidFill>
                <a:latin typeface="Cambria"/>
                <a:ea typeface="Cambria"/>
                <a:cs typeface="Cambria"/>
                <a:sym typeface="Cambria"/>
              </a:defRPr>
            </a:lvl1pPr>
          </a:lstStyle>
          <a:p>
            <a:pPr lvl="0">
              <a:defRPr sz="1800" b="0">
                <a:solidFill>
                  <a:srgbClr val="000000"/>
                </a:solidFill>
              </a:defRPr>
            </a:pPr>
            <a:r>
              <a:rPr sz="4400" b="1" dirty="0">
                <a:solidFill>
                  <a:srgbClr val="C00000"/>
                </a:solidFill>
              </a:rPr>
              <a:t>Joal - Finio</a:t>
            </a:r>
          </a:p>
        </p:txBody>
      </p:sp>
      <p:sp>
        <p:nvSpPr>
          <p:cNvPr id="8" name="Shape 193"/>
          <p:cNvSpPr/>
          <p:nvPr/>
        </p:nvSpPr>
        <p:spPr>
          <a:xfrm>
            <a:off x="722922" y="741382"/>
            <a:ext cx="6877540" cy="45720"/>
          </a:xfrm>
          <a:prstGeom prst="rect">
            <a:avLst/>
          </a:prstGeom>
          <a:solidFill>
            <a:srgbClr val="800000"/>
          </a:solidFill>
          <a:ln>
            <a:solidFill>
              <a:srgbClr val="800000"/>
            </a:solidFill>
          </a:ln>
          <a:effectLst>
            <a:outerShdw blurRad="38100" dist="23000" dir="5400000" rotWithShape="0">
              <a:srgbClr val="000000">
                <a:alpha val="35000"/>
              </a:srgbClr>
            </a:outerShdw>
          </a:effectLst>
        </p:spPr>
        <p:txBody>
          <a:bodyPr lIns="0" tIns="0" rIns="0" bIns="0" anchor="ctr"/>
          <a:lstStyle/>
          <a:p>
            <a:pPr lvl="0" algn="ctr"/>
            <a:endParaRPr/>
          </a:p>
        </p:txBody>
      </p:sp>
      <p:sp>
        <p:nvSpPr>
          <p:cNvPr id="9" name="Shape 194"/>
          <p:cNvSpPr/>
          <p:nvPr/>
        </p:nvSpPr>
        <p:spPr>
          <a:xfrm rot="20620671">
            <a:off x="8439645" y="104569"/>
            <a:ext cx="528405" cy="56288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AB0000"/>
          </a:solidFill>
          <a:ln>
            <a:solidFill>
              <a:srgbClr val="FF0000"/>
            </a:solidFill>
          </a:ln>
          <a:effectLst>
            <a:outerShdw blurRad="228600" dist="50800" dir="5220000" rotWithShape="0">
              <a:srgbClr val="000000">
                <a:alpha val="33000"/>
              </a:srgbClr>
            </a:outerShdw>
            <a:reflection stA="50000" endPos="40000" dir="5400000" sy="-100000" algn="bl" rotWithShape="0"/>
          </a:effectLst>
        </p:spPr>
        <p:txBody>
          <a:bodyPr lIns="0" tIns="0" rIns="0" bIns="0" anchor="ctr"/>
          <a:lstStyle/>
          <a:p>
            <a:pPr marL="190500" lvl="0" indent="-190500">
              <a:lnSpc>
                <a:spcPct val="150000"/>
              </a:lnSpc>
              <a:spcBef>
                <a:spcPts val="600"/>
              </a:spcBef>
              <a:defRPr sz="1100" b="1">
                <a:solidFill>
                  <a:srgbClr val="C00000"/>
                </a:solidFill>
                <a:latin typeface="Arial"/>
                <a:ea typeface="Arial"/>
                <a:cs typeface="Arial"/>
                <a:sym typeface="Arial"/>
              </a:defRPr>
            </a:pPr>
            <a:endParaRPr/>
          </a:p>
        </p:txBody>
      </p:sp>
    </p:spTree>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13" name="Picture 1" descr="C:\Users\pmlo\AppData\Local\Microsoft\Windows\Temporary Internet Files\Content.Outlook\IKI1F0F6\Mannequin sans APIX (2).pn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6637" y="1511554"/>
            <a:ext cx="4527550" cy="5329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er 11"/>
          <p:cNvGrpSpPr>
            <a:grpSpLocks/>
          </p:cNvGrpSpPr>
          <p:nvPr/>
        </p:nvGrpSpPr>
        <p:grpSpPr bwMode="auto">
          <a:xfrm>
            <a:off x="4356100" y="2263077"/>
            <a:ext cx="4643438" cy="3744912"/>
            <a:chOff x="3902209" y="322342"/>
            <a:chExt cx="5371781" cy="5720773"/>
          </a:xfrm>
        </p:grpSpPr>
        <p:pic>
          <p:nvPicPr>
            <p:cNvPr id="46086" name="Image 248" descr="Visuel Promo invest_2 sans slogan.jpg"/>
            <p:cNvPicPr>
              <a:picLocks noChangeAspect="1"/>
            </p:cNvPicPr>
            <p:nvPr/>
          </p:nvPicPr>
          <p:blipFill>
            <a:blip r:embed="rId4">
              <a:extLst>
                <a:ext uri="{28A0092B-C50C-407E-A947-70E740481C1C}">
                  <a14:useLocalDpi xmlns:a14="http://schemas.microsoft.com/office/drawing/2010/main" xmlns="" val="0"/>
                </a:ext>
              </a:extLst>
            </a:blip>
            <a:srcRect t="12265" r="4877" b="16740"/>
            <a:stretch>
              <a:fillRect/>
            </a:stretch>
          </p:blipFill>
          <p:spPr bwMode="auto">
            <a:xfrm>
              <a:off x="3944773" y="322342"/>
              <a:ext cx="5329217" cy="5382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Rectangle 11"/>
            <p:cNvSpPr/>
            <p:nvPr/>
          </p:nvSpPr>
          <p:spPr>
            <a:xfrm>
              <a:off x="3902209" y="3967243"/>
              <a:ext cx="2754759" cy="20758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fr-FR" dirty="0">
                <a:solidFill>
                  <a:prstClr val="white"/>
                </a:solidFill>
              </a:endParaRPr>
            </a:p>
          </p:txBody>
        </p:sp>
        <p:sp>
          <p:nvSpPr>
            <p:cNvPr id="13" name="Rectangle 12"/>
            <p:cNvSpPr/>
            <p:nvPr/>
          </p:nvSpPr>
          <p:spPr>
            <a:xfrm>
              <a:off x="6196006" y="4849974"/>
              <a:ext cx="2752922" cy="10112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fr-FR" dirty="0">
                <a:solidFill>
                  <a:prstClr val="white"/>
                </a:solidFill>
              </a:endParaRPr>
            </a:p>
          </p:txBody>
        </p:sp>
        <p:sp>
          <p:nvSpPr>
            <p:cNvPr id="14" name="Rectangle 13"/>
            <p:cNvSpPr/>
            <p:nvPr/>
          </p:nvSpPr>
          <p:spPr>
            <a:xfrm>
              <a:off x="6484337" y="4459536"/>
              <a:ext cx="780516" cy="81240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fr-FR" dirty="0">
                <a:solidFill>
                  <a:prstClr val="white"/>
                </a:solidFill>
              </a:endParaRPr>
            </a:p>
          </p:txBody>
        </p:sp>
      </p:grpSp>
      <p:sp>
        <p:nvSpPr>
          <p:cNvPr id="7175" name="Espace réservé du numéro de diapositive 14"/>
          <p:cNvSpPr>
            <a:spLocks noGrp="1"/>
          </p:cNvSpPr>
          <p:nvPr>
            <p:ph type="sldNum" sz="quarter" idx="12"/>
          </p:nvPr>
        </p:nvSpPr>
        <p:spPr bwMode="auto">
          <a:extLst/>
        </p:spPr>
        <p:txBody>
          <a:bodyPr wrap="square" numCol="1" anchorCtr="0" compatLnSpc="1">
            <a:prstTxWarp prst="textNoShape">
              <a:avLst/>
            </a:prstTxWarp>
          </a:bodyPr>
          <a:lstStyle>
            <a:lvl1pPr>
              <a:defRPr>
                <a:solidFill>
                  <a:schemeClr val="tx1"/>
                </a:solidFill>
                <a:latin typeface="Georgia" pitchFamily="18" charset="0"/>
              </a:defRPr>
            </a:lvl1pPr>
            <a:lvl2pPr marL="742950" indent="-285750">
              <a:defRPr>
                <a:solidFill>
                  <a:schemeClr val="tx1"/>
                </a:solidFill>
                <a:latin typeface="Georgia" pitchFamily="18" charset="0"/>
              </a:defRPr>
            </a:lvl2pPr>
            <a:lvl3pPr marL="1143000" indent="-228600">
              <a:defRPr>
                <a:solidFill>
                  <a:schemeClr val="tx1"/>
                </a:solidFill>
                <a:latin typeface="Georgia" pitchFamily="18" charset="0"/>
              </a:defRPr>
            </a:lvl3pPr>
            <a:lvl4pPr marL="1600200" indent="-228600">
              <a:defRPr>
                <a:solidFill>
                  <a:schemeClr val="tx1"/>
                </a:solidFill>
                <a:latin typeface="Georgia" pitchFamily="18" charset="0"/>
              </a:defRPr>
            </a:lvl4pPr>
            <a:lvl5pPr marL="2057400" indent="-228600">
              <a:defRPr>
                <a:solidFill>
                  <a:schemeClr val="tx1"/>
                </a:solidFill>
                <a:latin typeface="Georgia" pitchFamily="18" charset="0"/>
              </a:defRPr>
            </a:lvl5pPr>
            <a:lvl6pPr marL="2514600" indent="-228600" fontAlgn="base">
              <a:spcBef>
                <a:spcPct val="0"/>
              </a:spcBef>
              <a:spcAft>
                <a:spcPct val="0"/>
              </a:spcAft>
              <a:defRPr>
                <a:solidFill>
                  <a:schemeClr val="tx1"/>
                </a:solidFill>
                <a:latin typeface="Georgia" pitchFamily="18" charset="0"/>
              </a:defRPr>
            </a:lvl6pPr>
            <a:lvl7pPr marL="2971800" indent="-228600" fontAlgn="base">
              <a:spcBef>
                <a:spcPct val="0"/>
              </a:spcBef>
              <a:spcAft>
                <a:spcPct val="0"/>
              </a:spcAft>
              <a:defRPr>
                <a:solidFill>
                  <a:schemeClr val="tx1"/>
                </a:solidFill>
                <a:latin typeface="Georgia" pitchFamily="18" charset="0"/>
              </a:defRPr>
            </a:lvl7pPr>
            <a:lvl8pPr marL="3429000" indent="-228600" fontAlgn="base">
              <a:spcBef>
                <a:spcPct val="0"/>
              </a:spcBef>
              <a:spcAft>
                <a:spcPct val="0"/>
              </a:spcAft>
              <a:defRPr>
                <a:solidFill>
                  <a:schemeClr val="tx1"/>
                </a:solidFill>
                <a:latin typeface="Georgia" pitchFamily="18" charset="0"/>
              </a:defRPr>
            </a:lvl8pPr>
            <a:lvl9pPr marL="3886200" indent="-228600" fontAlgn="base">
              <a:spcBef>
                <a:spcPct val="0"/>
              </a:spcBef>
              <a:spcAft>
                <a:spcPct val="0"/>
              </a:spcAft>
              <a:defRPr>
                <a:solidFill>
                  <a:schemeClr val="tx1"/>
                </a:solidFill>
                <a:latin typeface="Georgia" pitchFamily="18" charset="0"/>
              </a:defRPr>
            </a:lvl9pPr>
          </a:lstStyle>
          <a:p>
            <a:pPr fontAlgn="base">
              <a:spcBef>
                <a:spcPct val="0"/>
              </a:spcBef>
              <a:spcAft>
                <a:spcPct val="0"/>
              </a:spcAft>
              <a:defRPr/>
            </a:pPr>
            <a:fld id="{E9F87CF6-72E3-48E7-8C9A-41BAC342CE42}" type="slidenum">
              <a:rPr lang="fr-FR" smtClean="0">
                <a:solidFill>
                  <a:srgbClr val="898989"/>
                </a:solidFill>
                <a:latin typeface="Calibri" pitchFamily="34" charset="0"/>
              </a:rPr>
              <a:pPr fontAlgn="base">
                <a:spcBef>
                  <a:spcPct val="0"/>
                </a:spcBef>
                <a:spcAft>
                  <a:spcPct val="0"/>
                </a:spcAft>
                <a:defRPr/>
              </a:pPr>
              <a:t>56</a:t>
            </a:fld>
            <a:endParaRPr lang="fr-FR" dirty="0" smtClean="0">
              <a:solidFill>
                <a:srgbClr val="898989"/>
              </a:solidFill>
              <a:latin typeface="Calibri" pitchFamily="34" charset="0"/>
            </a:endParaRPr>
          </a:p>
        </p:txBody>
      </p:sp>
      <p:sp>
        <p:nvSpPr>
          <p:cNvPr id="10" name="Titre 1"/>
          <p:cNvSpPr>
            <a:spLocks noGrp="1"/>
          </p:cNvSpPr>
          <p:nvPr>
            <p:ph type="title"/>
          </p:nvPr>
        </p:nvSpPr>
        <p:spPr>
          <a:xfrm>
            <a:off x="1366951" y="260350"/>
            <a:ext cx="7416800" cy="504825"/>
          </a:xfrm>
        </p:spPr>
        <p:txBody>
          <a:bodyPr rtlCol="0">
            <a:normAutofit fontScale="90000"/>
          </a:bodyPr>
          <a:lstStyle/>
          <a:p>
            <a:pPr algn="l" eaLnBrk="1" fontAlgn="auto" hangingPunct="1">
              <a:spcAft>
                <a:spcPts val="0"/>
              </a:spcAft>
              <a:defRPr/>
            </a:pPr>
            <a:r>
              <a:rPr lang="fr-FR" sz="4000" b="1" dirty="0" smtClean="0">
                <a:effectLst>
                  <a:outerShdw blurRad="38100" dist="38100" dir="2700000" algn="tl">
                    <a:srgbClr val="000000">
                      <a:alpha val="43137"/>
                    </a:srgbClr>
                  </a:outerShdw>
                </a:effectLst>
              </a:rPr>
              <a:t>SENEGAL, </a:t>
            </a:r>
            <a:r>
              <a:rPr lang="fr-FR" sz="3600" b="1" dirty="0" smtClean="0">
                <a:solidFill>
                  <a:schemeClr val="tx1"/>
                </a:solidFill>
              </a:rPr>
              <a:t>A bridge to the Futur</a:t>
            </a:r>
            <a:endParaRPr lang="fr-FR" sz="3200" b="1"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5704171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115713"/>
                                        </p:tgtEl>
                                        <p:attrNameLst>
                                          <p:attrName>style.visibility</p:attrName>
                                        </p:attrNameLst>
                                      </p:cBhvr>
                                      <p:to>
                                        <p:strVal val="visible"/>
                                      </p:to>
                                    </p:set>
                                    <p:animEffect transition="in" filter="fade">
                                      <p:cBhvr>
                                        <p:cTn id="7" dur="1000"/>
                                        <p:tgtEl>
                                          <p:spTgt spid="115713"/>
                                        </p:tgtEl>
                                      </p:cBhvr>
                                    </p:animEffect>
                                    <p:anim calcmode="lin" valueType="num">
                                      <p:cBhvr>
                                        <p:cTn id="8" dur="1000" fill="hold"/>
                                        <p:tgtEl>
                                          <p:spTgt spid="115713"/>
                                        </p:tgtEl>
                                        <p:attrNameLst>
                                          <p:attrName>ppt_x</p:attrName>
                                        </p:attrNameLst>
                                      </p:cBhvr>
                                      <p:tavLst>
                                        <p:tav tm="0">
                                          <p:val>
                                            <p:strVal val="#ppt_x"/>
                                          </p:val>
                                        </p:tav>
                                        <p:tav tm="100000">
                                          <p:val>
                                            <p:strVal val="#ppt_x"/>
                                          </p:val>
                                        </p:tav>
                                      </p:tavLst>
                                    </p:anim>
                                    <p:anim calcmode="lin" valueType="num">
                                      <p:cBhvr>
                                        <p:cTn id="9" dur="1000" fill="hold"/>
                                        <p:tgtEl>
                                          <p:spTgt spid="115713"/>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9" presetClass="entr" presetSubtype="0"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dissolv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3"/>
          <p:cNvSpPr>
            <a:spLocks noChangeArrowheads="1"/>
          </p:cNvSpPr>
          <p:nvPr/>
        </p:nvSpPr>
        <p:spPr bwMode="auto">
          <a:xfrm>
            <a:off x="967036" y="2238822"/>
            <a:ext cx="6048375" cy="1077218"/>
          </a:xfrm>
          <a:prstGeom prst="rect">
            <a:avLst/>
          </a:prstGeom>
          <a:noFill/>
          <a:ln w="9525">
            <a:noFill/>
            <a:miter lim="800000"/>
            <a:headEnd/>
            <a:tailEnd/>
          </a:ln>
        </p:spPr>
        <p:txBody>
          <a:bodyPr>
            <a:spAutoFit/>
          </a:bodyPr>
          <a:lstStyle/>
          <a:p>
            <a:pPr indent="360363" eaLnBrk="0" fontAlgn="auto" hangingPunct="0">
              <a:spcBef>
                <a:spcPts val="600"/>
              </a:spcBef>
              <a:spcAft>
                <a:spcPts val="0"/>
              </a:spcAft>
              <a:buFont typeface="Wingdings" pitchFamily="2" charset="2"/>
              <a:buChar char="§"/>
              <a:defRPr/>
            </a:pPr>
            <a:r>
              <a:rPr lang="fr-FR" b="1" u="sng" dirty="0">
                <a:solidFill>
                  <a:prstClr val="black"/>
                </a:solidFill>
                <a:effectLst>
                  <a:outerShdw blurRad="38100" dist="38100" dir="2700000" algn="tl">
                    <a:srgbClr val="000000">
                      <a:alpha val="43137"/>
                    </a:srgbClr>
                  </a:outerShdw>
                </a:effectLst>
                <a:latin typeface="Cambria" pitchFamily="18" charset="0"/>
              </a:rPr>
              <a:t>In </a:t>
            </a:r>
            <a:r>
              <a:rPr lang="fr-FR" b="1" u="sng" dirty="0" smtClean="0">
                <a:solidFill>
                  <a:prstClr val="black"/>
                </a:solidFill>
                <a:effectLst>
                  <a:outerShdw blurRad="38100" dist="38100" dir="2700000" algn="tl">
                    <a:srgbClr val="000000">
                      <a:alpha val="43137"/>
                    </a:srgbClr>
                  </a:outerShdw>
                </a:effectLst>
                <a:latin typeface="Cambria" pitchFamily="18" charset="0"/>
              </a:rPr>
              <a:t>2014</a:t>
            </a:r>
            <a:r>
              <a:rPr lang="fr-FR" b="1" dirty="0" smtClean="0">
                <a:solidFill>
                  <a:prstClr val="black"/>
                </a:solidFill>
                <a:latin typeface="Cambria" pitchFamily="18" charset="0"/>
              </a:rPr>
              <a:t>:</a:t>
            </a:r>
            <a:endParaRPr lang="fr-FR" b="1" dirty="0">
              <a:solidFill>
                <a:prstClr val="black"/>
              </a:solidFill>
              <a:latin typeface="Cambria" pitchFamily="18" charset="0"/>
            </a:endParaRPr>
          </a:p>
          <a:p>
            <a:pPr lvl="1" indent="360363" eaLnBrk="0" fontAlgn="auto" hangingPunct="0">
              <a:spcBef>
                <a:spcPts val="600"/>
              </a:spcBef>
              <a:spcAft>
                <a:spcPts val="0"/>
              </a:spcAft>
              <a:buFont typeface="Wingdings" pitchFamily="2" charset="2"/>
              <a:buChar char="ü"/>
              <a:defRPr/>
            </a:pPr>
            <a:r>
              <a:rPr lang="fr-FR" b="1" dirty="0" smtClean="0">
                <a:solidFill>
                  <a:prstClr val="black"/>
                </a:solidFill>
                <a:latin typeface="Cambria" pitchFamily="18" charset="0"/>
              </a:rPr>
              <a:t>GDP </a:t>
            </a:r>
            <a:r>
              <a:rPr lang="fr-FR" b="1" dirty="0">
                <a:solidFill>
                  <a:prstClr val="black"/>
                </a:solidFill>
                <a:latin typeface="Cambria" pitchFamily="18" charset="0"/>
              </a:rPr>
              <a:t>per Capita: </a:t>
            </a:r>
            <a:r>
              <a:rPr lang="fr-FR" b="1" dirty="0">
                <a:solidFill>
                  <a:schemeClr val="accent2">
                    <a:lumMod val="75000"/>
                  </a:schemeClr>
                </a:solidFill>
                <a:latin typeface="Cambria" pitchFamily="18" charset="0"/>
              </a:rPr>
              <a:t>US$ 1, </a:t>
            </a:r>
            <a:r>
              <a:rPr lang="fr-FR" b="1" dirty="0" smtClean="0">
                <a:solidFill>
                  <a:schemeClr val="accent2">
                    <a:lumMod val="75000"/>
                  </a:schemeClr>
                </a:solidFill>
                <a:latin typeface="Cambria" pitchFamily="18" charset="0"/>
              </a:rPr>
              <a:t>040</a:t>
            </a:r>
            <a:endParaRPr lang="fr-FR" b="1" dirty="0">
              <a:solidFill>
                <a:prstClr val="black"/>
              </a:solidFill>
              <a:latin typeface="Cambria" pitchFamily="18" charset="0"/>
            </a:endParaRPr>
          </a:p>
          <a:p>
            <a:pPr lvl="1" indent="360363" eaLnBrk="0" fontAlgn="auto" hangingPunct="0">
              <a:spcBef>
                <a:spcPts val="600"/>
              </a:spcBef>
              <a:spcAft>
                <a:spcPts val="0"/>
              </a:spcAft>
              <a:buFont typeface="Wingdings" pitchFamily="2" charset="2"/>
              <a:buChar char="ü"/>
              <a:defRPr/>
            </a:pPr>
            <a:r>
              <a:rPr lang="fr-FR" b="1" dirty="0" err="1">
                <a:solidFill>
                  <a:prstClr val="black"/>
                </a:solidFill>
                <a:latin typeface="Cambria" pitchFamily="18" charset="0"/>
              </a:rPr>
              <a:t>Growth</a:t>
            </a:r>
            <a:r>
              <a:rPr lang="fr-FR" b="1" dirty="0">
                <a:solidFill>
                  <a:prstClr val="black"/>
                </a:solidFill>
                <a:latin typeface="Cambria" pitchFamily="18" charset="0"/>
              </a:rPr>
              <a:t>  Rate</a:t>
            </a:r>
            <a:r>
              <a:rPr lang="fr-FR" dirty="0">
                <a:solidFill>
                  <a:prstClr val="black"/>
                </a:solidFill>
                <a:latin typeface="Cambria" pitchFamily="18" charset="0"/>
              </a:rPr>
              <a:t>: </a:t>
            </a:r>
            <a:r>
              <a:rPr lang="fr-FR" b="1" dirty="0" smtClean="0">
                <a:solidFill>
                  <a:schemeClr val="accent2">
                    <a:lumMod val="75000"/>
                  </a:schemeClr>
                </a:solidFill>
                <a:latin typeface="Cambria" pitchFamily="18" charset="0"/>
              </a:rPr>
              <a:t>4,5%</a:t>
            </a:r>
            <a:endParaRPr lang="fr-FR" dirty="0">
              <a:solidFill>
                <a:schemeClr val="accent2">
                  <a:lumMod val="75000"/>
                </a:schemeClr>
              </a:solidFill>
              <a:latin typeface="Cambria" pitchFamily="18" charset="0"/>
            </a:endParaRPr>
          </a:p>
        </p:txBody>
      </p:sp>
      <p:sp>
        <p:nvSpPr>
          <p:cNvPr id="7" name="Rectangle 13"/>
          <p:cNvSpPr>
            <a:spLocks noChangeArrowheads="1"/>
          </p:cNvSpPr>
          <p:nvPr/>
        </p:nvSpPr>
        <p:spPr bwMode="auto">
          <a:xfrm>
            <a:off x="4391025" y="4508500"/>
            <a:ext cx="4752975" cy="2262188"/>
          </a:xfrm>
          <a:prstGeom prst="rect">
            <a:avLst/>
          </a:prstGeom>
          <a:noFill/>
          <a:ln w="9525">
            <a:noFill/>
            <a:miter lim="800000"/>
            <a:headEnd/>
            <a:tailEnd/>
          </a:ln>
        </p:spPr>
        <p:txBody>
          <a:bodyPr>
            <a:spAutoFit/>
          </a:bodyPr>
          <a:lstStyle/>
          <a:p>
            <a:pPr indent="360363" eaLnBrk="0" fontAlgn="auto" hangingPunct="0">
              <a:spcBef>
                <a:spcPts val="600"/>
              </a:spcBef>
              <a:spcAft>
                <a:spcPts val="0"/>
              </a:spcAft>
              <a:buFont typeface="Wingdings" pitchFamily="2" charset="2"/>
              <a:buChar char="§"/>
              <a:defRPr/>
            </a:pPr>
            <a:r>
              <a:rPr lang="en-US" b="1" u="sng" dirty="0">
                <a:solidFill>
                  <a:prstClr val="black"/>
                </a:solidFill>
                <a:effectLst>
                  <a:outerShdw blurRad="38100" dist="38100" dir="2700000" algn="tl">
                    <a:srgbClr val="000000">
                      <a:alpha val="43137"/>
                    </a:srgbClr>
                  </a:outerShdw>
                </a:effectLst>
                <a:latin typeface="Cambria" pitchFamily="18" charset="0"/>
              </a:rPr>
              <a:t>Senegal within WAEMU  </a:t>
            </a:r>
            <a:r>
              <a:rPr lang="en-US" b="1" u="sng" dirty="0" smtClean="0">
                <a:solidFill>
                  <a:prstClr val="black"/>
                </a:solidFill>
                <a:effectLst>
                  <a:outerShdw blurRad="38100" dist="38100" dir="2700000" algn="tl">
                    <a:srgbClr val="000000">
                      <a:alpha val="43137"/>
                    </a:srgbClr>
                  </a:outerShdw>
                </a:effectLst>
                <a:latin typeface="Cambria" pitchFamily="18" charset="0"/>
              </a:rPr>
              <a:t>:</a:t>
            </a:r>
            <a:endParaRPr lang="en-US" b="1" u="sng" dirty="0">
              <a:solidFill>
                <a:prstClr val="black"/>
              </a:solidFill>
              <a:effectLst>
                <a:outerShdw blurRad="38100" dist="38100" dir="2700000" algn="tl">
                  <a:srgbClr val="000000">
                    <a:alpha val="43137"/>
                  </a:srgbClr>
                </a:outerShdw>
              </a:effectLst>
              <a:latin typeface="Cambria" pitchFamily="18" charset="0"/>
            </a:endParaRPr>
          </a:p>
          <a:p>
            <a:pPr marL="800100" lvl="1" indent="-342900" eaLnBrk="0" hangingPunct="0">
              <a:spcBef>
                <a:spcPts val="600"/>
              </a:spcBef>
              <a:buFont typeface="Wingdings" pitchFamily="2" charset="2"/>
              <a:buChar char="ü"/>
              <a:defRPr/>
            </a:pPr>
            <a:r>
              <a:rPr lang="en-US" sz="2000" dirty="0">
                <a:solidFill>
                  <a:schemeClr val="accent2">
                    <a:lumMod val="75000"/>
                  </a:schemeClr>
                </a:solidFill>
                <a:latin typeface="Cambria" pitchFamily="18" charset="0"/>
              </a:rPr>
              <a:t>2</a:t>
            </a:r>
            <a:r>
              <a:rPr lang="en-US" sz="2000" baseline="30000" dirty="0">
                <a:solidFill>
                  <a:schemeClr val="accent2">
                    <a:lumMod val="75000"/>
                  </a:schemeClr>
                </a:solidFill>
                <a:latin typeface="Cambria" pitchFamily="18" charset="0"/>
              </a:rPr>
              <a:t>nd</a:t>
            </a:r>
            <a:r>
              <a:rPr lang="en-US" dirty="0">
                <a:latin typeface="Cambria" pitchFamily="18" charset="0"/>
              </a:rPr>
              <a:t> GDP</a:t>
            </a:r>
          </a:p>
          <a:p>
            <a:pPr marL="800100" lvl="1" indent="-342900" eaLnBrk="0" hangingPunct="0">
              <a:spcBef>
                <a:spcPts val="600"/>
              </a:spcBef>
              <a:buFont typeface="Wingdings" pitchFamily="2" charset="2"/>
              <a:buChar char="ü"/>
              <a:defRPr/>
            </a:pPr>
            <a:r>
              <a:rPr lang="en-US" sz="2000" dirty="0">
                <a:solidFill>
                  <a:schemeClr val="accent2">
                    <a:lumMod val="75000"/>
                  </a:schemeClr>
                </a:solidFill>
                <a:latin typeface="Cambria" pitchFamily="18" charset="0"/>
              </a:rPr>
              <a:t>4</a:t>
            </a:r>
            <a:r>
              <a:rPr lang="en-US" sz="2000" baseline="30000" dirty="0">
                <a:solidFill>
                  <a:schemeClr val="accent2">
                    <a:lumMod val="75000"/>
                  </a:schemeClr>
                </a:solidFill>
                <a:latin typeface="Cambria" pitchFamily="18" charset="0"/>
              </a:rPr>
              <a:t>th</a:t>
            </a:r>
            <a:r>
              <a:rPr lang="en-US" b="1" dirty="0">
                <a:latin typeface="Cambria" pitchFamily="18" charset="0"/>
              </a:rPr>
              <a:t> </a:t>
            </a:r>
            <a:r>
              <a:rPr lang="en-US" dirty="0">
                <a:latin typeface="Cambria" pitchFamily="18" charset="0"/>
              </a:rPr>
              <a:t>growth rate</a:t>
            </a:r>
          </a:p>
          <a:p>
            <a:pPr marL="800100" lvl="1" indent="-342900" eaLnBrk="0" hangingPunct="0">
              <a:spcBef>
                <a:spcPts val="600"/>
              </a:spcBef>
              <a:buFont typeface="Wingdings" pitchFamily="2" charset="2"/>
              <a:buChar char="ü"/>
              <a:defRPr/>
            </a:pPr>
            <a:r>
              <a:rPr lang="en-US" sz="2000" dirty="0">
                <a:solidFill>
                  <a:schemeClr val="accent2">
                    <a:lumMod val="75000"/>
                  </a:schemeClr>
                </a:solidFill>
                <a:latin typeface="Cambria" pitchFamily="18" charset="0"/>
              </a:rPr>
              <a:t>Lowest </a:t>
            </a:r>
            <a:r>
              <a:rPr lang="en-US" dirty="0">
                <a:latin typeface="Cambria" pitchFamily="18" charset="0"/>
              </a:rPr>
              <a:t>inflation </a:t>
            </a:r>
            <a:r>
              <a:rPr lang="en-US" dirty="0" smtClean="0">
                <a:latin typeface="Cambria" pitchFamily="18" charset="0"/>
              </a:rPr>
              <a:t>rate (1,4%)</a:t>
            </a:r>
            <a:endParaRPr lang="en-US" dirty="0">
              <a:latin typeface="Cambria" pitchFamily="18" charset="0"/>
            </a:endParaRPr>
          </a:p>
          <a:p>
            <a:pPr marL="800100" lvl="1" indent="-342900" eaLnBrk="0" hangingPunct="0">
              <a:spcBef>
                <a:spcPts val="600"/>
              </a:spcBef>
              <a:buFont typeface="Wingdings" pitchFamily="2" charset="2"/>
              <a:buChar char="ü"/>
              <a:defRPr/>
            </a:pPr>
            <a:r>
              <a:rPr lang="en-US" sz="2000" dirty="0">
                <a:solidFill>
                  <a:schemeClr val="accent2">
                    <a:lumMod val="75000"/>
                  </a:schemeClr>
                </a:solidFill>
                <a:latin typeface="Cambria" pitchFamily="18" charset="0"/>
              </a:rPr>
              <a:t>3</a:t>
            </a:r>
            <a:r>
              <a:rPr lang="en-US" sz="2000" baseline="30000" dirty="0">
                <a:solidFill>
                  <a:schemeClr val="accent2">
                    <a:lumMod val="75000"/>
                  </a:schemeClr>
                </a:solidFill>
                <a:latin typeface="Cambria" pitchFamily="18" charset="0"/>
              </a:rPr>
              <a:t>rd</a:t>
            </a:r>
            <a:r>
              <a:rPr lang="en-US" sz="2000" dirty="0">
                <a:solidFill>
                  <a:schemeClr val="tx2">
                    <a:lumMod val="60000"/>
                    <a:lumOff val="40000"/>
                  </a:schemeClr>
                </a:solidFill>
                <a:latin typeface="Cambria" pitchFamily="18" charset="0"/>
              </a:rPr>
              <a:t> </a:t>
            </a:r>
            <a:r>
              <a:rPr lang="en-US" dirty="0">
                <a:latin typeface="Cambria" pitchFamily="18" charset="0"/>
              </a:rPr>
              <a:t> FDI recipient</a:t>
            </a:r>
          </a:p>
          <a:p>
            <a:pPr marL="355600" lvl="2" indent="-71438" eaLnBrk="0" hangingPunct="0">
              <a:spcBef>
                <a:spcPts val="600"/>
              </a:spcBef>
              <a:buClr>
                <a:srgbClr val="C87528"/>
              </a:buClr>
              <a:defRPr/>
            </a:pPr>
            <a:endParaRPr lang="en-US" dirty="0"/>
          </a:p>
        </p:txBody>
      </p:sp>
      <p:pic>
        <p:nvPicPr>
          <p:cNvPr id="69634" name="Picture 2" descr="http://www.bceao.int/IMG/image/agences/dakar.png"/>
          <p:cNvPicPr>
            <a:picLocks noChangeAspect="1" noChangeArrowheads="1"/>
          </p:cNvPicPr>
          <p:nvPr/>
        </p:nvPicPr>
        <p:blipFill>
          <a:blip r:embed="rId3" cstate="print"/>
          <a:srcRect/>
          <a:stretch>
            <a:fillRect/>
          </a:stretch>
        </p:blipFill>
        <p:spPr bwMode="auto">
          <a:xfrm>
            <a:off x="5203924" y="1412875"/>
            <a:ext cx="2212876" cy="2330897"/>
          </a:xfrm>
          <a:prstGeom prst="rect">
            <a:avLst/>
          </a:prstGeom>
          <a:ln>
            <a:noFill/>
          </a:ln>
          <a:effectLst>
            <a:softEdge rad="112500"/>
          </a:effectLst>
        </p:spPr>
      </p:pic>
      <p:grpSp>
        <p:nvGrpSpPr>
          <p:cNvPr id="3" name="Groupe 9"/>
          <p:cNvGrpSpPr/>
          <p:nvPr/>
        </p:nvGrpSpPr>
        <p:grpSpPr>
          <a:xfrm>
            <a:off x="1204913" y="4184649"/>
            <a:ext cx="2843212" cy="2171493"/>
            <a:chOff x="1204913" y="4451349"/>
            <a:chExt cx="2843212" cy="2171493"/>
          </a:xfrm>
        </p:grpSpPr>
        <p:pic>
          <p:nvPicPr>
            <p:cNvPr id="69636" name="Picture 4" descr="http://www.zum.de/whkmla/histatlas/westafrica/waemu1997senegal.gif"/>
            <p:cNvPicPr>
              <a:picLocks noChangeAspect="1" noChangeArrowheads="1"/>
            </p:cNvPicPr>
            <p:nvPr/>
          </p:nvPicPr>
          <p:blipFill>
            <a:blip r:embed="rId4" cstate="print"/>
            <a:srcRect l="10622" t="12094" r="8568" b="12389"/>
            <a:stretch>
              <a:fillRect/>
            </a:stretch>
          </p:blipFill>
          <p:spPr bwMode="auto">
            <a:xfrm>
              <a:off x="1204913" y="4508499"/>
              <a:ext cx="2843212" cy="2114343"/>
            </a:xfrm>
            <a:prstGeom prst="rect">
              <a:avLst/>
            </a:prstGeom>
            <a:noFill/>
          </p:spPr>
        </p:pic>
        <p:sp>
          <p:nvSpPr>
            <p:cNvPr id="9" name="Rectangle 8"/>
            <p:cNvSpPr/>
            <p:nvPr/>
          </p:nvSpPr>
          <p:spPr>
            <a:xfrm>
              <a:off x="2438400" y="4451349"/>
              <a:ext cx="1028700" cy="234951"/>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grpSp>
      <p:sp>
        <p:nvSpPr>
          <p:cNvPr id="11" name="Rectangle 10"/>
          <p:cNvSpPr/>
          <p:nvPr/>
        </p:nvSpPr>
        <p:spPr>
          <a:xfrm>
            <a:off x="722922" y="0"/>
            <a:ext cx="8577386" cy="769441"/>
          </a:xfrm>
          <a:prstGeom prst="rect">
            <a:avLst/>
          </a:prstGeom>
        </p:spPr>
        <p:txBody>
          <a:bodyPr wrap="square">
            <a:spAutoFit/>
          </a:bodyPr>
          <a:lstStyle/>
          <a:p>
            <a:r>
              <a:rPr lang="en-US" sz="4400" b="1" smtClean="0">
                <a:solidFill>
                  <a:srgbClr val="FF0000"/>
                </a:solidFill>
                <a:cs typeface="Arial" pitchFamily="34" charset="0"/>
              </a:rPr>
              <a:t>Senegal : Dynamic economy</a:t>
            </a:r>
          </a:p>
        </p:txBody>
      </p:sp>
      <p:sp>
        <p:nvSpPr>
          <p:cNvPr id="12" name="Rectangle 11"/>
          <p:cNvSpPr/>
          <p:nvPr/>
        </p:nvSpPr>
        <p:spPr>
          <a:xfrm>
            <a:off x="722922" y="897687"/>
            <a:ext cx="8421078"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3" name="Ellipse 12"/>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par>
                                <p:cTn id="10" presetID="5" presetClass="entr" presetSubtype="10" fill="hold" nodeType="withEffect">
                                  <p:stCondLst>
                                    <p:cond delay="0"/>
                                  </p:stCondLst>
                                  <p:childTnLst>
                                    <p:set>
                                      <p:cBhvr>
                                        <p:cTn id="11" dur="1" fill="hold">
                                          <p:stCondLst>
                                            <p:cond delay="0"/>
                                          </p:stCondLst>
                                        </p:cTn>
                                        <p:tgtEl>
                                          <p:spTgt spid="69634"/>
                                        </p:tgtEl>
                                        <p:attrNameLst>
                                          <p:attrName>style.visibility</p:attrName>
                                        </p:attrNameLst>
                                      </p:cBhvr>
                                      <p:to>
                                        <p:strVal val="visible"/>
                                      </p:to>
                                    </p:set>
                                    <p:animEffect transition="in" filter="checkerboard(across)">
                                      <p:cBhvr>
                                        <p:cTn id="12" dur="500"/>
                                        <p:tgtEl>
                                          <p:spTgt spid="69634"/>
                                        </p:tgtEl>
                                      </p:cBhvr>
                                    </p:animEffect>
                                  </p:childTnLst>
                                </p:cTn>
                              </p:par>
                              <p:par>
                                <p:cTn id="13" presetID="55"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p:cTn id="15" dur="1000" fill="hold"/>
                                        <p:tgtEl>
                                          <p:spTgt spid="7"/>
                                        </p:tgtEl>
                                        <p:attrNameLst>
                                          <p:attrName>ppt_w</p:attrName>
                                        </p:attrNameLst>
                                      </p:cBhvr>
                                      <p:tavLst>
                                        <p:tav tm="0">
                                          <p:val>
                                            <p:strVal val="#ppt_w*0.70"/>
                                          </p:val>
                                        </p:tav>
                                        <p:tav tm="100000">
                                          <p:val>
                                            <p:strVal val="#ppt_w"/>
                                          </p:val>
                                        </p:tav>
                                      </p:tavLst>
                                    </p:anim>
                                    <p:anim calcmode="lin" valueType="num">
                                      <p:cBhvr>
                                        <p:cTn id="16" dur="1000" fill="hold"/>
                                        <p:tgtEl>
                                          <p:spTgt spid="7"/>
                                        </p:tgtEl>
                                        <p:attrNameLst>
                                          <p:attrName>ppt_h</p:attrName>
                                        </p:attrNameLst>
                                      </p:cBhvr>
                                      <p:tavLst>
                                        <p:tav tm="0">
                                          <p:val>
                                            <p:strVal val="#ppt_h"/>
                                          </p:val>
                                        </p:tav>
                                        <p:tav tm="100000">
                                          <p:val>
                                            <p:strVal val="#ppt_h"/>
                                          </p:val>
                                        </p:tav>
                                      </p:tavLst>
                                    </p:anim>
                                    <p:animEffect transition="in" filter="fade">
                                      <p:cBhvr>
                                        <p:cTn id="17" dur="1000"/>
                                        <p:tgtEl>
                                          <p:spTgt spid="7"/>
                                        </p:tgtEl>
                                      </p:cBhvr>
                                    </p:animEffect>
                                  </p:childTnLst>
                                </p:cTn>
                              </p:par>
                              <p:par>
                                <p:cTn id="18" presetID="5" presetClass="entr" presetSubtype="10" fill="hold" nodeType="with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checkerboard(across)">
                                      <p:cBhvr>
                                        <p:cTn id="2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2738" y="1338263"/>
            <a:ext cx="4114800" cy="13700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fr-FR">
              <a:solidFill>
                <a:prstClr val="white"/>
              </a:solidFill>
            </a:endParaRPr>
          </a:p>
        </p:txBody>
      </p:sp>
      <p:sp>
        <p:nvSpPr>
          <p:cNvPr id="7" name="Ellipse 6"/>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
        <p:nvSpPr>
          <p:cNvPr id="9" name="Title 1"/>
          <p:cNvSpPr txBox="1">
            <a:spLocks/>
          </p:cNvSpPr>
          <p:nvPr/>
        </p:nvSpPr>
        <p:spPr>
          <a:xfrm>
            <a:off x="-4259262" y="5226"/>
            <a:ext cx="9144000" cy="885426"/>
          </a:xfrm>
          <a:prstGeom prst="rect">
            <a:avLst/>
          </a:prstGeom>
        </p:spPr>
        <p:txBody>
          <a:bodyPr vert="horz" lIns="91440" tIns="45720" rIns="91440" bIns="45720" rtlCol="0" anchor="ctr">
            <a:normAutofit/>
          </a:bodyPr>
          <a:lstStyle/>
          <a:p>
            <a:pPr lvl="0" algn="ctr">
              <a:spcBef>
                <a:spcPct val="0"/>
              </a:spcBef>
              <a:defRPr/>
            </a:pPr>
            <a:r>
              <a:rPr kumimoji="0" lang="fr-FR" sz="4000" b="1" i="0" u="none" strike="noStrike" kern="1200" cap="none" spc="0" normalizeH="0" baseline="0" noProof="0" dirty="0" smtClean="0">
                <a:ln>
                  <a:noFill/>
                </a:ln>
                <a:solidFill>
                  <a:srgbClr val="800000"/>
                </a:solidFill>
                <a:effectLst/>
                <a:uLnTx/>
                <a:uFillTx/>
                <a:latin typeface="+mj-lt"/>
                <a:ea typeface="+mj-ea"/>
                <a:cs typeface="+mj-cs"/>
              </a:rPr>
              <a:t> </a:t>
            </a:r>
            <a:endParaRPr kumimoji="0" lang="fr-FR" sz="4000" b="0" i="0" u="none" strike="noStrike" kern="1200" cap="none" spc="0" normalizeH="0" baseline="0" noProof="0" dirty="0">
              <a:ln>
                <a:noFill/>
              </a:ln>
              <a:solidFill>
                <a:srgbClr val="800000"/>
              </a:solidFill>
              <a:effectLst/>
              <a:uLnTx/>
              <a:uFillTx/>
              <a:latin typeface="+mj-lt"/>
              <a:ea typeface="+mj-ea"/>
              <a:cs typeface="+mj-cs"/>
            </a:endParaRPr>
          </a:p>
        </p:txBody>
      </p:sp>
      <p:sp>
        <p:nvSpPr>
          <p:cNvPr id="10" name="Rectangle 9"/>
          <p:cNvSpPr/>
          <p:nvPr/>
        </p:nvSpPr>
        <p:spPr>
          <a:xfrm>
            <a:off x="722922" y="0"/>
            <a:ext cx="8577386" cy="1384995"/>
          </a:xfrm>
          <a:prstGeom prst="rect">
            <a:avLst/>
          </a:prstGeom>
        </p:spPr>
        <p:txBody>
          <a:bodyPr wrap="square">
            <a:spAutoFit/>
          </a:bodyPr>
          <a:lstStyle/>
          <a:p>
            <a:r>
              <a:rPr lang="fr-FR" sz="4400" b="1" dirty="0" err="1" smtClean="0">
                <a:solidFill>
                  <a:srgbClr val="FF0000"/>
                </a:solidFill>
                <a:cs typeface="Arial" pitchFamily="34" charset="0"/>
              </a:rPr>
              <a:t>Political</a:t>
            </a:r>
            <a:r>
              <a:rPr lang="fr-FR" sz="4400" b="1" dirty="0" smtClean="0">
                <a:solidFill>
                  <a:srgbClr val="FF0000"/>
                </a:solidFill>
                <a:cs typeface="Arial" pitchFamily="34" charset="0"/>
              </a:rPr>
              <a:t> </a:t>
            </a:r>
            <a:r>
              <a:rPr lang="fr-FR" sz="4400" b="1" dirty="0" err="1" smtClean="0">
                <a:solidFill>
                  <a:srgbClr val="FF0000"/>
                </a:solidFill>
                <a:cs typeface="Arial" pitchFamily="34" charset="0"/>
              </a:rPr>
              <a:t>Stability</a:t>
            </a:r>
            <a:endParaRPr lang="fr-FR" sz="4400" b="1" dirty="0" smtClean="0">
              <a:solidFill>
                <a:srgbClr val="FF0000"/>
              </a:solidFill>
              <a:cs typeface="Arial" pitchFamily="34" charset="0"/>
            </a:endParaRPr>
          </a:p>
          <a:p>
            <a:endParaRPr lang="fr-FR" sz="4000" b="1" dirty="0" smtClean="0">
              <a:solidFill>
                <a:srgbClr val="AB0000"/>
              </a:solidFill>
              <a:cs typeface="Arial" pitchFamily="34" charset="0"/>
            </a:endParaRPr>
          </a:p>
        </p:txBody>
      </p:sp>
      <p:sp>
        <p:nvSpPr>
          <p:cNvPr id="12" name="Rectangle 11"/>
          <p:cNvSpPr/>
          <p:nvPr/>
        </p:nvSpPr>
        <p:spPr>
          <a:xfrm>
            <a:off x="722922" y="780459"/>
            <a:ext cx="6036653"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pic>
        <p:nvPicPr>
          <p:cNvPr id="13" name="Picture 3"/>
          <p:cNvPicPr>
            <a:picLocks noChangeAspect="1" noChangeArrowheads="1"/>
          </p:cNvPicPr>
          <p:nvPr/>
        </p:nvPicPr>
        <p:blipFill>
          <a:blip r:embed="rId3" cstate="print"/>
          <a:srcRect/>
          <a:stretch>
            <a:fillRect/>
          </a:stretch>
        </p:blipFill>
        <p:spPr bwMode="auto">
          <a:xfrm>
            <a:off x="478485" y="1627188"/>
            <a:ext cx="8414690" cy="4605337"/>
          </a:xfrm>
          <a:prstGeom prst="rect">
            <a:avLst/>
          </a:prstGeom>
          <a:noFill/>
          <a:ln w="9525">
            <a:noFill/>
            <a:miter lim="800000"/>
            <a:headEnd/>
            <a:tailEnd/>
          </a:ln>
        </p:spPr>
      </p:pic>
    </p:spTree>
    <p:extLst>
      <p:ext uri="{BB962C8B-B14F-4D97-AF65-F5344CB8AC3E}">
        <p14:creationId xmlns="" xmlns:p14="http://schemas.microsoft.com/office/powerpoint/2010/main" val="1937831282"/>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236482" y="1951025"/>
            <a:ext cx="5171090" cy="2677656"/>
          </a:xfrm>
          <a:prstGeom prst="rect">
            <a:avLst/>
          </a:prstGeom>
          <a:noFill/>
        </p:spPr>
        <p:txBody>
          <a:bodyPr wrap="square" rtlCol="0">
            <a:spAutoFit/>
          </a:bodyPr>
          <a:lstStyle/>
          <a:p>
            <a:pPr marL="285750" indent="-285750">
              <a:buFont typeface="Arial"/>
              <a:buChar char="•"/>
            </a:pPr>
            <a:r>
              <a:rPr lang="fr-FR" sz="2400" b="1" dirty="0" smtClean="0">
                <a:solidFill>
                  <a:srgbClr val="AB0000"/>
                </a:solidFill>
              </a:rPr>
              <a:t>700 km </a:t>
            </a:r>
            <a:r>
              <a:rPr lang="fr-FR" sz="2400" dirty="0" smtClean="0"/>
              <a:t>of  </a:t>
            </a:r>
            <a:r>
              <a:rPr lang="fr-FR" sz="2400" dirty="0" err="1" smtClean="0"/>
              <a:t>waterfront</a:t>
            </a:r>
            <a:endParaRPr lang="fr-FR" sz="2400" dirty="0" smtClean="0"/>
          </a:p>
          <a:p>
            <a:pPr marL="285750" indent="-285750">
              <a:buFont typeface="Arial"/>
              <a:buChar char="•"/>
            </a:pPr>
            <a:r>
              <a:rPr lang="fr-FR" sz="2400" b="1" dirty="0" smtClean="0">
                <a:solidFill>
                  <a:srgbClr val="AB0000"/>
                </a:solidFill>
              </a:rPr>
              <a:t>500 km </a:t>
            </a:r>
            <a:r>
              <a:rPr lang="fr-FR" sz="2400" dirty="0" smtClean="0">
                <a:solidFill>
                  <a:srgbClr val="000000"/>
                </a:solidFill>
              </a:rPr>
              <a:t>of</a:t>
            </a:r>
            <a:r>
              <a:rPr lang="fr-FR" sz="2400" b="1" dirty="0" smtClean="0">
                <a:solidFill>
                  <a:srgbClr val="AB0000"/>
                </a:solidFill>
              </a:rPr>
              <a:t> </a:t>
            </a:r>
            <a:r>
              <a:rPr lang="fr-FR" sz="2400" dirty="0" err="1" smtClean="0"/>
              <a:t>sandy</a:t>
            </a:r>
            <a:r>
              <a:rPr lang="fr-FR" sz="2400" dirty="0" smtClean="0"/>
              <a:t> </a:t>
            </a:r>
            <a:r>
              <a:rPr lang="fr-FR" sz="2400" dirty="0" err="1" smtClean="0"/>
              <a:t>beaches</a:t>
            </a:r>
            <a:endParaRPr lang="fr-FR" sz="2400" dirty="0" smtClean="0"/>
          </a:p>
          <a:p>
            <a:endParaRPr lang="fr-FR" sz="2400" dirty="0" smtClean="0"/>
          </a:p>
          <a:p>
            <a:pPr marL="285750" indent="-285750">
              <a:buFont typeface="Arial"/>
              <a:buChar char="•"/>
            </a:pPr>
            <a:r>
              <a:rPr lang="fr-FR" sz="2400" b="1" dirty="0" smtClean="0">
                <a:solidFill>
                  <a:srgbClr val="AB0000"/>
                </a:solidFill>
              </a:rPr>
              <a:t>3000 </a:t>
            </a:r>
            <a:r>
              <a:rPr lang="fr-FR" sz="2400" b="1" dirty="0" err="1" smtClean="0">
                <a:solidFill>
                  <a:srgbClr val="AB0000"/>
                </a:solidFill>
              </a:rPr>
              <a:t>hours</a:t>
            </a:r>
            <a:r>
              <a:rPr lang="fr-FR" sz="2400" b="1" dirty="0" smtClean="0">
                <a:solidFill>
                  <a:srgbClr val="AB0000"/>
                </a:solidFill>
              </a:rPr>
              <a:t>  </a:t>
            </a:r>
            <a:r>
              <a:rPr lang="fr-FR" sz="2400" dirty="0" smtClean="0"/>
              <a:t>of </a:t>
            </a:r>
            <a:r>
              <a:rPr lang="fr-FR" sz="2400" dirty="0" err="1" smtClean="0"/>
              <a:t>sunshine</a:t>
            </a:r>
            <a:r>
              <a:rPr lang="fr-FR" sz="2400" dirty="0" smtClean="0"/>
              <a:t> per </a:t>
            </a:r>
            <a:r>
              <a:rPr lang="fr-FR" sz="2400" dirty="0" err="1" smtClean="0"/>
              <a:t>year</a:t>
            </a:r>
            <a:r>
              <a:rPr lang="fr-FR" sz="2400" dirty="0" smtClean="0"/>
              <a:t> and </a:t>
            </a:r>
            <a:r>
              <a:rPr lang="fr-FR" sz="2400" dirty="0" err="1" smtClean="0"/>
              <a:t>average</a:t>
            </a:r>
            <a:r>
              <a:rPr lang="fr-FR" sz="2400" dirty="0" smtClean="0"/>
              <a:t> </a:t>
            </a:r>
            <a:r>
              <a:rPr lang="fr-FR" sz="2400" dirty="0" err="1" smtClean="0"/>
              <a:t>Temperature</a:t>
            </a:r>
            <a:r>
              <a:rPr lang="fr-FR" sz="2400" dirty="0" smtClean="0"/>
              <a:t> of </a:t>
            </a:r>
            <a:r>
              <a:rPr lang="fr-FR" sz="2400" b="1" dirty="0" smtClean="0">
                <a:solidFill>
                  <a:srgbClr val="AB0000"/>
                </a:solidFill>
              </a:rPr>
              <a:t>25°</a:t>
            </a:r>
            <a:r>
              <a:rPr lang="fr-FR" sz="2400" dirty="0" smtClean="0"/>
              <a:t> </a:t>
            </a:r>
          </a:p>
          <a:p>
            <a:endParaRPr lang="fr-FR" sz="2400" dirty="0" smtClean="0"/>
          </a:p>
          <a:p>
            <a:pPr marL="285750" indent="-285750">
              <a:buFont typeface="Arial"/>
              <a:buChar char="•"/>
            </a:pPr>
            <a:r>
              <a:rPr lang="fr-FR" sz="2400" dirty="0" smtClean="0"/>
              <a:t>Good </a:t>
            </a:r>
            <a:r>
              <a:rPr lang="fr-FR" sz="2400" dirty="0" err="1" smtClean="0"/>
              <a:t>cllimate</a:t>
            </a:r>
            <a:r>
              <a:rPr lang="fr-FR" sz="2400" dirty="0" smtClean="0"/>
              <a:t> condition for </a:t>
            </a:r>
            <a:r>
              <a:rPr lang="fr-FR" sz="2400" b="1" dirty="0" err="1" smtClean="0">
                <a:solidFill>
                  <a:srgbClr val="AB0000"/>
                </a:solidFill>
              </a:rPr>
              <a:t>tourism</a:t>
            </a:r>
            <a:endParaRPr lang="fr-FR" sz="2400" dirty="0"/>
          </a:p>
        </p:txBody>
      </p:sp>
      <p:pic>
        <p:nvPicPr>
          <p:cNvPr id="7" name="Picture 2"/>
          <p:cNvPicPr>
            <a:picLocks noChangeAspect="1" noChangeArrowheads="1"/>
          </p:cNvPicPr>
          <p:nvPr/>
        </p:nvPicPr>
        <p:blipFill>
          <a:blip r:embed="rId3" cstate="print"/>
          <a:srcRect l="13379" t="13663" r="13735" b="15116"/>
          <a:stretch>
            <a:fillRect/>
          </a:stretch>
        </p:blipFill>
        <p:spPr bwMode="auto">
          <a:xfrm>
            <a:off x="6192225" y="1240016"/>
            <a:ext cx="2577044" cy="1422017"/>
          </a:xfrm>
          <a:prstGeom prst="rect">
            <a:avLst/>
          </a:prstGeom>
          <a:noFill/>
          <a:ln w="9525">
            <a:noFill/>
            <a:miter lim="800000"/>
            <a:headEnd/>
            <a:tailEnd/>
          </a:ln>
        </p:spPr>
      </p:pic>
      <p:pic>
        <p:nvPicPr>
          <p:cNvPr id="9" name="Picture 5"/>
          <p:cNvPicPr>
            <a:picLocks noChangeAspect="1" noChangeArrowheads="1"/>
          </p:cNvPicPr>
          <p:nvPr/>
        </p:nvPicPr>
        <p:blipFill>
          <a:blip r:embed="rId4" cstate="print"/>
          <a:srcRect l="11949" t="12654" r="12610" b="18916"/>
          <a:stretch>
            <a:fillRect/>
          </a:stretch>
        </p:blipFill>
        <p:spPr bwMode="auto">
          <a:xfrm>
            <a:off x="6114439" y="3011325"/>
            <a:ext cx="2627651" cy="1345951"/>
          </a:xfrm>
          <a:prstGeom prst="rect">
            <a:avLst/>
          </a:prstGeom>
          <a:noFill/>
          <a:ln w="9525">
            <a:noFill/>
            <a:miter lim="800000"/>
            <a:headEnd/>
            <a:tailEnd/>
          </a:ln>
        </p:spPr>
      </p:pic>
      <p:pic>
        <p:nvPicPr>
          <p:cNvPr id="10" name="Picture 6"/>
          <p:cNvPicPr>
            <a:picLocks noChangeAspect="1" noChangeArrowheads="1"/>
          </p:cNvPicPr>
          <p:nvPr/>
        </p:nvPicPr>
        <p:blipFill>
          <a:blip r:embed="rId5" cstate="print"/>
          <a:srcRect l="11925" t="10701" r="12674" b="13542"/>
          <a:stretch>
            <a:fillRect/>
          </a:stretch>
        </p:blipFill>
        <p:spPr bwMode="auto">
          <a:xfrm flipH="1">
            <a:off x="6114439" y="4572000"/>
            <a:ext cx="2750885" cy="1560786"/>
          </a:xfrm>
          <a:prstGeom prst="rect">
            <a:avLst/>
          </a:prstGeom>
          <a:noFill/>
          <a:ln w="9525">
            <a:noFill/>
            <a:miter lim="800000"/>
            <a:headEnd/>
            <a:tailEnd/>
          </a:ln>
        </p:spPr>
      </p:pic>
      <p:sp>
        <p:nvSpPr>
          <p:cNvPr id="11" name="Rectangle 10"/>
          <p:cNvSpPr/>
          <p:nvPr/>
        </p:nvSpPr>
        <p:spPr>
          <a:xfrm>
            <a:off x="722922" y="0"/>
            <a:ext cx="8577386" cy="769441"/>
          </a:xfrm>
          <a:prstGeom prst="rect">
            <a:avLst/>
          </a:prstGeom>
        </p:spPr>
        <p:txBody>
          <a:bodyPr wrap="square">
            <a:spAutoFit/>
          </a:bodyPr>
          <a:lstStyle/>
          <a:p>
            <a:r>
              <a:rPr lang="fr-FR" sz="4400" b="1" dirty="0" err="1" smtClean="0">
                <a:solidFill>
                  <a:srgbClr val="FF0000"/>
                </a:solidFill>
                <a:cs typeface="Arial" pitchFamily="34" charset="0"/>
              </a:rPr>
              <a:t>Climate</a:t>
            </a:r>
            <a:r>
              <a:rPr lang="fr-FR" sz="4400" b="1" dirty="0" smtClean="0">
                <a:solidFill>
                  <a:srgbClr val="FF0000"/>
                </a:solidFill>
                <a:cs typeface="Arial" pitchFamily="34" charset="0"/>
              </a:rPr>
              <a:t> Conditions</a:t>
            </a:r>
          </a:p>
        </p:txBody>
      </p:sp>
      <p:sp>
        <p:nvSpPr>
          <p:cNvPr id="12" name="Rectangle 11"/>
          <p:cNvSpPr/>
          <p:nvPr/>
        </p:nvSpPr>
        <p:spPr>
          <a:xfrm>
            <a:off x="722922" y="897687"/>
            <a:ext cx="8421078"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3" name="Ellipse 12"/>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extLst>
      <p:ext uri="{BB962C8B-B14F-4D97-AF65-F5344CB8AC3E}">
        <p14:creationId xmlns="" xmlns:p14="http://schemas.microsoft.com/office/powerpoint/2010/main" val="95967989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ext Box 2"/>
          <p:cNvSpPr txBox="1">
            <a:spLocks noChangeArrowheads="1"/>
          </p:cNvSpPr>
          <p:nvPr/>
        </p:nvSpPr>
        <p:spPr bwMode="auto">
          <a:xfrm>
            <a:off x="971550" y="404813"/>
            <a:ext cx="5472113" cy="457200"/>
          </a:xfrm>
          <a:prstGeom prst="rect">
            <a:avLst/>
          </a:prstGeom>
          <a:noFill/>
          <a:ln w="9525">
            <a:noFill/>
            <a:miter lim="800000"/>
            <a:headEnd/>
            <a:tailEnd/>
          </a:ln>
        </p:spPr>
        <p:txBody>
          <a:bodyPr>
            <a:spAutoFit/>
          </a:bodyPr>
          <a:lstStyle/>
          <a:p>
            <a:pPr>
              <a:spcBef>
                <a:spcPct val="50000"/>
              </a:spcBef>
            </a:pPr>
            <a:endParaRPr lang="fr-FR"/>
          </a:p>
        </p:txBody>
      </p:sp>
      <p:pic>
        <p:nvPicPr>
          <p:cNvPr id="24583" name="Picture 2" descr="E:\GABARIT014.tif"/>
          <p:cNvPicPr>
            <a:picLocks noChangeAspect="1" noChangeArrowheads="1"/>
          </p:cNvPicPr>
          <p:nvPr/>
        </p:nvPicPr>
        <p:blipFill>
          <a:blip r:embed="rId3" cstate="print"/>
          <a:srcRect t="10532" b="13287"/>
          <a:stretch>
            <a:fillRect/>
          </a:stretch>
        </p:blipFill>
        <p:spPr bwMode="auto">
          <a:xfrm>
            <a:off x="643909" y="4293096"/>
            <a:ext cx="1391169" cy="1039188"/>
          </a:xfrm>
          <a:prstGeom prst="rect">
            <a:avLst/>
          </a:prstGeom>
          <a:ln>
            <a:noFill/>
          </a:ln>
          <a:effectLst>
            <a:softEdge rad="112500"/>
          </a:effectLst>
        </p:spPr>
      </p:pic>
      <p:pic>
        <p:nvPicPr>
          <p:cNvPr id="8" name="Picture 5" descr="PA280376"/>
          <p:cNvPicPr>
            <a:picLocks noChangeAspect="1" noChangeArrowheads="1"/>
          </p:cNvPicPr>
          <p:nvPr/>
        </p:nvPicPr>
        <p:blipFill>
          <a:blip r:embed="rId4" cstate="print"/>
          <a:srcRect/>
          <a:stretch>
            <a:fillRect/>
          </a:stretch>
        </p:blipFill>
        <p:spPr bwMode="auto">
          <a:xfrm>
            <a:off x="611561" y="3247453"/>
            <a:ext cx="1368152" cy="901627"/>
          </a:xfrm>
          <a:prstGeom prst="rect">
            <a:avLst/>
          </a:prstGeom>
          <a:ln>
            <a:noFill/>
          </a:ln>
          <a:effectLst>
            <a:softEdge rad="112500"/>
          </a:effectLst>
        </p:spPr>
      </p:pic>
      <p:pic>
        <p:nvPicPr>
          <p:cNvPr id="4098" name="Picture 2" descr="http://www.cic.si/fiberGlobe.jpg"/>
          <p:cNvPicPr>
            <a:picLocks noChangeAspect="1" noChangeArrowheads="1"/>
          </p:cNvPicPr>
          <p:nvPr/>
        </p:nvPicPr>
        <p:blipFill>
          <a:blip r:embed="rId5" cstate="print"/>
          <a:srcRect/>
          <a:stretch>
            <a:fillRect/>
          </a:stretch>
        </p:blipFill>
        <p:spPr bwMode="auto">
          <a:xfrm>
            <a:off x="683568" y="5445224"/>
            <a:ext cx="1358188" cy="1071999"/>
          </a:xfrm>
          <a:prstGeom prst="rect">
            <a:avLst/>
          </a:prstGeom>
          <a:ln>
            <a:noFill/>
          </a:ln>
          <a:effectLst>
            <a:softEdge rad="112500"/>
          </a:effectLst>
        </p:spPr>
      </p:pic>
      <p:sp>
        <p:nvSpPr>
          <p:cNvPr id="15" name="Rectangle 14"/>
          <p:cNvSpPr/>
          <p:nvPr/>
        </p:nvSpPr>
        <p:spPr>
          <a:xfrm>
            <a:off x="2160239" y="5539268"/>
            <a:ext cx="6588225" cy="830997"/>
          </a:xfrm>
          <a:prstGeom prst="rect">
            <a:avLst/>
          </a:prstGeom>
        </p:spPr>
        <p:txBody>
          <a:bodyPr wrap="square">
            <a:spAutoFit/>
          </a:bodyPr>
          <a:lstStyle/>
          <a:p>
            <a:r>
              <a:rPr lang="en-US" sz="2400" b="1" dirty="0" smtClean="0">
                <a:solidFill>
                  <a:srgbClr val="C00000"/>
                </a:solidFill>
                <a:latin typeface="Cambria" pitchFamily="18" charset="0"/>
                <a:cs typeface="Arial" charset="0"/>
              </a:rPr>
              <a:t>Telecommunication :</a:t>
            </a:r>
            <a:r>
              <a:rPr lang="en-US" sz="2400" b="1" dirty="0" smtClean="0">
                <a:latin typeface="Cambria" pitchFamily="18" charset="0"/>
                <a:cs typeface="Arial" charset="0"/>
              </a:rPr>
              <a:t> </a:t>
            </a:r>
            <a:r>
              <a:rPr lang="en-US" sz="2400" dirty="0" smtClean="0">
                <a:latin typeface="Cambria" pitchFamily="18" charset="0"/>
                <a:cs typeface="Arial" charset="0"/>
              </a:rPr>
              <a:t>modern and reliable network </a:t>
            </a:r>
            <a:endParaRPr lang="fr-FR" sz="2400" dirty="0"/>
          </a:p>
        </p:txBody>
      </p:sp>
      <p:sp>
        <p:nvSpPr>
          <p:cNvPr id="16" name="Rectangle 15"/>
          <p:cNvSpPr/>
          <p:nvPr/>
        </p:nvSpPr>
        <p:spPr>
          <a:xfrm>
            <a:off x="2160239" y="4398203"/>
            <a:ext cx="6732241" cy="830997"/>
          </a:xfrm>
          <a:prstGeom prst="rect">
            <a:avLst/>
          </a:prstGeom>
        </p:spPr>
        <p:txBody>
          <a:bodyPr wrap="square">
            <a:spAutoFit/>
          </a:bodyPr>
          <a:lstStyle/>
          <a:p>
            <a:pPr marL="23813" lvl="1" indent="-23813">
              <a:spcBef>
                <a:spcPct val="0"/>
              </a:spcBef>
              <a:buSzPct val="80000"/>
            </a:pPr>
            <a:r>
              <a:rPr lang="en-US" sz="2400" b="1" dirty="0" smtClean="0">
                <a:solidFill>
                  <a:srgbClr val="C00000"/>
                </a:solidFill>
                <a:latin typeface="Cambria" pitchFamily="18" charset="0"/>
                <a:cs typeface="Arial" charset="0"/>
              </a:rPr>
              <a:t>Roads &amp; Train :</a:t>
            </a:r>
            <a:r>
              <a:rPr lang="en-US" sz="2400" b="1" dirty="0" smtClean="0">
                <a:latin typeface="Cambria" pitchFamily="18" charset="0"/>
                <a:cs typeface="Arial" charset="0"/>
              </a:rPr>
              <a:t> </a:t>
            </a:r>
            <a:r>
              <a:rPr lang="en-US" sz="2400" dirty="0" smtClean="0">
                <a:latin typeface="Cambria" pitchFamily="18" charset="0"/>
                <a:cs typeface="Arial" charset="0"/>
              </a:rPr>
              <a:t>new and upgraded Infrastructures</a:t>
            </a:r>
          </a:p>
        </p:txBody>
      </p:sp>
      <p:sp>
        <p:nvSpPr>
          <p:cNvPr id="18" name="Rectangle 17"/>
          <p:cNvSpPr/>
          <p:nvPr/>
        </p:nvSpPr>
        <p:spPr>
          <a:xfrm>
            <a:off x="2160239" y="3460107"/>
            <a:ext cx="6318433" cy="461665"/>
          </a:xfrm>
          <a:prstGeom prst="rect">
            <a:avLst/>
          </a:prstGeom>
        </p:spPr>
        <p:txBody>
          <a:bodyPr wrap="square">
            <a:spAutoFit/>
          </a:bodyPr>
          <a:lstStyle/>
          <a:p>
            <a:pPr marL="23813" lvl="1" indent="-23813">
              <a:spcBef>
                <a:spcPct val="0"/>
              </a:spcBef>
              <a:buSzPct val="80000"/>
            </a:pPr>
            <a:r>
              <a:rPr lang="en-US" sz="2400" b="1" dirty="0" smtClean="0">
                <a:solidFill>
                  <a:srgbClr val="C00000"/>
                </a:solidFill>
                <a:latin typeface="Cambria" pitchFamily="18" charset="0"/>
                <a:cs typeface="Arial" charset="0"/>
              </a:rPr>
              <a:t>Port :</a:t>
            </a:r>
            <a:r>
              <a:rPr lang="en-US" sz="2400" b="1" dirty="0" smtClean="0">
                <a:latin typeface="Cambria" pitchFamily="18" charset="0"/>
                <a:cs typeface="Arial" charset="0"/>
              </a:rPr>
              <a:t> </a:t>
            </a:r>
            <a:r>
              <a:rPr lang="en-US" sz="2400" dirty="0" smtClean="0">
                <a:latin typeface="Cambria" pitchFamily="18" charset="0"/>
                <a:cs typeface="Arial" charset="0"/>
              </a:rPr>
              <a:t>modern  and expanding</a:t>
            </a:r>
          </a:p>
        </p:txBody>
      </p:sp>
      <p:sp>
        <p:nvSpPr>
          <p:cNvPr id="19" name="Rectangle 18"/>
          <p:cNvSpPr/>
          <p:nvPr/>
        </p:nvSpPr>
        <p:spPr>
          <a:xfrm>
            <a:off x="2160240" y="1476014"/>
            <a:ext cx="5796136" cy="1661993"/>
          </a:xfrm>
          <a:prstGeom prst="rect">
            <a:avLst/>
          </a:prstGeom>
        </p:spPr>
        <p:txBody>
          <a:bodyPr wrap="square">
            <a:spAutoFit/>
          </a:bodyPr>
          <a:lstStyle/>
          <a:p>
            <a:pPr marL="0" lvl="1" defTabSz="265113">
              <a:spcBef>
                <a:spcPct val="0"/>
              </a:spcBef>
              <a:spcAft>
                <a:spcPts val="1200"/>
              </a:spcAft>
              <a:buSzPct val="80000"/>
            </a:pPr>
            <a:r>
              <a:rPr lang="en-GB" sz="2200" b="1" dirty="0" smtClean="0">
                <a:solidFill>
                  <a:srgbClr val="C00000"/>
                </a:solidFill>
                <a:latin typeface="Cambria" pitchFamily="18" charset="0"/>
                <a:cs typeface="Arial" charset="0"/>
              </a:rPr>
              <a:t>New Airport </a:t>
            </a:r>
            <a:r>
              <a:rPr lang="en-GB" sz="2200" dirty="0" smtClean="0">
                <a:latin typeface="Cambria" pitchFamily="18" charset="0"/>
                <a:cs typeface="Arial" charset="0"/>
              </a:rPr>
              <a:t>at DIASS (45 km from Dakar)  </a:t>
            </a:r>
            <a:r>
              <a:rPr lang="en-GB" sz="2200" b="1" dirty="0" smtClean="0">
                <a:latin typeface="Cambria" pitchFamily="18" charset="0"/>
                <a:cs typeface="Arial" charset="0"/>
              </a:rPr>
              <a:t>accessible via Highway and </a:t>
            </a:r>
            <a:r>
              <a:rPr lang="en-GB" sz="2400" b="1" dirty="0">
                <a:solidFill>
                  <a:srgbClr val="C00000"/>
                </a:solidFill>
                <a:latin typeface="Cambria" pitchFamily="18" charset="0"/>
                <a:cs typeface="Arial" charset="0"/>
              </a:rPr>
              <a:t>new project of express train </a:t>
            </a:r>
          </a:p>
          <a:p>
            <a:pPr marL="0" lvl="1" defTabSz="265113">
              <a:spcBef>
                <a:spcPct val="0"/>
              </a:spcBef>
              <a:spcAft>
                <a:spcPts val="1200"/>
              </a:spcAft>
              <a:buSzPct val="80000"/>
            </a:pPr>
            <a:r>
              <a:rPr lang="en-GB" sz="2200" dirty="0">
                <a:latin typeface="Cambria" pitchFamily="18" charset="0"/>
                <a:cs typeface="Arial" charset="0"/>
              </a:rPr>
              <a:t>F</a:t>
            </a:r>
            <a:r>
              <a:rPr lang="en-GB" sz="2200" dirty="0" smtClean="0">
                <a:latin typeface="Cambria" pitchFamily="18" charset="0"/>
                <a:cs typeface="Arial" charset="0"/>
              </a:rPr>
              <a:t>ive (5) other international Airports </a:t>
            </a:r>
          </a:p>
        </p:txBody>
      </p:sp>
      <p:pic>
        <p:nvPicPr>
          <p:cNvPr id="20" name="Picture 3"/>
          <p:cNvPicPr>
            <a:picLocks noChangeAspect="1" noChangeArrowheads="1"/>
          </p:cNvPicPr>
          <p:nvPr/>
        </p:nvPicPr>
        <p:blipFill>
          <a:blip r:embed="rId6" cstate="print"/>
          <a:srcRect l="568" t="13086" r="80008" b="64654"/>
          <a:stretch>
            <a:fillRect/>
          </a:stretch>
        </p:blipFill>
        <p:spPr bwMode="auto">
          <a:xfrm>
            <a:off x="601321" y="1665288"/>
            <a:ext cx="1278772" cy="827608"/>
          </a:xfrm>
          <a:prstGeom prst="rect">
            <a:avLst/>
          </a:prstGeom>
          <a:noFill/>
          <a:ln w="9525">
            <a:noFill/>
            <a:miter lim="800000"/>
            <a:headEnd/>
            <a:tailEnd/>
          </a:ln>
        </p:spPr>
      </p:pic>
      <p:sp>
        <p:nvSpPr>
          <p:cNvPr id="12" name="Rectangle 11"/>
          <p:cNvSpPr/>
          <p:nvPr/>
        </p:nvSpPr>
        <p:spPr>
          <a:xfrm>
            <a:off x="722922" y="189192"/>
            <a:ext cx="8577386" cy="584775"/>
          </a:xfrm>
          <a:prstGeom prst="rect">
            <a:avLst/>
          </a:prstGeom>
        </p:spPr>
        <p:txBody>
          <a:bodyPr wrap="square">
            <a:spAutoFit/>
          </a:bodyPr>
          <a:lstStyle/>
          <a:p>
            <a:r>
              <a:rPr lang="en-US" sz="3200" b="1" dirty="0" smtClean="0">
                <a:solidFill>
                  <a:srgbClr val="FF0000"/>
                </a:solidFill>
                <a:cs typeface="Arial" pitchFamily="34" charset="0"/>
              </a:rPr>
              <a:t>Good Access and Mobility Infrastructures</a:t>
            </a:r>
          </a:p>
        </p:txBody>
      </p:sp>
      <p:sp>
        <p:nvSpPr>
          <p:cNvPr id="13" name="Rectangle 12"/>
          <p:cNvSpPr/>
          <p:nvPr/>
        </p:nvSpPr>
        <p:spPr>
          <a:xfrm>
            <a:off x="722922" y="897687"/>
            <a:ext cx="8421078" cy="45719"/>
          </a:xfrm>
          <a:prstGeom prst="rect">
            <a:avLst/>
          </a:prstGeom>
          <a:solidFill>
            <a:srgbClr val="800000"/>
          </a:solidFill>
          <a:ln>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000000"/>
              </a:solidFill>
            </a:endParaRPr>
          </a:p>
        </p:txBody>
      </p:sp>
      <p:sp>
        <p:nvSpPr>
          <p:cNvPr id="14" name="Ellipse 13"/>
          <p:cNvSpPr/>
          <p:nvPr/>
        </p:nvSpPr>
        <p:spPr>
          <a:xfrm rot="20620671">
            <a:off x="8439645" y="143646"/>
            <a:ext cx="528403" cy="562888"/>
          </a:xfrm>
          <a:prstGeom prst="ellipse">
            <a:avLst/>
          </a:prstGeom>
          <a:solidFill>
            <a:srgbClr val="AB0000"/>
          </a:solidFill>
          <a:ln>
            <a:solidFill>
              <a:srgbClr val="FF0000"/>
            </a:solidFill>
          </a:ln>
          <a:effectLst>
            <a:glow rad="101600">
              <a:schemeClr val="accent6">
                <a:satMod val="175000"/>
                <a:alpha val="40000"/>
              </a:schemeClr>
            </a:glow>
            <a:outerShdw blurRad="225425" dist="50800" dir="5220000" algn="ctr">
              <a:srgbClr val="000000">
                <a:alpha val="33000"/>
              </a:srgbClr>
            </a:outerShdw>
            <a:reflection blurRad="6350" stA="50000" endA="300" endPos="90000" dir="5400000" sy="-100000" algn="bl" rotWithShape="0"/>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1">
            <a:schemeClr val="accent1"/>
          </a:lnRef>
          <a:fillRef idx="3">
            <a:schemeClr val="accent1"/>
          </a:fillRef>
          <a:effectRef idx="2">
            <a:schemeClr val="accent1"/>
          </a:effectRef>
          <a:fontRef idx="minor">
            <a:schemeClr val="lt1"/>
          </a:fontRef>
        </p:style>
        <p:txBody>
          <a:bodyPr lIns="0" tIns="36000" rIns="36000" bIns="36000" rtlCol="0" anchor="ctr" anchorCtr="0"/>
          <a:lstStyle/>
          <a:p>
            <a:pPr marL="361950" indent="-190500">
              <a:lnSpc>
                <a:spcPct val="150000"/>
              </a:lnSpc>
              <a:spcBef>
                <a:spcPts val="600"/>
              </a:spcBef>
              <a:spcAft>
                <a:spcPts val="600"/>
              </a:spcAft>
            </a:pPr>
            <a:endParaRPr lang="fr-FR" sz="1100" b="1" dirty="0" smtClean="0">
              <a:solidFill>
                <a:srgbClr val="C00000"/>
              </a:solidFill>
              <a:latin typeface="Arial"/>
              <a:cs typeface="Arial"/>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anim calcmode="lin" valueType="num">
                                      <p:cBhvr>
                                        <p:cTn id="20" dur="1000" fill="hold"/>
                                        <p:tgtEl>
                                          <p:spTgt spid="8"/>
                                        </p:tgtEl>
                                        <p:attrNameLst>
                                          <p:attrName>ppt_x</p:attrName>
                                        </p:attrNameLst>
                                      </p:cBhvr>
                                      <p:tavLst>
                                        <p:tav tm="0">
                                          <p:val>
                                            <p:strVal val="#ppt_x"/>
                                          </p:val>
                                        </p:tav>
                                        <p:tav tm="100000">
                                          <p:val>
                                            <p:strVal val="#ppt_x"/>
                                          </p:val>
                                        </p:tav>
                                      </p:tavLst>
                                    </p:anim>
                                    <p:anim calcmode="lin" valueType="num">
                                      <p:cBhvr>
                                        <p:cTn id="21" dur="1000" fill="hold"/>
                                        <p:tgtEl>
                                          <p:spTgt spid="8"/>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1000"/>
                                        <p:tgtEl>
                                          <p:spTgt spid="18"/>
                                        </p:tgtEl>
                                      </p:cBhvr>
                                    </p:animEffect>
                                    <p:anim calcmode="lin" valueType="num">
                                      <p:cBhvr>
                                        <p:cTn id="25" dur="1000" fill="hold"/>
                                        <p:tgtEl>
                                          <p:spTgt spid="18"/>
                                        </p:tgtEl>
                                        <p:attrNameLst>
                                          <p:attrName>ppt_x</p:attrName>
                                        </p:attrNameLst>
                                      </p:cBhvr>
                                      <p:tavLst>
                                        <p:tav tm="0">
                                          <p:val>
                                            <p:strVal val="#ppt_x"/>
                                          </p:val>
                                        </p:tav>
                                        <p:tav tm="100000">
                                          <p:val>
                                            <p:strVal val="#ppt_x"/>
                                          </p:val>
                                        </p:tav>
                                      </p:tavLst>
                                    </p:anim>
                                    <p:anim calcmode="lin" valueType="num">
                                      <p:cBhvr>
                                        <p:cTn id="26"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24583"/>
                                        </p:tgtEl>
                                        <p:attrNameLst>
                                          <p:attrName>style.visibility</p:attrName>
                                        </p:attrNameLst>
                                      </p:cBhvr>
                                      <p:to>
                                        <p:strVal val="visible"/>
                                      </p:to>
                                    </p:set>
                                    <p:animEffect transition="in" filter="fade">
                                      <p:cBhvr>
                                        <p:cTn id="31" dur="1000"/>
                                        <p:tgtEl>
                                          <p:spTgt spid="24583"/>
                                        </p:tgtEl>
                                      </p:cBhvr>
                                    </p:animEffect>
                                    <p:anim calcmode="lin" valueType="num">
                                      <p:cBhvr>
                                        <p:cTn id="32" dur="1000" fill="hold"/>
                                        <p:tgtEl>
                                          <p:spTgt spid="24583"/>
                                        </p:tgtEl>
                                        <p:attrNameLst>
                                          <p:attrName>ppt_x</p:attrName>
                                        </p:attrNameLst>
                                      </p:cBhvr>
                                      <p:tavLst>
                                        <p:tav tm="0">
                                          <p:val>
                                            <p:strVal val="#ppt_x"/>
                                          </p:val>
                                        </p:tav>
                                        <p:tav tm="100000">
                                          <p:val>
                                            <p:strVal val="#ppt_x"/>
                                          </p:val>
                                        </p:tav>
                                      </p:tavLst>
                                    </p:anim>
                                    <p:anim calcmode="lin" valueType="num">
                                      <p:cBhvr>
                                        <p:cTn id="33" dur="1000" fill="hold"/>
                                        <p:tgtEl>
                                          <p:spTgt spid="24583"/>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1000"/>
                                        <p:tgtEl>
                                          <p:spTgt spid="16"/>
                                        </p:tgtEl>
                                      </p:cBhvr>
                                    </p:animEffect>
                                    <p:anim calcmode="lin" valueType="num">
                                      <p:cBhvr>
                                        <p:cTn id="37" dur="1000" fill="hold"/>
                                        <p:tgtEl>
                                          <p:spTgt spid="16"/>
                                        </p:tgtEl>
                                        <p:attrNameLst>
                                          <p:attrName>ppt_x</p:attrName>
                                        </p:attrNameLst>
                                      </p:cBhvr>
                                      <p:tavLst>
                                        <p:tav tm="0">
                                          <p:val>
                                            <p:strVal val="#ppt_x"/>
                                          </p:val>
                                        </p:tav>
                                        <p:tav tm="100000">
                                          <p:val>
                                            <p:strVal val="#ppt_x"/>
                                          </p:val>
                                        </p:tav>
                                      </p:tavLst>
                                    </p:anim>
                                    <p:anim calcmode="lin" valueType="num">
                                      <p:cBhvr>
                                        <p:cTn id="3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4098"/>
                                        </p:tgtEl>
                                        <p:attrNameLst>
                                          <p:attrName>style.visibility</p:attrName>
                                        </p:attrNameLst>
                                      </p:cBhvr>
                                      <p:to>
                                        <p:strVal val="visible"/>
                                      </p:to>
                                    </p:set>
                                    <p:animEffect transition="in" filter="fade">
                                      <p:cBhvr>
                                        <p:cTn id="43" dur="1000"/>
                                        <p:tgtEl>
                                          <p:spTgt spid="4098"/>
                                        </p:tgtEl>
                                      </p:cBhvr>
                                    </p:animEffect>
                                    <p:anim calcmode="lin" valueType="num">
                                      <p:cBhvr>
                                        <p:cTn id="44" dur="1000" fill="hold"/>
                                        <p:tgtEl>
                                          <p:spTgt spid="4098"/>
                                        </p:tgtEl>
                                        <p:attrNameLst>
                                          <p:attrName>ppt_x</p:attrName>
                                        </p:attrNameLst>
                                      </p:cBhvr>
                                      <p:tavLst>
                                        <p:tav tm="0">
                                          <p:val>
                                            <p:strVal val="#ppt_x"/>
                                          </p:val>
                                        </p:tav>
                                        <p:tav tm="100000">
                                          <p:val>
                                            <p:strVal val="#ppt_x"/>
                                          </p:val>
                                        </p:tav>
                                      </p:tavLst>
                                    </p:anim>
                                    <p:anim calcmode="lin" valueType="num">
                                      <p:cBhvr>
                                        <p:cTn id="45" dur="1000" fill="hold"/>
                                        <p:tgtEl>
                                          <p:spTgt spid="4098"/>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1000"/>
                                        <p:tgtEl>
                                          <p:spTgt spid="15"/>
                                        </p:tgtEl>
                                      </p:cBhvr>
                                    </p:animEffect>
                                    <p:anim calcmode="lin" valueType="num">
                                      <p:cBhvr>
                                        <p:cTn id="49" dur="1000" fill="hold"/>
                                        <p:tgtEl>
                                          <p:spTgt spid="15"/>
                                        </p:tgtEl>
                                        <p:attrNameLst>
                                          <p:attrName>ppt_x</p:attrName>
                                        </p:attrNameLst>
                                      </p:cBhvr>
                                      <p:tavLst>
                                        <p:tav tm="0">
                                          <p:val>
                                            <p:strVal val="#ppt_x"/>
                                          </p:val>
                                        </p:tav>
                                        <p:tav tm="100000">
                                          <p:val>
                                            <p:strVal val="#ppt_x"/>
                                          </p:val>
                                        </p:tav>
                                      </p:tavLst>
                                    </p:anim>
                                    <p:anim calcmode="lin" valueType="num">
                                      <p:cBhvr>
                                        <p:cTn id="50"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8"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OSNZEx.2U2pEb.ZwmE_T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EcfTlIq1kSLtZlrDP3NF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Ks7wke5sEmLpovFUasp8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SnMDQvXlUCCZ2DXrvK9b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Eg_rBD.b5E2MLtibnNR3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pa_6zLrSkKzwqCPORO7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8.ybPSyR0GnAEMlLxHDV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EQwdB2OvEayi0OCes2NW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Ga9LtFCkUeu.sm7XQtO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4gwMNdcefEqKyE.1JnGp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1t0nqgX60WggNIlqq7GW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9058CbHBc02DD9.JkIB_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Hdd6DltgkGVEMAyuqkA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9Qd5e.1EOU.9QQgzr8Cm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6PYwOKVNOkaZfZJG4t5MG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E6XUdlVRECO3C9xpJvAE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mJ0.vBS5EazxBCPASU7H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3Uie6w2gEq0jvOqimDk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g71.YDM3ZkWqXzFv7GWws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0vXdG7Bx0SItGJAP8_bG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71.YDM3ZkWqXzFv7GWw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0vXdG7Bx0SItGJAP8_bG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2KDZYtAfIEGF.znUMggc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pz.M_l80UeZPOwQ_YJSS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TDJuGqu0.T6b5w3x9p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_cN8b9QAECsflW0sdN3y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TDJuGqu0.T6b5w3x9pe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_cN8b9QAECsflW0sdN3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_cN8b9QAECsflW0sdN3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L.TDJuGqu0.T6b5w3x9pe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TDJuGqu0.T6b5w3x9pe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T_cN8b9QAECsflW0sdN3y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5_nl_zUaA0iMw7O57Dspz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_pDrYJajYkirIYF83BDl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Uu_Oo1toEqvZ2AU6O.A4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8EPfIrrokWOJXSwUlds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8AMpMWYgEyCVX3ujliIE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fZ3F1jx80usCKQxwp3g9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x6HBmoL.E6jGzR3eJ3V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JFtiqjHbkSf6nVnMHgIw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h0e1Rq5KkmG9439Pn7tn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9JencGIKhk.XyQNxKBi2r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mwBbLirU6kK2PhKbcurCO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DPStS__.USNJgS1zXS3W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4lXNZSiL0GRjd8XcJjA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5FMwr1_J0WJCJQs3auC3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2kfvqSMG0aoPnoG8InK0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hNwhZYU302JK_VM6ZPj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VNPrrIiC0G8mDnUDV7Q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CvrFKK5XUyWrANsnwpZL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9pbQXmoQUWCAUka0k8hj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toozDItCR0mpDW9gmTS0B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n6mmj6JrEk.OFBmJcj45k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3CnwF2ZzUuWxeNTtg02d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mEv6__G8k691SXYyZp_8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7s704UggnUOnn6DpQqc8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1v22m3hbUqtxX7bqw45i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wQNqnTo6DUm7F.6AtFlc1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1GQgEsVWkO_mkaXxEl5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AW60GcTbUOf5oiefhRay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LCidXAG06Rn7ANYNI2C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us0xECznEunSkdUzBN2N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SYYRxkby0Gkt5SvQI9fd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YM8rE_230OoDtJJX0hGh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8gCZ_d.MEKmEt43gdkN2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3RzRwve0dUmQsNLRYaDGp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XTFmqjXi06hsiIk0Zua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zYpyqBHTUK85e0to8Duj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N9J.o0ej06Bgrbv.69qm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NXrLQ9DOp02yRqix.uBG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6d5UtYzsXUmXJxWhZLZu8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vABMqV5EGWqP3l5fyCk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ViVfy8nXnU6iqyaonDU6M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QzPXmCv50GCjyBukdPhU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qA0uls.Ko02BsuU_l1bju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BCmp3R0pNEiDaXj_vEz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HmUUIJbNkK5qv9begOVh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w01s9DyqAEGWjs0qIInL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QAm04dTGUaowLOsdV45f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dnPw57Wdr06nVQM8v3I3H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79fNwdkxJEOH3RlIvTb8l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TOGBVKAyZU6r9AJOo7Mz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TwtVcPrpSka2Cx.kxFtHL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TPychLnnDkyPqOkrgCOO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cmb9DMHYU6IxPfCRErRm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XVv_.hZ3DE6x8zclNKPYD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abCOtxKVUmPDg14T3rPN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SmzSLjF_MkqPj7lQ2Nr7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i9EUhTtysEGxRyVzNQAs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tYdbSAkr0yW2NacaFioR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64ZuHzVoEyZ5MAYUK77M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c4hAWUBeMUmNe_6Iuf8oG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yK3sb6HzlkmY41MoGv13o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cAESlJGuVkOs8H27S.x9o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f72b6jPJESfsUIy2yH1h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6Zpel_n5hk2jdUJW4mCPR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cvulwBXbAEuUCMF79XMhM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mCXPPCKyBk6S0JSNgd11S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zJM1Op4ZRkChSQDLCPDjc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1H.4dtLqJkaOE_KtQLaz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UQAbfqDY0GRXlsRfguc2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axs9R6NdfU2lawOXDwVBu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ZTFXzCebEu.4dwztDsG1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wyJwVMhU7Eu2Do2q6OAZ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hr.kPBeFLkKrZpx6R7ZMU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RB.On9LWIkClbygGJ4Xzf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eN4y1uHB5kKtQX0BaJa_w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lmreD5lH9EeOF858bjf9o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C0Ay69hBvUa2wf.VKKMon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WnP3eDEX_k.dLlc9Ak3_F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Z3CJYqkGU6s1XC56PMd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vTHKEZUeE2HZ5NY630ar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jcz8o6wpUm6RFvZOMfuZ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Wt_FAAhSdUW7oA_IuobVV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6ejcBdUvCU25fgXLJUEtj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wlsNvgIY_Eanp9O75zoJi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XZ3CJYqkGU6s1XC56PMdk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Wt_FAAhSdUW7oA_IuobVV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Z3CJYqkGU6s1XC56PMdk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Wt_FAAhSdUW7oA_IuobVV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Z3CJYqkGU6s1XC56PMdk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Wt_FAAhSdUW7oA_IuobVV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6ejcBdUvCU25fgXLJUEt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8b.nqzrkUCIebXAWF_C9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wlsNvgIY_Eanp9O75zoJi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ejcBdUvCU25fgXLJUEtj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wlsNvgIY_Eanp9O75zoJi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zOSNZEx.2U2pEb.ZwmE_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TN4GBgFhk641Diec9NL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LN4JWs.HEO8y4n.6Ifi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MqO7ioUxkiwHWP6DABh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9fDhEKMEUOKg.9HCfud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bt7YoDZ3kGi9AlwIcwGE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NvQ6.bVpUWxPbQQ_Ocb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TR39GZbJE27jpDLgNFZ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hrGfgqQUytsygviuOR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t4Bg4DP10u9c4fMjEnDt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4DgJ9eHNE.twrbbE8Re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oCTSsobS0q0jgfyn.CO2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_y02dwBok.WQoC25.Un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jW8V5rAwE62jMeuNUrN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PO__piyekW0Yr8X8PPg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r4rkM1BLEayRkgmW2UQ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OvdFE9KL0CT.FXmyTXb6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fg8u84YWUid_ACh7LPP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Zxa7hjWXky79EEb6mdC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YhpBKoogEm_xRmkfZB1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o.k7K_I10KGJtUeRNJr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vOJ5571xkCZrc6ns1E0I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8atVJvJQUCC68L6PazwL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huJIsS2DkuxY0w9AvYH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TMBwBmb7kmkRlxcRBTi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1UzbW_U_EmDenFFwcfp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7sg36.SD0yXqpVN8nxph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Z5AnczWs06.9Ab2iSM7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vy.yO1HLU..ev_lZNrd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AQHKYoO_k.NRi7S1QQc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A.F6Xr3iEKoxTKGYLE3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ZsCaGmUJUmBcHVf1bn_y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IPF6Ajik2QFx.udRdP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7vE7pbXIkKwQYClUnM9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2IT9gZVU.s562yaLai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vaWTqnTkqajz0nfDN4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hglPQBtWEGt5TVssh5WK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l0qTVVcHEaQfD6sRcrS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TZNF8T.UiQnXMdhe.o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wXrBvpt6E2ai11qT78VX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SrLvdjB7kS1td2UgFJg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aAh8_iLtEatRD5hi.13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8jl2q0WyUW1oYqHxZEVE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kdy3vUZVUCSjg0kxBb8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_4xJOl6NEm4VBckrqAD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Z0BX2ZZq0Kt01W80lF5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V_P7uNsrUiapmo9oWkR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eEpiUDuZ7UK8hb7LGv0H2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YN7X2undEuxj9JprY7Fi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bkLoD3f7UWxgPkKt8W5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u0WYlalF0Cp1lq3v2JF1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SfJa6sxREmlIIJ7LtGlR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0XPORNtoUSDZInyjGAb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B7AJEwznUqL5Dlm4njre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xIN6Mud.0q5PES60xx1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n4zmuNAiUmZXtn54wH1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W007JPk0NEeN.8R.hpv7j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j7V87IH3ECRVm0Y8vsKL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s.fLw.GTEGP8SdhrxBR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y5r7h1Joka23h1GeeC.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bBj2Rlex0iEVhPjUJtiC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6a8EmXSJGkyocHvVXtEl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eEWIB5FwU68L4tYRmdUe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UXBAh_swEuc1aI_7v_N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ZWxtRbX8kq4UycvFmJS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eNZHBeTi4Uu8BO6cmWdgz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2O73hE7nTUeN57Lq63b4X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ZKuTltuLEi1A5rU7nFfl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mTXR_UrN0qkq8B0cDtc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jdfTRpSo02KY4WzEW..u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EYdDwORlkOwqvVTKFjDz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WdyYkPUGU.TfAcCEeQj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5p2hdz1MIkS9Mj5qit7i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m92ooux3j0C11LaQ_vmh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zEcZCW8KUGZ97dC36sj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WXup_Lq3EGprArbuAN_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i_tNtrDOkOFNWy_0aEdD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r68geFJ7kqLQNz9Ob_R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xQ9diGhq0ugGn1mcXgsM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_MTTRY71ka6eLPIborq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XvAjZb_UEiQxB3gdFsHx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ZCuD3caV0ehmSKlZREtl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s6nINT9WUyhEqXXog0s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lNkkKIiKkuFbFQ73irW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71.YDM3ZkWqXzFv7GWw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0vXdG7Bx0SItGJAP8_bG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6857</TotalTime>
  <Words>3172</Words>
  <Application>Microsoft Office PowerPoint</Application>
  <PresentationFormat>Affichage à l'écran (4:3)</PresentationFormat>
  <Paragraphs>692</Paragraphs>
  <Slides>56</Slides>
  <Notes>14</Notes>
  <HiddenSlides>0</HiddenSlides>
  <MMClips>0</MMClips>
  <ScaleCrop>false</ScaleCrop>
  <HeadingPairs>
    <vt:vector size="4" baseType="variant">
      <vt:variant>
        <vt:lpstr>Thème</vt:lpstr>
      </vt:variant>
      <vt:variant>
        <vt:i4>1</vt:i4>
      </vt:variant>
      <vt:variant>
        <vt:lpstr>Titres des diapositives</vt:lpstr>
      </vt:variant>
      <vt:variant>
        <vt:i4>56</vt:i4>
      </vt:variant>
    </vt:vector>
  </HeadingPairs>
  <TitlesOfParts>
    <vt:vector size="57" baseType="lpstr">
      <vt:lpstr>Office Theme</vt:lpstr>
      <vt:lpstr>Diapositive 1</vt:lpstr>
      <vt:lpstr>Diapositive 2</vt:lpstr>
      <vt:lpstr>Diapositive 3</vt:lpstr>
      <vt:lpstr>Diapositive 4</vt:lpstr>
      <vt:lpstr>Diapositive 5</vt:lpstr>
      <vt:lpstr>Diapositive 6</vt:lpstr>
      <vt:lpstr>Diapositive 7</vt:lpstr>
      <vt:lpstr>Diapositive 8</vt:lpstr>
      <vt:lpstr>Diapositive 9</vt:lpstr>
      <vt:lpstr>Diapositive 10</vt:lpstr>
      <vt:lpstr>Diapositive 11</vt:lpstr>
      <vt:lpstr>Diapositive 12</vt:lpstr>
      <vt:lpstr>Diapositive 13</vt:lpstr>
      <vt:lpstr>Diapositive 14</vt:lpstr>
      <vt:lpstr>Diapositive 15</vt:lpstr>
      <vt:lpstr>Diapositive 16</vt:lpstr>
      <vt:lpstr>Diapositive 17</vt:lpstr>
      <vt:lpstr>Diapositive 18</vt:lpstr>
      <vt:lpstr>Diapositive 19</vt:lpstr>
      <vt:lpstr>Diapositive 20</vt:lpstr>
      <vt:lpstr>Diapositive 21</vt:lpstr>
      <vt:lpstr>Diapositive 22</vt:lpstr>
      <vt:lpstr>Diapositive 23</vt:lpstr>
      <vt:lpstr>Diapositive 24</vt:lpstr>
      <vt:lpstr>Senegal serves as the regional headquarter of major aviation organizations</vt:lpstr>
      <vt:lpstr>Diapositive 26</vt:lpstr>
      <vt:lpstr>Diapositive 27</vt:lpstr>
      <vt:lpstr>Diapositive 28</vt:lpstr>
      <vt:lpstr>Diapositive 29</vt:lpstr>
      <vt:lpstr>A Sky hub….. with a new modern airport and new touristic zones</vt:lpstr>
      <vt:lpstr>Diapositive 31</vt:lpstr>
      <vt:lpstr>Diapositive 32</vt:lpstr>
      <vt:lpstr>Diapositive 33</vt:lpstr>
      <vt:lpstr>Diapositive 34</vt:lpstr>
      <vt:lpstr>Diapositive 35</vt:lpstr>
      <vt:lpstr>Diapositive 36</vt:lpstr>
      <vt:lpstr>Diapositive 37</vt:lpstr>
      <vt:lpstr>Diapositive 38</vt:lpstr>
      <vt:lpstr>Diapositive 39</vt:lpstr>
      <vt:lpstr>MRO connected project  DISEZ : Development plan of 718 ha</vt:lpstr>
      <vt:lpstr>MRO connected project  DISEZ : Cargo Village</vt:lpstr>
      <vt:lpstr>Diapositive 42</vt:lpstr>
      <vt:lpstr>Senegal Airlines operates short and medium haul flights in one local axis and three regional axes</vt:lpstr>
      <vt:lpstr>Diapositive 44</vt:lpstr>
      <vt:lpstr>Diapositive 45</vt:lpstr>
      <vt:lpstr>Diapositive 46</vt:lpstr>
      <vt:lpstr>Diapositive 47</vt:lpstr>
      <vt:lpstr>Touristic products </vt:lpstr>
      <vt:lpstr>Perspectives</vt:lpstr>
      <vt:lpstr>Pointe Sarène</vt:lpstr>
      <vt:lpstr>Diapositive 51</vt:lpstr>
      <vt:lpstr>Mbodiene</vt:lpstr>
      <vt:lpstr>Diapositive 53</vt:lpstr>
      <vt:lpstr>Joal - Finio</vt:lpstr>
      <vt:lpstr>Joal - Finio</vt:lpstr>
      <vt:lpstr>SENEGAL, A bridge to the Futur</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e Consultatif Sénégal</dc:title>
  <dc:creator>Ricou</dc:creator>
  <cp:lastModifiedBy>bndiaye</cp:lastModifiedBy>
  <cp:revision>553</cp:revision>
  <cp:lastPrinted>2014-02-18T00:43:46Z</cp:lastPrinted>
  <dcterms:created xsi:type="dcterms:W3CDTF">2014-03-05T16:44:10Z</dcterms:created>
  <dcterms:modified xsi:type="dcterms:W3CDTF">2015-02-05T09:32:49Z</dcterms:modified>
</cp:coreProperties>
</file>